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4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5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6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7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8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9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10.xml" ContentType="application/vnd.openxmlformats-officedocument.presentationml.notesSlid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11.xml" ContentType="application/vnd.openxmlformats-officedocument.presentationml.notesSl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12.xml" ContentType="application/vnd.openxmlformats-officedocument.presentationml.notesSl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notesSlides/notesSlide13.xml" ContentType="application/vnd.openxmlformats-officedocument.presentationml.notesSlide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notesSlides/notesSlide14.xml" ContentType="application/vnd.openxmlformats-officedocument.presentationml.notesSlide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notesSlides/notesSlide15.xml" ContentType="application/vnd.openxmlformats-officedocument.presentationml.notesSlid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notesSlides/notesSlide16.xml" ContentType="application/vnd.openxmlformats-officedocument.presentationml.notesSlide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notesSlides/notesSlide17.xml" ContentType="application/vnd.openxmlformats-officedocument.presentationml.notesSlide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notesSlides/notesSlide18.xml" ContentType="application/vnd.openxmlformats-officedocument.presentationml.notesSlide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notesSlides/notesSlide19.xml" ContentType="application/vnd.openxmlformats-officedocument.presentationml.notesSlide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notesSlides/notesSlide20.xml" ContentType="application/vnd.openxmlformats-officedocument.presentationml.notesSlide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notesSlides/notesSlide21.xml" ContentType="application/vnd.openxmlformats-officedocument.presentationml.notesSlide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notesSlides/notesSlide22.xml" ContentType="application/vnd.openxmlformats-officedocument.presentationml.notesSlide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notesSlides/notesSlide23.xml" ContentType="application/vnd.openxmlformats-officedocument.presentationml.notesSlide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notesSlides/notesSlide25.xml" ContentType="application/vnd.openxmlformats-officedocument.presentationml.notesSlide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notesSlides/notesSlide26.xml" ContentType="application/vnd.openxmlformats-officedocument.presentationml.notesSlide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notesSlides/notesSlide27.xml" ContentType="application/vnd.openxmlformats-officedocument.presentationml.notesSlide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notesSlides/notesSlide28.xml" ContentType="application/vnd.openxmlformats-officedocument.presentationml.notesSlide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notesSlides/notesSlide29.xml" ContentType="application/vnd.openxmlformats-officedocument.presentationml.notesSlide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notesSlides/notesSlide30.xml" ContentType="application/vnd.openxmlformats-officedocument.presentationml.notesSlide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4" r:id="rId4"/>
    <p:sldMasterId id="2147483775" r:id="rId5"/>
    <p:sldMasterId id="2147483794" r:id="rId6"/>
  </p:sldMasterIdLst>
  <p:notesMasterIdLst>
    <p:notesMasterId r:id="rId38"/>
  </p:notesMasterIdLst>
  <p:handoutMasterIdLst>
    <p:handoutMasterId r:id="rId39"/>
  </p:handoutMasterIdLst>
  <p:sldIdLst>
    <p:sldId id="5254" r:id="rId7"/>
    <p:sldId id="5265" r:id="rId8"/>
    <p:sldId id="5202" r:id="rId9"/>
    <p:sldId id="5256" r:id="rId10"/>
    <p:sldId id="5235" r:id="rId11"/>
    <p:sldId id="5231" r:id="rId12"/>
    <p:sldId id="5228" r:id="rId13"/>
    <p:sldId id="5204" r:id="rId14"/>
    <p:sldId id="5205" r:id="rId15"/>
    <p:sldId id="5257" r:id="rId16"/>
    <p:sldId id="5258" r:id="rId17"/>
    <p:sldId id="5259" r:id="rId18"/>
    <p:sldId id="5261" r:id="rId19"/>
    <p:sldId id="5260" r:id="rId20"/>
    <p:sldId id="5263" r:id="rId21"/>
    <p:sldId id="5272" r:id="rId22"/>
    <p:sldId id="5222" r:id="rId23"/>
    <p:sldId id="5239" r:id="rId24"/>
    <p:sldId id="5206" r:id="rId25"/>
    <p:sldId id="5271" r:id="rId26"/>
    <p:sldId id="5207" r:id="rId27"/>
    <p:sldId id="5209" r:id="rId28"/>
    <p:sldId id="5210" r:id="rId29"/>
    <p:sldId id="5249" r:id="rId30"/>
    <p:sldId id="5252" r:id="rId31"/>
    <p:sldId id="5275" r:id="rId32"/>
    <p:sldId id="5229" r:id="rId33"/>
    <p:sldId id="5240" r:id="rId34"/>
    <p:sldId id="5269" r:id="rId35"/>
    <p:sldId id="5270" r:id="rId36"/>
    <p:sldId id="5266" r:id="rId37"/>
  </p:sldIdLst>
  <p:sldSz cx="9144000" cy="5143500" type="screen16x9"/>
  <p:notesSz cx="9906000" cy="6794500"/>
  <p:custDataLst>
    <p:tags r:id="rId40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E33A98A-02CE-46D9-89CF-2CD84E84B59B}">
          <p14:sldIdLst>
            <p14:sldId id="5254"/>
            <p14:sldId id="5265"/>
            <p14:sldId id="5202"/>
            <p14:sldId id="5256"/>
            <p14:sldId id="5235"/>
            <p14:sldId id="5231"/>
            <p14:sldId id="5228"/>
            <p14:sldId id="5204"/>
            <p14:sldId id="5205"/>
            <p14:sldId id="5257"/>
            <p14:sldId id="5258"/>
            <p14:sldId id="5259"/>
            <p14:sldId id="5261"/>
            <p14:sldId id="5260"/>
            <p14:sldId id="5263"/>
            <p14:sldId id="5272"/>
            <p14:sldId id="5222"/>
            <p14:sldId id="5239"/>
            <p14:sldId id="5206"/>
            <p14:sldId id="5271"/>
            <p14:sldId id="5207"/>
            <p14:sldId id="5209"/>
            <p14:sldId id="5210"/>
            <p14:sldId id="5249"/>
            <p14:sldId id="5252"/>
            <p14:sldId id="5275"/>
            <p14:sldId id="5229"/>
            <p14:sldId id="5240"/>
            <p14:sldId id="5269"/>
            <p14:sldId id="5270"/>
            <p14:sldId id="5266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0">
          <p15:clr>
            <a:srgbClr val="A4A3A4"/>
          </p15:clr>
        </p15:guide>
        <p15:guide id="2" pos="312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ntzsch, Ida" initials="IJ" lastIdx="7" clrIdx="0"/>
  <p:cmAuthor id="1" name="Gourge, Arzu" initials="GA" lastIdx="16" clrIdx="1"/>
  <p:cmAuthor id="2" name="Wakaresko, Beatris" initials="WB" lastIdx="2" clrIdx="2"/>
  <p:cmAuthor id="3" name="Woggon, Robert" initials="WR" lastIdx="35" clrIdx="3">
    <p:extLst>
      <p:ext uri="{19B8F6BF-5375-455C-9EA6-DF929625EA0E}">
        <p15:presenceInfo xmlns:p15="http://schemas.microsoft.com/office/powerpoint/2012/main" userId="S-1-5-21-3410838153-3907952226-3576459003-83963" providerId="AD"/>
      </p:ext>
    </p:extLst>
  </p:cmAuthor>
  <p:cmAuthor id="4" name="Alexandra Hilger" initials="AH" lastIdx="4" clrIdx="4">
    <p:extLst>
      <p:ext uri="{19B8F6BF-5375-455C-9EA6-DF929625EA0E}">
        <p15:presenceInfo xmlns:p15="http://schemas.microsoft.com/office/powerpoint/2012/main" userId="S-1-5-21-2900290652-3162160026-1438150922-1702" providerId="AD"/>
      </p:ext>
    </p:extLst>
  </p:cmAuthor>
  <p:cmAuthor id="5" name="Miriam Kassis" initials="MK" lastIdx="5" clrIdx="5">
    <p:extLst>
      <p:ext uri="{19B8F6BF-5375-455C-9EA6-DF929625EA0E}">
        <p15:presenceInfo xmlns:p15="http://schemas.microsoft.com/office/powerpoint/2012/main" userId="S-1-5-21-2900290652-3162160026-1438150922-1712" providerId="AD"/>
      </p:ext>
    </p:extLst>
  </p:cmAuthor>
  <p:cmAuthor id="6" name="Stefanie Falk" initials="SF" lastIdx="3" clrIdx="6">
    <p:extLst>
      <p:ext uri="{19B8F6BF-5375-455C-9EA6-DF929625EA0E}">
        <p15:presenceInfo xmlns:p15="http://schemas.microsoft.com/office/powerpoint/2012/main" userId="Stefanie Fal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EDF4"/>
    <a:srgbClr val="C2AA51"/>
    <a:srgbClr val="009CB4"/>
    <a:srgbClr val="00354F"/>
    <a:srgbClr val="315E73"/>
    <a:srgbClr val="BFBFBF"/>
    <a:srgbClr val="B2B2B2"/>
    <a:srgbClr val="99AEB8"/>
    <a:srgbClr val="6786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64" autoAdjust="0"/>
    <p:restoredTop sz="96370" autoAdjust="0"/>
  </p:normalViewPr>
  <p:slideViewPr>
    <p:cSldViewPr snapToObjects="1">
      <p:cViewPr varScale="1">
        <p:scale>
          <a:sx n="148" d="100"/>
          <a:sy n="148" d="100"/>
        </p:scale>
        <p:origin x="414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156" d="100"/>
          <a:sy n="156" d="100"/>
        </p:scale>
        <p:origin x="5346" y="120"/>
      </p:cViewPr>
      <p:guideLst>
        <p:guide orient="horz" pos="2140"/>
        <p:guide pos="31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645569620253167"/>
          <c:y val="7.3033707865168537E-2"/>
          <c:w val="0.3664858348402652"/>
          <c:h val="0.85393258426966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E20613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3D7-46EA-BFB9-4256F3445ED9}"/>
              </c:ext>
            </c:extLst>
          </c:dPt>
          <c:dPt>
            <c:idx val="1"/>
            <c:bubble3D val="0"/>
            <c:spPr>
              <a:solidFill>
                <a:srgbClr val="E20613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3D7-46EA-BFB9-4256F3445ED9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C3D7-46EA-BFB9-4256F3445ED9}"/>
              </c:ext>
            </c:extLst>
          </c:dPt>
          <c:dLbls>
            <c:dLbl>
              <c:idx val="0"/>
              <c:layout>
                <c:manualLayout>
                  <c:x val="9.6443640747438213E-3"/>
                  <c:y val="1.1235955056179775E-2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64 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3D7-46EA-BFB9-4256F3445ED9}"/>
                </c:ext>
              </c:extLst>
            </c:dLbl>
            <c:dLbl>
              <c:idx val="1"/>
              <c:layout>
                <c:manualLayout>
                  <c:x val="-1.5069318866787222E-2"/>
                  <c:y val="-4.2134831460674156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5 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3D7-46EA-BFB9-4256F3445E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4</c:v>
                </c:pt>
                <c:pt idx="1">
                  <c:v>25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3D7-46EA-BFB9-4256F3445E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645569620253167"/>
          <c:y val="7.3033707865168537E-2"/>
          <c:w val="0.3664858348402652"/>
          <c:h val="0.853932584269662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881-49DE-9F5D-D39C96E2ED60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881-49DE-9F5D-D39C96E2ED60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6350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7881-49DE-9F5D-D39C96E2ED6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81-49DE-9F5D-D39C96E2ED6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881-49DE-9F5D-D39C96E2ED60}"/>
                </c:ext>
              </c:extLst>
            </c:dLbl>
            <c:dLbl>
              <c:idx val="2"/>
              <c:layout>
                <c:manualLayout>
                  <c:x val="6.5633009633009637E-2"/>
                  <c:y val="0.12038961038961039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900" b="1">
                        <a:solidFill>
                          <a:schemeClr val="bg1"/>
                        </a:solidFill>
                      </a:defRPr>
                    </a:pPr>
                    <a:r>
                      <a:rPr lang="en-US" sz="900" b="1" baseline="0" dirty="0">
                        <a:solidFill>
                          <a:schemeClr val="bg1"/>
                        </a:solidFill>
                      </a:rPr>
                      <a:t>11 %</a:t>
                    </a:r>
                    <a:endParaRPr lang="en-US" dirty="0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881-49DE-9F5D-D39C96E2ED6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4</c:v>
                </c:pt>
                <c:pt idx="1">
                  <c:v>25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881-49DE-9F5D-D39C96E2ED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11109" y="0"/>
            <a:ext cx="4292600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r">
              <a:defRPr sz="1300"/>
            </a:lvl1pPr>
          </a:lstStyle>
          <a:p>
            <a:fld id="{C9957A9F-9653-4357-9981-9DCF9E0F2FD5}" type="datetime1">
              <a:rPr lang="de-DE" smtClean="0"/>
              <a:t>25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3597"/>
            <a:ext cx="4292600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11109" y="6453597"/>
            <a:ext cx="4292600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r">
              <a:defRPr sz="1300"/>
            </a:lvl1pPr>
          </a:lstStyle>
          <a:p>
            <a:fld id="{32EDB1F9-C453-4964-969B-51455023056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94356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11109" y="0"/>
            <a:ext cx="4292600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r">
              <a:defRPr sz="1300"/>
            </a:lvl1pPr>
          </a:lstStyle>
          <a:p>
            <a:fld id="{B04A77B6-08AC-422D-A563-8EA512F6C0F4}" type="datetime1">
              <a:rPr lang="de-DE" smtClean="0"/>
              <a:t>25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146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23" tIns="47711" rIns="95423" bIns="4771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0600" y="3269853"/>
            <a:ext cx="7924800" cy="2675335"/>
          </a:xfrm>
          <a:prstGeom prst="rect">
            <a:avLst/>
          </a:prstGeom>
        </p:spPr>
        <p:txBody>
          <a:bodyPr vert="horz" lIns="95423" tIns="47711" rIns="95423" bIns="47711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3597"/>
            <a:ext cx="4292600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11109" y="6453597"/>
            <a:ext cx="4292600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r">
              <a:defRPr sz="1300"/>
            </a:lvl1pPr>
          </a:lstStyle>
          <a:p>
            <a:fld id="{071615E5-662C-48B4-8868-02BF9AA4DF0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31686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atson.de/international/greta%20thunberg/502725818-greta-thunberg-bei-rede-im-eu-parlament-kommen-ihr-fast-traenen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taz.de/Essay-zum-neuen-Oeko-Kulturkampf/!5585593/" TargetMode="External"/><Relationship Id="rId4" Type="http://schemas.openxmlformats.org/officeDocument/2006/relationships/hyperlink" Target="https://www.katholisch.de/aktuelles/aktuelle-artikel/deutsche-bischofe-formulieren-zehn-punkte-plan-gegen-klimawandel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2202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7197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9744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3074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2662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8682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Kann man auf der Tonspur sag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Techem treibt die Energiewende in Immobilien aktiv voran und setzt dabei auf bezahlbare digitale Lösungen.</a:t>
            </a:r>
          </a:p>
          <a:p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  <a:cs typeface="Calibri"/>
              </a:rPr>
              <a:t>Mit seiner Innovationskraft fördert Techem klimaneutrales Wohnen und entspricht auch dem Kundenbedarf nach Rechtssicherheit, Prozesserleichterung und Mieterkomfort.</a:t>
            </a: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870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33538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09221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01255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2995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ergiesparen ist der schlafende Riese des Klimaschutzes. Franz Alt</a:t>
            </a:r>
          </a:p>
          <a:p>
            <a:endParaRPr lang="en-GB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ser Haus ist dabei, auseinanderzufallen. Unsere Zukunft, und was wir bisher geschafft haben, befindet sich wortwörtlich in Ihren Händen. Aber es ist noch nicht zu spät, um zu handeln! </a:t>
            </a:r>
          </a:p>
          <a:p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eta Thunberg, vor dem EU-Parlament, </a:t>
            </a:r>
            <a:r>
              <a:rPr lang="en-GB" sz="1200" b="0" i="1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pril 2019</a:t>
            </a:r>
            <a:endParaRPr lang="en-GB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/>
          </a:p>
          <a:p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Zeit, in der die Menschheit dem gefährlichen Klimawandel noch Einhalt gebieten kann, neigt sich dem Ende zu. </a:t>
            </a:r>
            <a:b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deutschen Bischöfe, </a:t>
            </a:r>
            <a:r>
              <a:rPr lang="en-GB" sz="1200" b="0" i="1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April 2019</a:t>
            </a:r>
            <a:endParaRPr lang="en-GB" sz="1200" b="0" i="1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i="1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Industriestaaten können und müssen mehr für einen konsequenten Klimaschutz leisten. </a:t>
            </a:r>
            <a:b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deutschen Bischöfe, </a:t>
            </a:r>
            <a:r>
              <a:rPr lang="en-GB" sz="1200" b="0" i="1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April 2019</a:t>
            </a:r>
            <a:endParaRPr lang="en-GB" sz="1200" b="0" i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0" i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tzt ist der Klimawandel da, also braucht es keinen Altruismus, sondern intelligenten Egoismus als Antrieb. </a:t>
            </a:r>
            <a:br>
              <a:rPr lang="en-GB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rnd Ulrich, </a:t>
            </a:r>
            <a:r>
              <a:rPr lang="en-GB" sz="1200" b="0" i="1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April 2019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46723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68216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1615E5-662C-48B4-8868-02BF9AA4DF07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6754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1615E5-662C-48B4-8868-02BF9AA4DF07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53100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1615E5-662C-48B4-8868-02BF9AA4DF07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9668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64590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6882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415707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129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34830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2312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725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6506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65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4612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29660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en-US"/>
              <a:t>„Making Buildings Green and Smart. Helping People Live Healthy and Comfortably“ ist bei Techem jetzt schon verankert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94281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en-US"/>
              <a:t>„Making Buildings Green and Smart. Helping People Live Healthy and Comfortably“ ist bei Techem jetzt schon verankert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7106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0102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6445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4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jp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7.jpeg"/><Relationship Id="rId5" Type="http://schemas.openxmlformats.org/officeDocument/2006/relationships/tags" Target="../tags/tag3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6725" y="835200"/>
            <a:ext cx="8209275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4" y="1602927"/>
            <a:ext cx="8227275" cy="3089488"/>
          </a:xfrm>
        </p:spPr>
        <p:txBody>
          <a:bodyPr/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masterformat bearbeiten</a:t>
            </a:r>
          </a:p>
          <a:p>
            <a:pPr marL="361950" marR="0" lvl="1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63" marR="0" lvl="2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913" marR="0" lvl="3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513" marR="0" lvl="4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04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329066-40EA-4C34-8BA4-40A2708B1F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2663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2 Charts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Inhaltsplatzhalter 11"/>
          <p:cNvSpPr>
            <a:spLocks noGrp="1"/>
          </p:cNvSpPr>
          <p:nvPr>
            <p:ph sz="quarter" idx="18" hasCustomPrompt="1"/>
          </p:nvPr>
        </p:nvSpPr>
        <p:spPr>
          <a:xfrm>
            <a:off x="6038849" y="3132000"/>
            <a:ext cx="2646000" cy="1382400"/>
          </a:xfrm>
        </p:spPr>
        <p:txBody>
          <a:bodyPr/>
          <a:lstStyle>
            <a:lvl1pPr>
              <a:lnSpc>
                <a:spcPct val="120000"/>
              </a:lnSpc>
              <a:defRPr sz="1000"/>
            </a:lvl1pPr>
            <a:lvl2pPr marL="182563" indent="0">
              <a:lnSpc>
                <a:spcPct val="120000"/>
              </a:lnSpc>
              <a:defRPr sz="1000"/>
            </a:lvl2pPr>
            <a:lvl3pPr marL="358775" indent="0">
              <a:lnSpc>
                <a:spcPct val="120000"/>
              </a:lnSpc>
              <a:defRPr sz="1000"/>
            </a:lvl3pPr>
            <a:lvl4pPr marL="541338" indent="0">
              <a:lnSpc>
                <a:spcPct val="120000"/>
              </a:lnSpc>
              <a:defRPr sz="1000"/>
            </a:lvl4pPr>
            <a:lvl5pPr marL="717550" indent="0">
              <a:lnSpc>
                <a:spcPct val="120000"/>
              </a:lnSpc>
              <a:tabLst/>
              <a:defRPr sz="10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11"/>
          <p:cNvSpPr>
            <a:spLocks noGrp="1"/>
          </p:cNvSpPr>
          <p:nvPr>
            <p:ph sz="quarter" idx="17" hasCustomPrompt="1"/>
          </p:nvPr>
        </p:nvSpPr>
        <p:spPr>
          <a:xfrm>
            <a:off x="6038850" y="1602927"/>
            <a:ext cx="2646000" cy="1382400"/>
          </a:xfrm>
        </p:spPr>
        <p:txBody>
          <a:bodyPr/>
          <a:lstStyle>
            <a:lvl1pPr>
              <a:lnSpc>
                <a:spcPct val="120000"/>
              </a:lnSpc>
              <a:defRPr sz="1000"/>
            </a:lvl1pPr>
            <a:lvl2pPr marL="182563" indent="0">
              <a:lnSpc>
                <a:spcPct val="120000"/>
              </a:lnSpc>
              <a:tabLst/>
              <a:defRPr sz="1000"/>
            </a:lvl2pPr>
            <a:lvl3pPr marL="358775" indent="0">
              <a:lnSpc>
                <a:spcPct val="120000"/>
              </a:lnSpc>
              <a:defRPr sz="1000"/>
            </a:lvl3pPr>
            <a:lvl4pPr marL="541338" indent="0">
              <a:lnSpc>
                <a:spcPct val="120000"/>
              </a:lnSpc>
              <a:defRPr sz="1000"/>
            </a:lvl4pPr>
            <a:lvl5pPr marL="717550" indent="0">
              <a:lnSpc>
                <a:spcPct val="120000"/>
              </a:lnSpc>
              <a:defRPr sz="10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602000"/>
            <a:ext cx="5432738" cy="3085888"/>
          </a:xfrm>
        </p:spPr>
        <p:txBody>
          <a:bodyPr/>
          <a:lstStyle>
            <a:lvl1pPr marL="18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4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83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oß/rot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1815046"/>
            <a:ext cx="8208000" cy="2872841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ctr">
              <a:tabLst>
                <a:tab pos="1433513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18B6DF5-F92A-4C5E-9599-D50932A7C8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25FCA28-600A-451F-8B33-7002B4B4E04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905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Zitat weiß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236177"/>
            <a:ext cx="9144000" cy="1539171"/>
          </a:xfrm>
          <a:solidFill>
            <a:schemeClr val="accent1"/>
          </a:solidFill>
        </p:spPr>
        <p:txBody>
          <a:bodyPr lIns="180000" tIns="180000" rIns="180000" bIns="180000"/>
          <a:lstStyle>
            <a:lvl1pPr marL="0" indent="0" algn="ctr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bg1"/>
                </a:solidFill>
              </a:defRPr>
            </a:lvl1pPr>
            <a:lvl2pPr marL="0" indent="0" algn="ctr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bg1"/>
                </a:solidFill>
              </a:defRPr>
            </a:lvl2pPr>
            <a:lvl3pPr marL="0" indent="0" algn="ctr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bg1"/>
                </a:solidFill>
              </a:defRPr>
            </a:lvl3pPr>
            <a:lvl4pPr marL="0" indent="0" algn="ctr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bg1"/>
                </a:solidFill>
              </a:defRPr>
            </a:lvl4pPr>
            <a:lvl5pPr marL="0" indent="0" algn="ctr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Zitatmasterformat bearbeiten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16000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8000" y="1602927"/>
            <a:ext cx="8226000" cy="1545789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72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 auf weiß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863725" y="1494000"/>
            <a:ext cx="5432426" cy="3193888"/>
          </a:xfrm>
        </p:spPr>
        <p:txBody>
          <a:bodyPr/>
          <a:lstStyle>
            <a:lvl1pPr marL="0" indent="0" algn="l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tx1"/>
                </a:solidFill>
              </a:defRPr>
            </a:lvl1pPr>
            <a:lvl2pPr marL="0" indent="0" algn="l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tx1"/>
                </a:solidFill>
              </a:defRPr>
            </a:lvl2pPr>
            <a:lvl3pPr marL="0" indent="0" algn="l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tx1"/>
                </a:solidFill>
              </a:defRPr>
            </a:lvl3pPr>
            <a:lvl4pPr marL="0" indent="0" algn="l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tx1"/>
                </a:solidFill>
              </a:defRPr>
            </a:lvl4pPr>
            <a:lvl5pPr marL="0" indent="0" algn="l" defTabSz="540000">
              <a:buClr>
                <a:srgbClr val="E20613"/>
              </a:buClr>
              <a:buFont typeface="Wingdings" panose="05000000000000000000" pitchFamily="2" charset="2"/>
              <a:buNone/>
              <a:tabLst>
                <a:tab pos="540000" algn="l"/>
              </a:tabLst>
              <a:defRPr sz="20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Zita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16000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425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mit Aufzählung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5301519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76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68000" y="1584000"/>
            <a:ext cx="8244000" cy="3096000"/>
          </a:xfrm>
        </p:spPr>
        <p:txBody>
          <a:bodyPr/>
          <a:lstStyle>
            <a:lvl1pPr marL="228600" indent="-2286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defRPr sz="1200"/>
            </a:lvl1pPr>
            <a:lvl2pPr marL="504000" indent="-252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200"/>
            </a:lvl2pPr>
            <a:lvl3pPr marL="756000" indent="-252000" defTabSz="54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3pPr>
            <a:lvl4pPr marL="1008000" indent="-252000" defTabSz="479425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4pPr>
            <a:lvl5pPr marL="1260000" indent="-252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7556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mit Bulletpoints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5301519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584000"/>
            <a:ext cx="8244000" cy="3096000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9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8694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5221400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 bwMode="gray">
          <a:xfrm>
            <a:off x="467998" y="4824000"/>
            <a:ext cx="6840000" cy="216000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468312" y="1563638"/>
            <a:ext cx="5219811" cy="31321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 sz="1200">
                <a:solidFill>
                  <a:schemeClr val="accent2"/>
                </a:solidFill>
              </a:defRPr>
            </a:lvl2pPr>
            <a:lvl3pPr marL="0" indent="0">
              <a:buNone/>
              <a:defRPr sz="1200">
                <a:solidFill>
                  <a:schemeClr val="accent2"/>
                </a:solidFill>
              </a:defRPr>
            </a:lvl3pPr>
            <a:lvl4pPr marL="0" indent="0">
              <a:buNone/>
              <a:defRPr sz="1200">
                <a:solidFill>
                  <a:schemeClr val="accent2"/>
                </a:solidFill>
              </a:defRPr>
            </a:lvl4pPr>
            <a:lvl5pPr marL="0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6253FF9-D514-4E17-945E-D36C18BBE075}"/>
              </a:ext>
            </a:extLst>
          </p:cNvPr>
          <p:cNvGrpSpPr/>
          <p:nvPr userDrawn="1"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4D6EAE3F-2FE2-45BD-AE5D-ABFA16A21DE2}"/>
                </a:ext>
              </a:extLst>
            </p:cNvPr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/>
              <a:endParaRPr lang="de-DE" sz="1400" dirty="0">
                <a:solidFill>
                  <a:srgbClr val="FFFFFF"/>
                </a:solidFill>
              </a:endParaRPr>
            </a:p>
          </p:txBody>
        </p:sp>
        <p:pic>
          <p:nvPicPr>
            <p:cNvPr id="11" name="Logo">
              <a:extLst>
                <a:ext uri="{FF2B5EF4-FFF2-40B4-BE49-F238E27FC236}">
                  <a16:creationId xmlns:a16="http://schemas.microsoft.com/office/drawing/2014/main" id="{F9CD25FD-6637-46E2-89F6-01E46AFE47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-12"/>
            <a:stretch/>
          </p:blipFill>
          <p:spPr bwMode="gray">
            <a:xfrm>
              <a:off x="742266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0863020-A7A0-4CF6-9528-BE30EC96056E}"/>
              </a:ext>
            </a:extLst>
          </p:cNvPr>
          <p:cNvCxnSpPr/>
          <p:nvPr userDrawn="1"/>
        </p:nvCxnSpPr>
        <p:spPr bwMode="gray">
          <a:xfrm>
            <a:off x="467544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9683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 bwMode="gray">
          <a:xfrm>
            <a:off x="467998" y="4824000"/>
            <a:ext cx="6840000" cy="216000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468313" y="1563637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4644008" y="1563637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2544A28-2C47-46FA-BA38-286B60452C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04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191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chaltfolie, Text gross/rot zentriert ohne Headline+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671637"/>
            <a:ext cx="8207689" cy="3024187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7474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68E47A-1119-4954-8993-67721D33B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37697EB-26A4-4D30-9E76-C31933B2A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04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6055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28650" y="5301519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66725" y="835200"/>
            <a:ext cx="8209275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02927"/>
            <a:ext cx="4038600" cy="3089488"/>
          </a:xfrm>
        </p:spPr>
        <p:txBody>
          <a:bodyPr/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masterformat bearbeiten</a:t>
            </a:r>
          </a:p>
          <a:p>
            <a:pPr marL="361950" marR="0" lvl="1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63" marR="0" lvl="2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913" marR="0" lvl="3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513" marR="0" lvl="4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51375" y="1602927"/>
            <a:ext cx="4046538" cy="3089488"/>
          </a:xfrm>
        </p:spPr>
        <p:txBody>
          <a:bodyPr/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masterformat bearbeiten</a:t>
            </a:r>
          </a:p>
          <a:p>
            <a:pPr marL="361950" marR="0" lvl="1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63" marR="0" lvl="2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913" marR="0" lvl="3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513" marR="0" lvl="4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04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1040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, Anhang, Text groß/rot zentriert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799999"/>
            <a:ext cx="8207689" cy="2895826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B87E5A02-270E-40BA-B8CC-519974D21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5751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F2CA09-6114-45E2-9152-0088C8179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F2CA09-6114-45E2-9152-0088C81795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0250441F-BBEF-450F-B646-CCE2AEBEF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8EA31D72-D8A8-49F3-A08D-7A63CFF8CDB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8312" y="1563638"/>
            <a:ext cx="8207376" cy="3132186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1689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DA73F1B5-18DD-41BB-998C-0558A8AA4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A0D81B0B-C9D0-4061-9A4E-E88CCCA7FBE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8313" y="1563638"/>
            <a:ext cx="4027488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4D743AE6-1A07-4874-B785-3C108212DF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43438" y="1563638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57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44008" y="1563687"/>
            <a:ext cx="4032049" cy="3132137"/>
          </a:xfr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2CEE0D97-C0AD-4419-B2E1-BCA42FC76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140F3098-E13A-4195-BA0F-F7B76EDB5C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3" y="1563687"/>
            <a:ext cx="4027488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69208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999" y="1563687"/>
            <a:ext cx="4032564" cy="3132137"/>
          </a:xfr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99358B58-914F-4ED6-80EF-4758EF430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9232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 2/3, Text rechts 1/3,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261EB176-2B41-4996-9F82-DD76D5200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32C24757-4763-460C-BD7C-EB8714DE644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3" y="1563687"/>
            <a:ext cx="5429250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1FA4CAF-00ED-4180-9F37-D4BC6DE9678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045199" y="1563687"/>
            <a:ext cx="2630489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64013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/Tabell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1F9CE87B-3F7A-45F9-8DE5-4F54AF60E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F13081F3-3837-4E29-A773-66E6968FDB1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2" y="1563687"/>
            <a:ext cx="8207375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65657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2 Charts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4">
            <a:extLst>
              <a:ext uri="{FF2B5EF4-FFF2-40B4-BE49-F238E27FC236}">
                <a16:creationId xmlns:a16="http://schemas.microsoft.com/office/drawing/2014/main" id="{C1F5318B-EF7F-4F04-A788-C50E0EFE1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8066B639-B7C6-44F3-ADC5-39E703B57D4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8313" y="1563687"/>
            <a:ext cx="5429250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B631DD67-A654-480B-A8DD-2BC13FF9D28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045200" y="1563687"/>
            <a:ext cx="2635250" cy="1476115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CC712798-2661-463D-8785-6F5EC6E67C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45200" y="3221248"/>
            <a:ext cx="2635250" cy="1476115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149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Zitat weiß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240000"/>
            <a:ext cx="9144000" cy="1548000"/>
          </a:xfrm>
          <a:solidFill>
            <a:schemeClr val="accent1"/>
          </a:solidFill>
        </p:spPr>
        <p:txBody>
          <a:bodyPr lIns="179992" tIns="179992" rIns="179992" bIns="179992"/>
          <a:lstStyle>
            <a:lvl1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1pPr>
            <a:lvl2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2pPr>
            <a:lvl3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3pPr>
            <a:lvl4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4pPr>
            <a:lvl5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marL="0" marR="0" indent="-179992" algn="l" defTabSz="287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38BFB69A-81DB-41F7-961E-E8EA59A26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9BB7050C-756E-4222-BB9F-E7D1FE1F16A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8312" y="1563687"/>
            <a:ext cx="8207375" cy="1512119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92815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 auf weiß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2000" y="1476000"/>
            <a:ext cx="5414625" cy="3204000"/>
          </a:xfrm>
        </p:spPr>
        <p:txBody>
          <a:bodyPr/>
          <a:lstStyle>
            <a:lvl1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1pPr>
            <a:lvl2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2pPr>
            <a:lvl3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3pPr>
            <a:lvl4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4pPr>
            <a:lvl5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494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602927"/>
            <a:ext cx="8208000" cy="3089488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270000"/>
            <a:ext cx="6804000" cy="252000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B7AC6F1E-003C-45DC-A530-25D74AA258A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5051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xisbeispiel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9143999" cy="5143500"/>
          </a:xfrm>
          <a:solidFill>
            <a:schemeClr val="bg2"/>
          </a:solidFill>
        </p:spPr>
        <p:txBody>
          <a:bodyPr rIns="0" anchor="ctr" anchorCtr="0"/>
          <a:lstStyle>
            <a:lvl1pPr algn="ctr"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480212" y="2319722"/>
            <a:ext cx="2663788" cy="2376264"/>
          </a:xfrm>
          <a:solidFill>
            <a:schemeClr val="accent1"/>
          </a:solidFill>
        </p:spPr>
        <p:txBody>
          <a:bodyPr lIns="108000" tIns="108000" rIns="432000"/>
          <a:lstStyle>
            <a:lvl1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00" b="1">
                <a:solidFill>
                  <a:schemeClr val="bg1"/>
                </a:solidFill>
              </a:defRPr>
            </a:lvl1pPr>
            <a:lvl2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50" baseline="0">
                <a:solidFill>
                  <a:schemeClr val="bg1"/>
                </a:solidFill>
              </a:defRPr>
            </a:lvl2pPr>
            <a:lvl3pPr marL="152400" indent="-152400" defTabSz="360000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480212" y="2679762"/>
            <a:ext cx="2195476" cy="2016224"/>
          </a:xfrm>
          <a:noFill/>
          <a:ln>
            <a:noFill/>
          </a:ln>
        </p:spPr>
        <p:txBody>
          <a:bodyPr lIns="108000" rIns="0"/>
          <a:lstStyle>
            <a:lvl1pPr marL="127000" indent="-127000" defTabSz="258763">
              <a:lnSpc>
                <a:spcPct val="100000"/>
              </a:lnSpc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2pPr>
            <a:lvl3pPr marL="54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3pPr>
            <a:lvl4pPr marL="72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0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 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98E82F9-2EC5-4825-9F9E-F3667D34368D}"/>
              </a:ext>
            </a:extLst>
          </p:cNvPr>
          <p:cNvGrpSpPr/>
          <p:nvPr userDrawn="1"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DCAEFC8-CD27-4E20-9F9D-13A0BD8F734D}"/>
                </a:ext>
              </a:extLst>
            </p:cNvPr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/>
              <a:endParaRPr lang="de-DE" sz="1400" dirty="0">
                <a:solidFill>
                  <a:srgbClr val="FFFFFF"/>
                </a:solidFill>
              </a:endParaRPr>
            </a:p>
          </p:txBody>
        </p:sp>
        <p:pic>
          <p:nvPicPr>
            <p:cNvPr id="17" name="Logo">
              <a:extLst>
                <a:ext uri="{FF2B5EF4-FFF2-40B4-BE49-F238E27FC236}">
                  <a16:creationId xmlns:a16="http://schemas.microsoft.com/office/drawing/2014/main" id="{19A79FF8-4785-4BE7-AC6D-2A492A0E1CA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-12"/>
            <a:stretch/>
          </p:blipFill>
          <p:spPr bwMode="gray">
            <a:xfrm>
              <a:off x="742266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5404338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axisbeispiel 2/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584000"/>
            <a:ext cx="4032563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44518" y="1584000"/>
            <a:ext cx="4032000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67999" y="1851670"/>
            <a:ext cx="4032563" cy="2844155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644518" y="1851670"/>
            <a:ext cx="4032000" cy="2844155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468313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644008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43220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axisbeispiel 2/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31829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31392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31829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31392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>
            <a:cxnSpLocks/>
          </p:cNvCxnSpPr>
          <p:nvPr userDrawn="1"/>
        </p:nvCxnSpPr>
        <p:spPr>
          <a:xfrm>
            <a:off x="2232187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>
            <a:cxnSpLocks/>
          </p:cNvCxnSpPr>
          <p:nvPr userDrawn="1"/>
        </p:nvCxnSpPr>
        <p:spPr>
          <a:xfrm>
            <a:off x="5543786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468313" y="3616027"/>
            <a:ext cx="1655415" cy="1079798"/>
          </a:xfrm>
        </p:spPr>
        <p:txBody>
          <a:bodyPr lIns="72000" rIns="36000"/>
          <a:lstStyle>
            <a:lvl1pPr marL="101600" indent="-1016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0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468313" y="3363888"/>
            <a:ext cx="1655415" cy="251978"/>
          </a:xfrm>
        </p:spPr>
        <p:txBody>
          <a:bodyPr lIns="72000" rIns="36000"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900" b="1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99348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axisbeispiel 2/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31829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31392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31829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31392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>
            <a:cxnSpLocks/>
          </p:cNvCxnSpPr>
          <p:nvPr userDrawn="1"/>
        </p:nvCxnSpPr>
        <p:spPr>
          <a:xfrm>
            <a:off x="2232187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>
            <a:cxnSpLocks/>
          </p:cNvCxnSpPr>
          <p:nvPr userDrawn="1"/>
        </p:nvCxnSpPr>
        <p:spPr>
          <a:xfrm>
            <a:off x="5543786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2231740" y="3291830"/>
            <a:ext cx="6443948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3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2231740" y="3579813"/>
            <a:ext cx="6443948" cy="1116012"/>
          </a:xfrm>
          <a:noFill/>
        </p:spPr>
        <p:txBody>
          <a:bodyPr lIns="72000" tIns="46800"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05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  <a:endParaRPr lang="en-GB" dirty="0"/>
          </a:p>
        </p:txBody>
      </p:sp>
      <p:cxnSp>
        <p:nvCxnSpPr>
          <p:cNvPr id="24" name="Gerade Verbindung 23"/>
          <p:cNvCxnSpPr>
            <a:cxnSpLocks/>
          </p:cNvCxnSpPr>
          <p:nvPr userDrawn="1"/>
        </p:nvCxnSpPr>
        <p:spPr>
          <a:xfrm>
            <a:off x="2231916" y="3579812"/>
            <a:ext cx="644344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GB" sz="1400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6811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| Subline+Foot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45590" y="1461600"/>
            <a:ext cx="4068000" cy="864000"/>
          </a:xfrm>
        </p:spPr>
        <p:txBody>
          <a:bodyPr anchor="b" anchorCtr="0"/>
          <a:lstStyle>
            <a:lvl1pPr algn="l">
              <a:defRPr sz="2600" kern="600" baseline="0">
                <a:solidFill>
                  <a:srgbClr val="E20613"/>
                </a:solidFill>
              </a:defRPr>
            </a:lvl1pPr>
          </a:lstStyle>
          <a:p>
            <a:r>
              <a:rPr lang="en-GB"/>
              <a:t>Titel durch Klicken bearbeite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45590" y="2340000"/>
            <a:ext cx="4068000" cy="1440000"/>
          </a:xfrm>
        </p:spPr>
        <p:txBody>
          <a:bodyPr/>
          <a:lstStyle>
            <a:lvl1pPr marL="0" indent="0" algn="l">
              <a:lnSpc>
                <a:spcPct val="120000"/>
              </a:lnSpc>
              <a:buNone/>
              <a:defRPr sz="1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Untertitel durch Klicken </a:t>
            </a:r>
            <a:br>
              <a:rPr lang="en-GB"/>
            </a:br>
            <a:r>
              <a:rPr lang="en-GB"/>
              <a:t>bearbeiten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8D4346B-7E21-4CA5-BD5B-6BF38473D778}"/>
              </a:ext>
            </a:extLst>
          </p:cNvPr>
          <p:cNvGrpSpPr/>
          <p:nvPr userDrawn="1"/>
        </p:nvGrpSpPr>
        <p:grpSpPr>
          <a:xfrm>
            <a:off x="0" y="4195344"/>
            <a:ext cx="9144000" cy="410650"/>
            <a:chOff x="0" y="169186"/>
            <a:chExt cx="9144000" cy="410650"/>
          </a:xfrm>
        </p:grpSpPr>
        <p:sp>
          <p:nvSpPr>
            <p:cNvPr id="37" name="Rechteck 12">
              <a:extLst>
                <a:ext uri="{FF2B5EF4-FFF2-40B4-BE49-F238E27FC236}">
                  <a16:creationId xmlns:a16="http://schemas.microsoft.com/office/drawing/2014/main" id="{9B5F9C4F-359D-4DD4-94FE-43DD1A67A3E2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298D020-3E5A-4451-B733-611FEE2653D3}"/>
                </a:ext>
              </a:extLst>
            </p:cNvPr>
            <p:cNvGrpSpPr/>
            <p:nvPr userDrawn="1"/>
          </p:nvGrpSpPr>
          <p:grpSpPr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39" name="Rectangle 5">
                <a:extLst>
                  <a:ext uri="{FF2B5EF4-FFF2-40B4-BE49-F238E27FC236}">
                    <a16:creationId xmlns:a16="http://schemas.microsoft.com/office/drawing/2014/main" id="{665C6BD1-27B1-47ED-BF77-5B9A32465B97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"/>
                </p:custDataLst>
              </p:nvPr>
            </p:nvSpPr>
            <p:spPr bwMode="auto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72E5B20F-9714-4E20-9B75-5B63C3EEE5C1}"/>
                  </a:ext>
                </a:extLst>
              </p:cNvPr>
              <p:cNvGrpSpPr/>
              <p:nvPr userDrawn="1">
                <p:custDataLst>
                  <p:tags r:id="rId2"/>
                </p:custDataLst>
              </p:nvPr>
            </p:nvGrpSpPr>
            <p:grpSpPr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id="{DBE89503-232F-4E8E-B0DD-3D4696B29FB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7">
                  <a:extLst>
                    <a:ext uri="{FF2B5EF4-FFF2-40B4-BE49-F238E27FC236}">
                      <a16:creationId xmlns:a16="http://schemas.microsoft.com/office/drawing/2014/main" id="{B340DA0D-8F3A-40AE-8CE7-97B7E554BD1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8">
                  <a:extLst>
                    <a:ext uri="{FF2B5EF4-FFF2-40B4-BE49-F238E27FC236}">
                      <a16:creationId xmlns:a16="http://schemas.microsoft.com/office/drawing/2014/main" id="{444D8AC6-2034-4CDE-94FA-C662CA6C051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9">
                  <a:extLst>
                    <a:ext uri="{FF2B5EF4-FFF2-40B4-BE49-F238E27FC236}">
                      <a16:creationId xmlns:a16="http://schemas.microsoft.com/office/drawing/2014/main" id="{88860A47-D138-48D7-9B79-769630E5E8D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10">
                  <a:extLst>
                    <a:ext uri="{FF2B5EF4-FFF2-40B4-BE49-F238E27FC236}">
                      <a16:creationId xmlns:a16="http://schemas.microsoft.com/office/drawing/2014/main" id="{1741BDB6-C642-42D3-8BB5-E5C17DC871C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11">
                  <a:extLst>
                    <a:ext uri="{FF2B5EF4-FFF2-40B4-BE49-F238E27FC236}">
                      <a16:creationId xmlns:a16="http://schemas.microsoft.com/office/drawing/2014/main" id="{C83677FA-A2DB-47B3-8325-6B241D5E360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12">
                  <a:extLst>
                    <a:ext uri="{FF2B5EF4-FFF2-40B4-BE49-F238E27FC236}">
                      <a16:creationId xmlns:a16="http://schemas.microsoft.com/office/drawing/2014/main" id="{3DBFBF50-2A3C-40E0-8653-138C50D018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13">
                  <a:extLst>
                    <a:ext uri="{FF2B5EF4-FFF2-40B4-BE49-F238E27FC236}">
                      <a16:creationId xmlns:a16="http://schemas.microsoft.com/office/drawing/2014/main" id="{EC2E1A4A-050B-4222-BD2F-0A6AA78CCF4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116030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7" name="Fußzeilenplatzhalter 1">
            <a:extLst>
              <a:ext uri="{FF2B5EF4-FFF2-40B4-BE49-F238E27FC236}">
                <a16:creationId xmlns:a16="http://schemas.microsoft.com/office/drawing/2014/main" id="{1B71B83F-2D3D-48E0-9B20-4D820EEEE0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8" name="Foliennummernplatzhalter 4">
            <a:extLst>
              <a:ext uri="{FF2B5EF4-FFF2-40B4-BE49-F238E27FC236}">
                <a16:creationId xmlns:a16="http://schemas.microsoft.com/office/drawing/2014/main" id="{C1864645-433D-4400-ACEF-994AEAC53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hteck 12">
            <a:extLst>
              <a:ext uri="{FF2B5EF4-FFF2-40B4-BE49-F238E27FC236}">
                <a16:creationId xmlns:a16="http://schemas.microsoft.com/office/drawing/2014/main" id="{813ED3A9-B4CF-4FF8-B26A-47B297E88E50}"/>
              </a:ext>
            </a:extLst>
          </p:cNvPr>
          <p:cNvSpPr/>
          <p:nvPr userDrawn="1"/>
        </p:nvSpPr>
        <p:spPr bwMode="gray">
          <a:xfrm>
            <a:off x="0" y="413263"/>
            <a:ext cx="9144000" cy="360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365F7F4-7533-401D-8019-60414532BBBB}"/>
              </a:ext>
            </a:extLst>
          </p:cNvPr>
          <p:cNvGrpSpPr/>
          <p:nvPr userDrawn="1"/>
        </p:nvGrpSpPr>
        <p:grpSpPr>
          <a:xfrm>
            <a:off x="7900818" y="169186"/>
            <a:ext cx="881232" cy="410650"/>
            <a:chOff x="7900818" y="169186"/>
            <a:chExt cx="881232" cy="410650"/>
          </a:xfrm>
        </p:grpSpPr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A5533688-77A2-401A-B78B-ED4B2B33132C}"/>
                </a:ext>
              </a:extLst>
            </p:cNvPr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7900818" y="169186"/>
              <a:ext cx="881232" cy="410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D1D16516-A177-44A5-B3FD-64FB5EE67C46}"/>
                </a:ext>
              </a:extLst>
            </p:cNvPr>
            <p:cNvGrpSpPr/>
            <p:nvPr userDrawn="1">
              <p:custDataLst>
                <p:tags r:id="rId2"/>
              </p:custDataLst>
            </p:nvPr>
          </p:nvGrpSpPr>
          <p:grpSpPr>
            <a:xfrm>
              <a:off x="8003295" y="259145"/>
              <a:ext cx="676276" cy="230730"/>
              <a:chOff x="7580313" y="338138"/>
              <a:chExt cx="944563" cy="322263"/>
            </a:xfrm>
          </p:grpSpPr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3450ADDD-96D1-4130-90E8-1CB22B54BA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555626"/>
                <a:ext cx="466725" cy="104775"/>
              </a:xfrm>
              <a:custGeom>
                <a:avLst/>
                <a:gdLst>
                  <a:gd name="T0" fmla="*/ 0 w 3114"/>
                  <a:gd name="T1" fmla="*/ 6 h 696"/>
                  <a:gd name="T2" fmla="*/ 2452 w 3114"/>
                  <a:gd name="T3" fmla="*/ 6 h 696"/>
                  <a:gd name="T4" fmla="*/ 2730 w 3114"/>
                  <a:gd name="T5" fmla="*/ 71 h 696"/>
                  <a:gd name="T6" fmla="*/ 2999 w 3114"/>
                  <a:gd name="T7" fmla="*/ 323 h 696"/>
                  <a:gd name="T8" fmla="*/ 3082 w 3114"/>
                  <a:gd name="T9" fmla="*/ 523 h 696"/>
                  <a:gd name="T10" fmla="*/ 3111 w 3114"/>
                  <a:gd name="T11" fmla="*/ 696 h 696"/>
                  <a:gd name="T12" fmla="*/ 2887 w 3114"/>
                  <a:gd name="T13" fmla="*/ 463 h 696"/>
                  <a:gd name="T14" fmla="*/ 2325 w 3114"/>
                  <a:gd name="T15" fmla="*/ 353 h 696"/>
                  <a:gd name="T16" fmla="*/ 1588 w 3114"/>
                  <a:gd name="T17" fmla="*/ 352 h 696"/>
                  <a:gd name="T18" fmla="*/ 366 w 3114"/>
                  <a:gd name="T19" fmla="*/ 353 h 696"/>
                  <a:gd name="T20" fmla="*/ 241 w 3114"/>
                  <a:gd name="T21" fmla="*/ 338 h 696"/>
                  <a:gd name="T22" fmla="*/ 108 w 3114"/>
                  <a:gd name="T23" fmla="*/ 261 h 696"/>
                  <a:gd name="T24" fmla="*/ 25 w 3114"/>
                  <a:gd name="T25" fmla="*/ 130 h 696"/>
                  <a:gd name="T26" fmla="*/ 0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0" y="6"/>
                    </a:moveTo>
                    <a:lnTo>
                      <a:pt x="2452" y="6"/>
                    </a:lnTo>
                    <a:cubicBezTo>
                      <a:pt x="2452" y="6"/>
                      <a:pt x="2580" y="0"/>
                      <a:pt x="2730" y="71"/>
                    </a:cubicBezTo>
                    <a:cubicBezTo>
                      <a:pt x="2879" y="141"/>
                      <a:pt x="2959" y="256"/>
                      <a:pt x="2999" y="323"/>
                    </a:cubicBezTo>
                    <a:cubicBezTo>
                      <a:pt x="3019" y="356"/>
                      <a:pt x="3050" y="404"/>
                      <a:pt x="3082" y="523"/>
                    </a:cubicBezTo>
                    <a:cubicBezTo>
                      <a:pt x="3114" y="642"/>
                      <a:pt x="3111" y="696"/>
                      <a:pt x="3111" y="696"/>
                    </a:cubicBezTo>
                    <a:cubicBezTo>
                      <a:pt x="3111" y="696"/>
                      <a:pt x="3010" y="545"/>
                      <a:pt x="2887" y="463"/>
                    </a:cubicBezTo>
                    <a:cubicBezTo>
                      <a:pt x="2737" y="366"/>
                      <a:pt x="2550" y="351"/>
                      <a:pt x="2325" y="353"/>
                    </a:cubicBezTo>
                    <a:cubicBezTo>
                      <a:pt x="2107" y="353"/>
                      <a:pt x="1588" y="352"/>
                      <a:pt x="1588" y="352"/>
                    </a:cubicBezTo>
                    <a:lnTo>
                      <a:pt x="366" y="353"/>
                    </a:lnTo>
                    <a:cubicBezTo>
                      <a:pt x="366" y="353"/>
                      <a:pt x="298" y="357"/>
                      <a:pt x="241" y="338"/>
                    </a:cubicBezTo>
                    <a:cubicBezTo>
                      <a:pt x="184" y="319"/>
                      <a:pt x="158" y="307"/>
                      <a:pt x="108" y="261"/>
                    </a:cubicBezTo>
                    <a:cubicBezTo>
                      <a:pt x="63" y="218"/>
                      <a:pt x="34" y="154"/>
                      <a:pt x="25" y="130"/>
                    </a:cubicBezTo>
                    <a:cubicBezTo>
                      <a:pt x="8" y="78"/>
                      <a:pt x="2" y="44"/>
                      <a:pt x="0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7">
                <a:extLst>
                  <a:ext uri="{FF2B5EF4-FFF2-40B4-BE49-F238E27FC236}">
                    <a16:creationId xmlns:a16="http://schemas.microsoft.com/office/drawing/2014/main" id="{35070938-306E-430C-8905-8282DE9C59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58150" y="555626"/>
                <a:ext cx="466725" cy="104775"/>
              </a:xfrm>
              <a:custGeom>
                <a:avLst/>
                <a:gdLst>
                  <a:gd name="T0" fmla="*/ 3114 w 3114"/>
                  <a:gd name="T1" fmla="*/ 6 h 696"/>
                  <a:gd name="T2" fmla="*/ 662 w 3114"/>
                  <a:gd name="T3" fmla="*/ 6 h 696"/>
                  <a:gd name="T4" fmla="*/ 384 w 3114"/>
                  <a:gd name="T5" fmla="*/ 71 h 696"/>
                  <a:gd name="T6" fmla="*/ 115 w 3114"/>
                  <a:gd name="T7" fmla="*/ 323 h 696"/>
                  <a:gd name="T8" fmla="*/ 32 w 3114"/>
                  <a:gd name="T9" fmla="*/ 523 h 696"/>
                  <a:gd name="T10" fmla="*/ 3 w 3114"/>
                  <a:gd name="T11" fmla="*/ 696 h 696"/>
                  <a:gd name="T12" fmla="*/ 227 w 3114"/>
                  <a:gd name="T13" fmla="*/ 463 h 696"/>
                  <a:gd name="T14" fmla="*/ 789 w 3114"/>
                  <a:gd name="T15" fmla="*/ 353 h 696"/>
                  <a:gd name="T16" fmla="*/ 1526 w 3114"/>
                  <a:gd name="T17" fmla="*/ 352 h 696"/>
                  <a:gd name="T18" fmla="*/ 2748 w 3114"/>
                  <a:gd name="T19" fmla="*/ 353 h 696"/>
                  <a:gd name="T20" fmla="*/ 2873 w 3114"/>
                  <a:gd name="T21" fmla="*/ 338 h 696"/>
                  <a:gd name="T22" fmla="*/ 3005 w 3114"/>
                  <a:gd name="T23" fmla="*/ 261 h 696"/>
                  <a:gd name="T24" fmla="*/ 3089 w 3114"/>
                  <a:gd name="T25" fmla="*/ 130 h 696"/>
                  <a:gd name="T26" fmla="*/ 3114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3114" y="6"/>
                    </a:moveTo>
                    <a:lnTo>
                      <a:pt x="662" y="6"/>
                    </a:lnTo>
                    <a:cubicBezTo>
                      <a:pt x="662" y="6"/>
                      <a:pt x="534" y="0"/>
                      <a:pt x="384" y="71"/>
                    </a:cubicBezTo>
                    <a:cubicBezTo>
                      <a:pt x="235" y="141"/>
                      <a:pt x="155" y="256"/>
                      <a:pt x="115" y="323"/>
                    </a:cubicBezTo>
                    <a:cubicBezTo>
                      <a:pt x="95" y="356"/>
                      <a:pt x="64" y="404"/>
                      <a:pt x="32" y="523"/>
                    </a:cubicBezTo>
                    <a:cubicBezTo>
                      <a:pt x="0" y="642"/>
                      <a:pt x="3" y="696"/>
                      <a:pt x="3" y="696"/>
                    </a:cubicBezTo>
                    <a:cubicBezTo>
                      <a:pt x="3" y="696"/>
                      <a:pt x="104" y="545"/>
                      <a:pt x="227" y="463"/>
                    </a:cubicBezTo>
                    <a:cubicBezTo>
                      <a:pt x="377" y="366"/>
                      <a:pt x="564" y="351"/>
                      <a:pt x="789" y="353"/>
                    </a:cubicBezTo>
                    <a:cubicBezTo>
                      <a:pt x="1007" y="353"/>
                      <a:pt x="1526" y="352"/>
                      <a:pt x="1526" y="352"/>
                    </a:cubicBezTo>
                    <a:lnTo>
                      <a:pt x="2748" y="353"/>
                    </a:lnTo>
                    <a:cubicBezTo>
                      <a:pt x="2748" y="353"/>
                      <a:pt x="2816" y="357"/>
                      <a:pt x="2873" y="338"/>
                    </a:cubicBezTo>
                    <a:cubicBezTo>
                      <a:pt x="2930" y="319"/>
                      <a:pt x="2956" y="307"/>
                      <a:pt x="3005" y="261"/>
                    </a:cubicBezTo>
                    <a:cubicBezTo>
                      <a:pt x="3051" y="218"/>
                      <a:pt x="3080" y="154"/>
                      <a:pt x="3089" y="130"/>
                    </a:cubicBezTo>
                    <a:cubicBezTo>
                      <a:pt x="3106" y="78"/>
                      <a:pt x="3112" y="44"/>
                      <a:pt x="3114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DE38A273-2BE8-4A75-8C93-97D7004963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694613" y="388938"/>
                <a:ext cx="138113" cy="141288"/>
              </a:xfrm>
              <a:custGeom>
                <a:avLst/>
                <a:gdLst>
                  <a:gd name="T0" fmla="*/ 638 w 930"/>
                  <a:gd name="T1" fmla="*/ 381 h 937"/>
                  <a:gd name="T2" fmla="*/ 305 w 930"/>
                  <a:gd name="T3" fmla="*/ 381 h 937"/>
                  <a:gd name="T4" fmla="*/ 474 w 930"/>
                  <a:gd name="T5" fmla="*/ 182 h 937"/>
                  <a:gd name="T6" fmla="*/ 638 w 930"/>
                  <a:gd name="T7" fmla="*/ 381 h 937"/>
                  <a:gd name="T8" fmla="*/ 930 w 930"/>
                  <a:gd name="T9" fmla="*/ 513 h 937"/>
                  <a:gd name="T10" fmla="*/ 930 w 930"/>
                  <a:gd name="T11" fmla="*/ 513 h 937"/>
                  <a:gd name="T12" fmla="*/ 887 w 930"/>
                  <a:gd name="T13" fmla="*/ 227 h 937"/>
                  <a:gd name="T14" fmla="*/ 468 w 930"/>
                  <a:gd name="T15" fmla="*/ 0 h 937"/>
                  <a:gd name="T16" fmla="*/ 3 w 930"/>
                  <a:gd name="T17" fmla="*/ 482 h 937"/>
                  <a:gd name="T18" fmla="*/ 513 w 930"/>
                  <a:gd name="T19" fmla="*/ 922 h 937"/>
                  <a:gd name="T20" fmla="*/ 923 w 930"/>
                  <a:gd name="T21" fmla="*/ 780 h 937"/>
                  <a:gd name="T22" fmla="*/ 846 w 930"/>
                  <a:gd name="T23" fmla="*/ 650 h 937"/>
                  <a:gd name="T24" fmla="*/ 550 w 930"/>
                  <a:gd name="T25" fmla="*/ 746 h 937"/>
                  <a:gd name="T26" fmla="*/ 310 w 930"/>
                  <a:gd name="T27" fmla="*/ 513 h 937"/>
                  <a:gd name="T28" fmla="*/ 930 w 930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0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7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30" y="513"/>
                    </a:moveTo>
                    <a:lnTo>
                      <a:pt x="930" y="513"/>
                    </a:lnTo>
                    <a:cubicBezTo>
                      <a:pt x="930" y="401"/>
                      <a:pt x="925" y="300"/>
                      <a:pt x="887" y="227"/>
                    </a:cubicBezTo>
                    <a:cubicBezTo>
                      <a:pt x="827" y="105"/>
                      <a:pt x="712" y="0"/>
                      <a:pt x="468" y="0"/>
                    </a:cubicBezTo>
                    <a:cubicBezTo>
                      <a:pt x="133" y="0"/>
                      <a:pt x="5" y="178"/>
                      <a:pt x="3" y="482"/>
                    </a:cubicBezTo>
                    <a:cubicBezTo>
                      <a:pt x="0" y="752"/>
                      <a:pt x="188" y="937"/>
                      <a:pt x="513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2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30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AE3FCEDA-90EB-4824-8FD5-472B327AB5F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45463" y="388938"/>
                <a:ext cx="139700" cy="141288"/>
              </a:xfrm>
              <a:custGeom>
                <a:avLst/>
                <a:gdLst>
                  <a:gd name="T0" fmla="*/ 638 w 929"/>
                  <a:gd name="T1" fmla="*/ 381 h 937"/>
                  <a:gd name="T2" fmla="*/ 305 w 929"/>
                  <a:gd name="T3" fmla="*/ 381 h 937"/>
                  <a:gd name="T4" fmla="*/ 474 w 929"/>
                  <a:gd name="T5" fmla="*/ 182 h 937"/>
                  <a:gd name="T6" fmla="*/ 638 w 929"/>
                  <a:gd name="T7" fmla="*/ 381 h 937"/>
                  <a:gd name="T8" fmla="*/ 929 w 929"/>
                  <a:gd name="T9" fmla="*/ 513 h 937"/>
                  <a:gd name="T10" fmla="*/ 929 w 929"/>
                  <a:gd name="T11" fmla="*/ 513 h 937"/>
                  <a:gd name="T12" fmla="*/ 886 w 929"/>
                  <a:gd name="T13" fmla="*/ 227 h 937"/>
                  <a:gd name="T14" fmla="*/ 468 w 929"/>
                  <a:gd name="T15" fmla="*/ 0 h 937"/>
                  <a:gd name="T16" fmla="*/ 2 w 929"/>
                  <a:gd name="T17" fmla="*/ 482 h 937"/>
                  <a:gd name="T18" fmla="*/ 512 w 929"/>
                  <a:gd name="T19" fmla="*/ 922 h 937"/>
                  <a:gd name="T20" fmla="*/ 923 w 929"/>
                  <a:gd name="T21" fmla="*/ 780 h 937"/>
                  <a:gd name="T22" fmla="*/ 846 w 929"/>
                  <a:gd name="T23" fmla="*/ 650 h 937"/>
                  <a:gd name="T24" fmla="*/ 550 w 929"/>
                  <a:gd name="T25" fmla="*/ 746 h 937"/>
                  <a:gd name="T26" fmla="*/ 310 w 929"/>
                  <a:gd name="T27" fmla="*/ 513 h 937"/>
                  <a:gd name="T28" fmla="*/ 929 w 929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29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6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29" y="513"/>
                    </a:moveTo>
                    <a:lnTo>
                      <a:pt x="929" y="513"/>
                    </a:lnTo>
                    <a:cubicBezTo>
                      <a:pt x="929" y="401"/>
                      <a:pt x="925" y="300"/>
                      <a:pt x="886" y="227"/>
                    </a:cubicBezTo>
                    <a:cubicBezTo>
                      <a:pt x="827" y="105"/>
                      <a:pt x="711" y="0"/>
                      <a:pt x="468" y="0"/>
                    </a:cubicBezTo>
                    <a:cubicBezTo>
                      <a:pt x="132" y="0"/>
                      <a:pt x="5" y="178"/>
                      <a:pt x="2" y="482"/>
                    </a:cubicBezTo>
                    <a:cubicBezTo>
                      <a:pt x="0" y="752"/>
                      <a:pt x="187" y="937"/>
                      <a:pt x="512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1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29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98B00816-7D05-4D4F-B3E9-D2866C43F3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338138"/>
                <a:ext cx="103188" cy="190500"/>
              </a:xfrm>
              <a:custGeom>
                <a:avLst/>
                <a:gdLst>
                  <a:gd name="T0" fmla="*/ 690 w 690"/>
                  <a:gd name="T1" fmla="*/ 343 h 1259"/>
                  <a:gd name="T2" fmla="*/ 690 w 690"/>
                  <a:gd name="T3" fmla="*/ 551 h 1259"/>
                  <a:gd name="T4" fmla="*/ 480 w 690"/>
                  <a:gd name="T5" fmla="*/ 551 h 1259"/>
                  <a:gd name="T6" fmla="*/ 480 w 690"/>
                  <a:gd name="T7" fmla="*/ 887 h 1259"/>
                  <a:gd name="T8" fmla="*/ 607 w 690"/>
                  <a:gd name="T9" fmla="*/ 1073 h 1259"/>
                  <a:gd name="T10" fmla="*/ 689 w 690"/>
                  <a:gd name="T11" fmla="*/ 1067 h 1259"/>
                  <a:gd name="T12" fmla="*/ 689 w 690"/>
                  <a:gd name="T13" fmla="*/ 1216 h 1259"/>
                  <a:gd name="T14" fmla="*/ 477 w 690"/>
                  <a:gd name="T15" fmla="*/ 1259 h 1259"/>
                  <a:gd name="T16" fmla="*/ 165 w 690"/>
                  <a:gd name="T17" fmla="*/ 1004 h 1259"/>
                  <a:gd name="T18" fmla="*/ 165 w 690"/>
                  <a:gd name="T19" fmla="*/ 551 h 1259"/>
                  <a:gd name="T20" fmla="*/ 0 w 690"/>
                  <a:gd name="T21" fmla="*/ 551 h 1259"/>
                  <a:gd name="T22" fmla="*/ 0 w 690"/>
                  <a:gd name="T23" fmla="*/ 343 h 1259"/>
                  <a:gd name="T24" fmla="*/ 170 w 690"/>
                  <a:gd name="T25" fmla="*/ 343 h 1259"/>
                  <a:gd name="T26" fmla="*/ 170 w 690"/>
                  <a:gd name="T27" fmla="*/ 134 h 1259"/>
                  <a:gd name="T28" fmla="*/ 484 w 690"/>
                  <a:gd name="T29" fmla="*/ 0 h 1259"/>
                  <a:gd name="T30" fmla="*/ 484 w 690"/>
                  <a:gd name="T31" fmla="*/ 343 h 1259"/>
                  <a:gd name="T32" fmla="*/ 690 w 690"/>
                  <a:gd name="T33" fmla="*/ 343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90" h="1259">
                    <a:moveTo>
                      <a:pt x="690" y="343"/>
                    </a:moveTo>
                    <a:lnTo>
                      <a:pt x="690" y="551"/>
                    </a:lnTo>
                    <a:lnTo>
                      <a:pt x="480" y="551"/>
                    </a:lnTo>
                    <a:lnTo>
                      <a:pt x="480" y="887"/>
                    </a:lnTo>
                    <a:cubicBezTo>
                      <a:pt x="482" y="995"/>
                      <a:pt x="482" y="1073"/>
                      <a:pt x="607" y="1073"/>
                    </a:cubicBezTo>
                    <a:cubicBezTo>
                      <a:pt x="633" y="1073"/>
                      <a:pt x="649" y="1073"/>
                      <a:pt x="689" y="1067"/>
                    </a:cubicBezTo>
                    <a:lnTo>
                      <a:pt x="689" y="1216"/>
                    </a:lnTo>
                    <a:cubicBezTo>
                      <a:pt x="647" y="1233"/>
                      <a:pt x="588" y="1259"/>
                      <a:pt x="477" y="1259"/>
                    </a:cubicBezTo>
                    <a:cubicBezTo>
                      <a:pt x="217" y="1259"/>
                      <a:pt x="165" y="1172"/>
                      <a:pt x="165" y="1004"/>
                    </a:cubicBezTo>
                    <a:lnTo>
                      <a:pt x="165" y="551"/>
                    </a:lnTo>
                    <a:lnTo>
                      <a:pt x="0" y="551"/>
                    </a:lnTo>
                    <a:lnTo>
                      <a:pt x="0" y="343"/>
                    </a:lnTo>
                    <a:lnTo>
                      <a:pt x="170" y="343"/>
                    </a:lnTo>
                    <a:lnTo>
                      <a:pt x="170" y="134"/>
                    </a:lnTo>
                    <a:lnTo>
                      <a:pt x="484" y="0"/>
                    </a:lnTo>
                    <a:lnTo>
                      <a:pt x="484" y="343"/>
                    </a:lnTo>
                    <a:lnTo>
                      <a:pt x="690" y="34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F61FC8CC-F2DB-49DD-A98D-17A22A0ACF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1475" y="339726"/>
                <a:ext cx="138113" cy="188913"/>
              </a:xfrm>
              <a:custGeom>
                <a:avLst/>
                <a:gdLst>
                  <a:gd name="T0" fmla="*/ 0 w 919"/>
                  <a:gd name="T1" fmla="*/ 134 h 1253"/>
                  <a:gd name="T2" fmla="*/ 325 w 919"/>
                  <a:gd name="T3" fmla="*/ 0 h 1253"/>
                  <a:gd name="T4" fmla="*/ 325 w 919"/>
                  <a:gd name="T5" fmla="*/ 477 h 1253"/>
                  <a:gd name="T6" fmla="*/ 594 w 919"/>
                  <a:gd name="T7" fmla="*/ 363 h 1253"/>
                  <a:gd name="T8" fmla="*/ 833 w 919"/>
                  <a:gd name="T9" fmla="*/ 451 h 1253"/>
                  <a:gd name="T10" fmla="*/ 919 w 919"/>
                  <a:gd name="T11" fmla="*/ 746 h 1253"/>
                  <a:gd name="T12" fmla="*/ 919 w 919"/>
                  <a:gd name="T13" fmla="*/ 1253 h 1253"/>
                  <a:gd name="T14" fmla="*/ 599 w 919"/>
                  <a:gd name="T15" fmla="*/ 1253 h 1253"/>
                  <a:gd name="T16" fmla="*/ 599 w 919"/>
                  <a:gd name="T17" fmla="*/ 784 h 1253"/>
                  <a:gd name="T18" fmla="*/ 465 w 919"/>
                  <a:gd name="T19" fmla="*/ 569 h 1253"/>
                  <a:gd name="T20" fmla="*/ 330 w 919"/>
                  <a:gd name="T21" fmla="*/ 691 h 1253"/>
                  <a:gd name="T22" fmla="*/ 322 w 919"/>
                  <a:gd name="T23" fmla="*/ 859 h 1253"/>
                  <a:gd name="T24" fmla="*/ 322 w 919"/>
                  <a:gd name="T25" fmla="*/ 1253 h 1253"/>
                  <a:gd name="T26" fmla="*/ 0 w 919"/>
                  <a:gd name="T27" fmla="*/ 1253 h 1253"/>
                  <a:gd name="T28" fmla="*/ 0 w 919"/>
                  <a:gd name="T29" fmla="*/ 134 h 1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9" h="1253">
                    <a:moveTo>
                      <a:pt x="0" y="134"/>
                    </a:moveTo>
                    <a:lnTo>
                      <a:pt x="325" y="0"/>
                    </a:lnTo>
                    <a:lnTo>
                      <a:pt x="325" y="477"/>
                    </a:lnTo>
                    <a:cubicBezTo>
                      <a:pt x="359" y="442"/>
                      <a:pt x="438" y="363"/>
                      <a:pt x="594" y="363"/>
                    </a:cubicBezTo>
                    <a:cubicBezTo>
                      <a:pt x="677" y="363"/>
                      <a:pt x="763" y="385"/>
                      <a:pt x="833" y="451"/>
                    </a:cubicBezTo>
                    <a:cubicBezTo>
                      <a:pt x="919" y="529"/>
                      <a:pt x="919" y="625"/>
                      <a:pt x="919" y="746"/>
                    </a:cubicBezTo>
                    <a:lnTo>
                      <a:pt x="919" y="1253"/>
                    </a:lnTo>
                    <a:lnTo>
                      <a:pt x="599" y="1253"/>
                    </a:lnTo>
                    <a:lnTo>
                      <a:pt x="599" y="784"/>
                    </a:lnTo>
                    <a:cubicBezTo>
                      <a:pt x="599" y="711"/>
                      <a:pt x="599" y="569"/>
                      <a:pt x="465" y="569"/>
                    </a:cubicBezTo>
                    <a:cubicBezTo>
                      <a:pt x="363" y="569"/>
                      <a:pt x="339" y="656"/>
                      <a:pt x="330" y="691"/>
                    </a:cubicBezTo>
                    <a:cubicBezTo>
                      <a:pt x="322" y="730"/>
                      <a:pt x="322" y="786"/>
                      <a:pt x="322" y="859"/>
                    </a:cubicBezTo>
                    <a:lnTo>
                      <a:pt x="322" y="1253"/>
                    </a:lnTo>
                    <a:lnTo>
                      <a:pt x="0" y="1253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4A4C0ED3-2399-49A9-99C2-4FA222FFFF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04213" y="392113"/>
                <a:ext cx="220663" cy="136525"/>
              </a:xfrm>
              <a:custGeom>
                <a:avLst/>
                <a:gdLst>
                  <a:gd name="T0" fmla="*/ 0 w 1474"/>
                  <a:gd name="T1" fmla="*/ 0 h 904"/>
                  <a:gd name="T2" fmla="*/ 310 w 1474"/>
                  <a:gd name="T3" fmla="*/ 0 h 904"/>
                  <a:gd name="T4" fmla="*/ 310 w 1474"/>
                  <a:gd name="T5" fmla="*/ 177 h 904"/>
                  <a:gd name="T6" fmla="*/ 598 w 1474"/>
                  <a:gd name="T7" fmla="*/ 0 h 904"/>
                  <a:gd name="T8" fmla="*/ 863 w 1474"/>
                  <a:gd name="T9" fmla="*/ 173 h 904"/>
                  <a:gd name="T10" fmla="*/ 1165 w 1474"/>
                  <a:gd name="T11" fmla="*/ 0 h 904"/>
                  <a:gd name="T12" fmla="*/ 1428 w 1474"/>
                  <a:gd name="T13" fmla="*/ 145 h 904"/>
                  <a:gd name="T14" fmla="*/ 1474 w 1474"/>
                  <a:gd name="T15" fmla="*/ 427 h 904"/>
                  <a:gd name="T16" fmla="*/ 1474 w 1474"/>
                  <a:gd name="T17" fmla="*/ 904 h 904"/>
                  <a:gd name="T18" fmla="*/ 1157 w 1474"/>
                  <a:gd name="T19" fmla="*/ 904 h 904"/>
                  <a:gd name="T20" fmla="*/ 1155 w 1474"/>
                  <a:gd name="T21" fmla="*/ 411 h 904"/>
                  <a:gd name="T22" fmla="*/ 1030 w 1474"/>
                  <a:gd name="T23" fmla="*/ 218 h 904"/>
                  <a:gd name="T24" fmla="*/ 912 w 1474"/>
                  <a:gd name="T25" fmla="*/ 291 h 904"/>
                  <a:gd name="T26" fmla="*/ 894 w 1474"/>
                  <a:gd name="T27" fmla="*/ 414 h 904"/>
                  <a:gd name="T28" fmla="*/ 894 w 1474"/>
                  <a:gd name="T29" fmla="*/ 904 h 904"/>
                  <a:gd name="T30" fmla="*/ 578 w 1474"/>
                  <a:gd name="T31" fmla="*/ 904 h 904"/>
                  <a:gd name="T32" fmla="*/ 578 w 1474"/>
                  <a:gd name="T33" fmla="*/ 407 h 904"/>
                  <a:gd name="T34" fmla="*/ 452 w 1474"/>
                  <a:gd name="T35" fmla="*/ 218 h 904"/>
                  <a:gd name="T36" fmla="*/ 317 w 1474"/>
                  <a:gd name="T37" fmla="*/ 407 h 904"/>
                  <a:gd name="T38" fmla="*/ 317 w 1474"/>
                  <a:gd name="T39" fmla="*/ 904 h 904"/>
                  <a:gd name="T40" fmla="*/ 0 w 1474"/>
                  <a:gd name="T41" fmla="*/ 904 h 904"/>
                  <a:gd name="T42" fmla="*/ 0 w 1474"/>
                  <a:gd name="T43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74" h="904">
                    <a:moveTo>
                      <a:pt x="0" y="0"/>
                    </a:moveTo>
                    <a:lnTo>
                      <a:pt x="310" y="0"/>
                    </a:lnTo>
                    <a:lnTo>
                      <a:pt x="310" y="177"/>
                    </a:lnTo>
                    <a:cubicBezTo>
                      <a:pt x="371" y="64"/>
                      <a:pt x="470" y="0"/>
                      <a:pt x="598" y="0"/>
                    </a:cubicBezTo>
                    <a:cubicBezTo>
                      <a:pt x="647" y="0"/>
                      <a:pt x="808" y="21"/>
                      <a:pt x="863" y="173"/>
                    </a:cubicBezTo>
                    <a:cubicBezTo>
                      <a:pt x="943" y="38"/>
                      <a:pt x="1077" y="0"/>
                      <a:pt x="1165" y="0"/>
                    </a:cubicBezTo>
                    <a:cubicBezTo>
                      <a:pt x="1323" y="0"/>
                      <a:pt x="1396" y="95"/>
                      <a:pt x="1428" y="145"/>
                    </a:cubicBezTo>
                    <a:cubicBezTo>
                      <a:pt x="1474" y="220"/>
                      <a:pt x="1474" y="326"/>
                      <a:pt x="1474" y="427"/>
                    </a:cubicBezTo>
                    <a:lnTo>
                      <a:pt x="1474" y="904"/>
                    </a:lnTo>
                    <a:lnTo>
                      <a:pt x="1157" y="904"/>
                    </a:lnTo>
                    <a:lnTo>
                      <a:pt x="1155" y="411"/>
                    </a:lnTo>
                    <a:cubicBezTo>
                      <a:pt x="1155" y="322"/>
                      <a:pt x="1155" y="218"/>
                      <a:pt x="1030" y="218"/>
                    </a:cubicBezTo>
                    <a:cubicBezTo>
                      <a:pt x="988" y="218"/>
                      <a:pt x="941" y="234"/>
                      <a:pt x="912" y="291"/>
                    </a:cubicBezTo>
                    <a:cubicBezTo>
                      <a:pt x="902" y="312"/>
                      <a:pt x="894" y="340"/>
                      <a:pt x="894" y="414"/>
                    </a:cubicBezTo>
                    <a:lnTo>
                      <a:pt x="894" y="904"/>
                    </a:lnTo>
                    <a:lnTo>
                      <a:pt x="578" y="904"/>
                    </a:lnTo>
                    <a:lnTo>
                      <a:pt x="578" y="407"/>
                    </a:lnTo>
                    <a:cubicBezTo>
                      <a:pt x="578" y="329"/>
                      <a:pt x="578" y="218"/>
                      <a:pt x="452" y="218"/>
                    </a:cubicBezTo>
                    <a:cubicBezTo>
                      <a:pt x="344" y="218"/>
                      <a:pt x="317" y="310"/>
                      <a:pt x="317" y="407"/>
                    </a:cubicBezTo>
                    <a:lnTo>
                      <a:pt x="317" y="904"/>
                    </a:lnTo>
                    <a:lnTo>
                      <a:pt x="0" y="904"/>
                    </a:lnTo>
                    <a:cubicBezTo>
                      <a:pt x="0" y="904"/>
                      <a:pt x="0" y="26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id="{B299B34C-370F-4939-B9A6-679B2D6059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48600" y="388938"/>
                <a:ext cx="128588" cy="139700"/>
              </a:xfrm>
              <a:custGeom>
                <a:avLst/>
                <a:gdLst>
                  <a:gd name="T0" fmla="*/ 588 w 857"/>
                  <a:gd name="T1" fmla="*/ 744 h 926"/>
                  <a:gd name="T2" fmla="*/ 321 w 857"/>
                  <a:gd name="T3" fmla="*/ 467 h 926"/>
                  <a:gd name="T4" fmla="*/ 576 w 857"/>
                  <a:gd name="T5" fmla="*/ 180 h 926"/>
                  <a:gd name="T6" fmla="*/ 786 w 857"/>
                  <a:gd name="T7" fmla="*/ 244 h 926"/>
                  <a:gd name="T8" fmla="*/ 857 w 857"/>
                  <a:gd name="T9" fmla="*/ 121 h 926"/>
                  <a:gd name="T10" fmla="*/ 472 w 857"/>
                  <a:gd name="T11" fmla="*/ 0 h 926"/>
                  <a:gd name="T12" fmla="*/ 0 w 857"/>
                  <a:gd name="T13" fmla="*/ 477 h 926"/>
                  <a:gd name="T14" fmla="*/ 472 w 857"/>
                  <a:gd name="T15" fmla="*/ 926 h 926"/>
                  <a:gd name="T16" fmla="*/ 857 w 857"/>
                  <a:gd name="T17" fmla="*/ 805 h 926"/>
                  <a:gd name="T18" fmla="*/ 786 w 857"/>
                  <a:gd name="T19" fmla="*/ 681 h 926"/>
                  <a:gd name="T20" fmla="*/ 588 w 857"/>
                  <a:gd name="T21" fmla="*/ 744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7" h="926">
                    <a:moveTo>
                      <a:pt x="588" y="744"/>
                    </a:moveTo>
                    <a:cubicBezTo>
                      <a:pt x="505" y="744"/>
                      <a:pt x="321" y="687"/>
                      <a:pt x="321" y="467"/>
                    </a:cubicBezTo>
                    <a:cubicBezTo>
                      <a:pt x="321" y="254"/>
                      <a:pt x="493" y="187"/>
                      <a:pt x="576" y="180"/>
                    </a:cubicBezTo>
                    <a:cubicBezTo>
                      <a:pt x="659" y="174"/>
                      <a:pt x="702" y="187"/>
                      <a:pt x="786" y="244"/>
                    </a:cubicBezTo>
                    <a:lnTo>
                      <a:pt x="857" y="121"/>
                    </a:lnTo>
                    <a:cubicBezTo>
                      <a:pt x="794" y="77"/>
                      <a:pt x="701" y="0"/>
                      <a:pt x="472" y="0"/>
                    </a:cubicBezTo>
                    <a:cubicBezTo>
                      <a:pt x="187" y="0"/>
                      <a:pt x="0" y="195"/>
                      <a:pt x="0" y="477"/>
                    </a:cubicBezTo>
                    <a:cubicBezTo>
                      <a:pt x="0" y="717"/>
                      <a:pt x="187" y="926"/>
                      <a:pt x="472" y="926"/>
                    </a:cubicBezTo>
                    <a:cubicBezTo>
                      <a:pt x="701" y="926"/>
                      <a:pt x="794" y="849"/>
                      <a:pt x="857" y="805"/>
                    </a:cubicBezTo>
                    <a:lnTo>
                      <a:pt x="786" y="681"/>
                    </a:lnTo>
                    <a:cubicBezTo>
                      <a:pt x="694" y="738"/>
                      <a:pt x="672" y="744"/>
                      <a:pt x="588" y="7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25468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7" name="Fußzeilenplatzhalter 1">
            <a:extLst>
              <a:ext uri="{FF2B5EF4-FFF2-40B4-BE49-F238E27FC236}">
                <a16:creationId xmlns:a16="http://schemas.microsoft.com/office/drawing/2014/main" id="{701F1AC1-A426-4551-90E9-972E7C8CC7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8" name="Foliennummernplatzhalter 4">
            <a:extLst>
              <a:ext uri="{FF2B5EF4-FFF2-40B4-BE49-F238E27FC236}">
                <a16:creationId xmlns:a16="http://schemas.microsoft.com/office/drawing/2014/main" id="{70C63CED-EE51-40AE-84DE-80019BACB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hteck 12">
            <a:extLst>
              <a:ext uri="{FF2B5EF4-FFF2-40B4-BE49-F238E27FC236}">
                <a16:creationId xmlns:a16="http://schemas.microsoft.com/office/drawing/2014/main" id="{B698B75E-9F4C-4C4C-BA34-128F00AF7499}"/>
              </a:ext>
            </a:extLst>
          </p:cNvPr>
          <p:cNvSpPr/>
          <p:nvPr userDrawn="1"/>
        </p:nvSpPr>
        <p:spPr bwMode="gray">
          <a:xfrm>
            <a:off x="0" y="413263"/>
            <a:ext cx="9144000" cy="360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020ED8B-2E47-4937-B9E3-6D7848F60ACE}"/>
              </a:ext>
            </a:extLst>
          </p:cNvPr>
          <p:cNvGrpSpPr/>
          <p:nvPr userDrawn="1"/>
        </p:nvGrpSpPr>
        <p:grpSpPr>
          <a:xfrm>
            <a:off x="7900818" y="169186"/>
            <a:ext cx="881232" cy="410650"/>
            <a:chOff x="7900818" y="169186"/>
            <a:chExt cx="881232" cy="410650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594E9E09-54A8-41B2-84DE-2154B72DB8D2}"/>
                </a:ext>
              </a:extLst>
            </p:cNvPr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7900818" y="169186"/>
              <a:ext cx="881232" cy="410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F7585ED-B5E8-4A7E-876D-CE63909C24F0}"/>
                </a:ext>
              </a:extLst>
            </p:cNvPr>
            <p:cNvGrpSpPr/>
            <p:nvPr userDrawn="1">
              <p:custDataLst>
                <p:tags r:id="rId2"/>
              </p:custDataLst>
            </p:nvPr>
          </p:nvGrpSpPr>
          <p:grpSpPr>
            <a:xfrm>
              <a:off x="8003295" y="259145"/>
              <a:ext cx="676276" cy="230730"/>
              <a:chOff x="7580313" y="338138"/>
              <a:chExt cx="944563" cy="322263"/>
            </a:xfrm>
          </p:grpSpPr>
          <p:sp>
            <p:nvSpPr>
              <p:cNvPr id="34" name="Freeform 6">
                <a:extLst>
                  <a:ext uri="{FF2B5EF4-FFF2-40B4-BE49-F238E27FC236}">
                    <a16:creationId xmlns:a16="http://schemas.microsoft.com/office/drawing/2014/main" id="{180D2F0D-E39B-476B-B494-8CA09DF48D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555626"/>
                <a:ext cx="466725" cy="104775"/>
              </a:xfrm>
              <a:custGeom>
                <a:avLst/>
                <a:gdLst>
                  <a:gd name="T0" fmla="*/ 0 w 3114"/>
                  <a:gd name="T1" fmla="*/ 6 h 696"/>
                  <a:gd name="T2" fmla="*/ 2452 w 3114"/>
                  <a:gd name="T3" fmla="*/ 6 h 696"/>
                  <a:gd name="T4" fmla="*/ 2730 w 3114"/>
                  <a:gd name="T5" fmla="*/ 71 h 696"/>
                  <a:gd name="T6" fmla="*/ 2999 w 3114"/>
                  <a:gd name="T7" fmla="*/ 323 h 696"/>
                  <a:gd name="T8" fmla="*/ 3082 w 3114"/>
                  <a:gd name="T9" fmla="*/ 523 h 696"/>
                  <a:gd name="T10" fmla="*/ 3111 w 3114"/>
                  <a:gd name="T11" fmla="*/ 696 h 696"/>
                  <a:gd name="T12" fmla="*/ 2887 w 3114"/>
                  <a:gd name="T13" fmla="*/ 463 h 696"/>
                  <a:gd name="T14" fmla="*/ 2325 w 3114"/>
                  <a:gd name="T15" fmla="*/ 353 h 696"/>
                  <a:gd name="T16" fmla="*/ 1588 w 3114"/>
                  <a:gd name="T17" fmla="*/ 352 h 696"/>
                  <a:gd name="T18" fmla="*/ 366 w 3114"/>
                  <a:gd name="T19" fmla="*/ 353 h 696"/>
                  <a:gd name="T20" fmla="*/ 241 w 3114"/>
                  <a:gd name="T21" fmla="*/ 338 h 696"/>
                  <a:gd name="T22" fmla="*/ 108 w 3114"/>
                  <a:gd name="T23" fmla="*/ 261 h 696"/>
                  <a:gd name="T24" fmla="*/ 25 w 3114"/>
                  <a:gd name="T25" fmla="*/ 130 h 696"/>
                  <a:gd name="T26" fmla="*/ 0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0" y="6"/>
                    </a:moveTo>
                    <a:lnTo>
                      <a:pt x="2452" y="6"/>
                    </a:lnTo>
                    <a:cubicBezTo>
                      <a:pt x="2452" y="6"/>
                      <a:pt x="2580" y="0"/>
                      <a:pt x="2730" y="71"/>
                    </a:cubicBezTo>
                    <a:cubicBezTo>
                      <a:pt x="2879" y="141"/>
                      <a:pt x="2959" y="256"/>
                      <a:pt x="2999" y="323"/>
                    </a:cubicBezTo>
                    <a:cubicBezTo>
                      <a:pt x="3019" y="356"/>
                      <a:pt x="3050" y="404"/>
                      <a:pt x="3082" y="523"/>
                    </a:cubicBezTo>
                    <a:cubicBezTo>
                      <a:pt x="3114" y="642"/>
                      <a:pt x="3111" y="696"/>
                      <a:pt x="3111" y="696"/>
                    </a:cubicBezTo>
                    <a:cubicBezTo>
                      <a:pt x="3111" y="696"/>
                      <a:pt x="3010" y="545"/>
                      <a:pt x="2887" y="463"/>
                    </a:cubicBezTo>
                    <a:cubicBezTo>
                      <a:pt x="2737" y="366"/>
                      <a:pt x="2550" y="351"/>
                      <a:pt x="2325" y="353"/>
                    </a:cubicBezTo>
                    <a:cubicBezTo>
                      <a:pt x="2107" y="353"/>
                      <a:pt x="1588" y="352"/>
                      <a:pt x="1588" y="352"/>
                    </a:cubicBezTo>
                    <a:lnTo>
                      <a:pt x="366" y="353"/>
                    </a:lnTo>
                    <a:cubicBezTo>
                      <a:pt x="366" y="353"/>
                      <a:pt x="298" y="357"/>
                      <a:pt x="241" y="338"/>
                    </a:cubicBezTo>
                    <a:cubicBezTo>
                      <a:pt x="184" y="319"/>
                      <a:pt x="158" y="307"/>
                      <a:pt x="108" y="261"/>
                    </a:cubicBezTo>
                    <a:cubicBezTo>
                      <a:pt x="63" y="218"/>
                      <a:pt x="34" y="154"/>
                      <a:pt x="25" y="130"/>
                    </a:cubicBezTo>
                    <a:cubicBezTo>
                      <a:pt x="8" y="78"/>
                      <a:pt x="2" y="44"/>
                      <a:pt x="0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7">
                <a:extLst>
                  <a:ext uri="{FF2B5EF4-FFF2-40B4-BE49-F238E27FC236}">
                    <a16:creationId xmlns:a16="http://schemas.microsoft.com/office/drawing/2014/main" id="{9D72398E-DB67-4B38-948C-AD503D03E4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58150" y="555626"/>
                <a:ext cx="466725" cy="104775"/>
              </a:xfrm>
              <a:custGeom>
                <a:avLst/>
                <a:gdLst>
                  <a:gd name="T0" fmla="*/ 3114 w 3114"/>
                  <a:gd name="T1" fmla="*/ 6 h 696"/>
                  <a:gd name="T2" fmla="*/ 662 w 3114"/>
                  <a:gd name="T3" fmla="*/ 6 h 696"/>
                  <a:gd name="T4" fmla="*/ 384 w 3114"/>
                  <a:gd name="T5" fmla="*/ 71 h 696"/>
                  <a:gd name="T6" fmla="*/ 115 w 3114"/>
                  <a:gd name="T7" fmla="*/ 323 h 696"/>
                  <a:gd name="T8" fmla="*/ 32 w 3114"/>
                  <a:gd name="T9" fmla="*/ 523 h 696"/>
                  <a:gd name="T10" fmla="*/ 3 w 3114"/>
                  <a:gd name="T11" fmla="*/ 696 h 696"/>
                  <a:gd name="T12" fmla="*/ 227 w 3114"/>
                  <a:gd name="T13" fmla="*/ 463 h 696"/>
                  <a:gd name="T14" fmla="*/ 789 w 3114"/>
                  <a:gd name="T15" fmla="*/ 353 h 696"/>
                  <a:gd name="T16" fmla="*/ 1526 w 3114"/>
                  <a:gd name="T17" fmla="*/ 352 h 696"/>
                  <a:gd name="T18" fmla="*/ 2748 w 3114"/>
                  <a:gd name="T19" fmla="*/ 353 h 696"/>
                  <a:gd name="T20" fmla="*/ 2873 w 3114"/>
                  <a:gd name="T21" fmla="*/ 338 h 696"/>
                  <a:gd name="T22" fmla="*/ 3005 w 3114"/>
                  <a:gd name="T23" fmla="*/ 261 h 696"/>
                  <a:gd name="T24" fmla="*/ 3089 w 3114"/>
                  <a:gd name="T25" fmla="*/ 130 h 696"/>
                  <a:gd name="T26" fmla="*/ 3114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3114" y="6"/>
                    </a:moveTo>
                    <a:lnTo>
                      <a:pt x="662" y="6"/>
                    </a:lnTo>
                    <a:cubicBezTo>
                      <a:pt x="662" y="6"/>
                      <a:pt x="534" y="0"/>
                      <a:pt x="384" y="71"/>
                    </a:cubicBezTo>
                    <a:cubicBezTo>
                      <a:pt x="235" y="141"/>
                      <a:pt x="155" y="256"/>
                      <a:pt x="115" y="323"/>
                    </a:cubicBezTo>
                    <a:cubicBezTo>
                      <a:pt x="95" y="356"/>
                      <a:pt x="64" y="404"/>
                      <a:pt x="32" y="523"/>
                    </a:cubicBezTo>
                    <a:cubicBezTo>
                      <a:pt x="0" y="642"/>
                      <a:pt x="3" y="696"/>
                      <a:pt x="3" y="696"/>
                    </a:cubicBezTo>
                    <a:cubicBezTo>
                      <a:pt x="3" y="696"/>
                      <a:pt x="104" y="545"/>
                      <a:pt x="227" y="463"/>
                    </a:cubicBezTo>
                    <a:cubicBezTo>
                      <a:pt x="377" y="366"/>
                      <a:pt x="564" y="351"/>
                      <a:pt x="789" y="353"/>
                    </a:cubicBezTo>
                    <a:cubicBezTo>
                      <a:pt x="1007" y="353"/>
                      <a:pt x="1526" y="352"/>
                      <a:pt x="1526" y="352"/>
                    </a:cubicBezTo>
                    <a:lnTo>
                      <a:pt x="2748" y="353"/>
                    </a:lnTo>
                    <a:cubicBezTo>
                      <a:pt x="2748" y="353"/>
                      <a:pt x="2816" y="357"/>
                      <a:pt x="2873" y="338"/>
                    </a:cubicBezTo>
                    <a:cubicBezTo>
                      <a:pt x="2930" y="319"/>
                      <a:pt x="2956" y="307"/>
                      <a:pt x="3005" y="261"/>
                    </a:cubicBezTo>
                    <a:cubicBezTo>
                      <a:pt x="3051" y="218"/>
                      <a:pt x="3080" y="154"/>
                      <a:pt x="3089" y="130"/>
                    </a:cubicBezTo>
                    <a:cubicBezTo>
                      <a:pt x="3106" y="78"/>
                      <a:pt x="3112" y="44"/>
                      <a:pt x="3114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8">
                <a:extLst>
                  <a:ext uri="{FF2B5EF4-FFF2-40B4-BE49-F238E27FC236}">
                    <a16:creationId xmlns:a16="http://schemas.microsoft.com/office/drawing/2014/main" id="{1DC223C3-2886-49F2-8BC7-738FD83AD52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694613" y="388938"/>
                <a:ext cx="138113" cy="141288"/>
              </a:xfrm>
              <a:custGeom>
                <a:avLst/>
                <a:gdLst>
                  <a:gd name="T0" fmla="*/ 638 w 930"/>
                  <a:gd name="T1" fmla="*/ 381 h 937"/>
                  <a:gd name="T2" fmla="*/ 305 w 930"/>
                  <a:gd name="T3" fmla="*/ 381 h 937"/>
                  <a:gd name="T4" fmla="*/ 474 w 930"/>
                  <a:gd name="T5" fmla="*/ 182 h 937"/>
                  <a:gd name="T6" fmla="*/ 638 w 930"/>
                  <a:gd name="T7" fmla="*/ 381 h 937"/>
                  <a:gd name="T8" fmla="*/ 930 w 930"/>
                  <a:gd name="T9" fmla="*/ 513 h 937"/>
                  <a:gd name="T10" fmla="*/ 930 w 930"/>
                  <a:gd name="T11" fmla="*/ 513 h 937"/>
                  <a:gd name="T12" fmla="*/ 887 w 930"/>
                  <a:gd name="T13" fmla="*/ 227 h 937"/>
                  <a:gd name="T14" fmla="*/ 468 w 930"/>
                  <a:gd name="T15" fmla="*/ 0 h 937"/>
                  <a:gd name="T16" fmla="*/ 3 w 930"/>
                  <a:gd name="T17" fmla="*/ 482 h 937"/>
                  <a:gd name="T18" fmla="*/ 513 w 930"/>
                  <a:gd name="T19" fmla="*/ 922 h 937"/>
                  <a:gd name="T20" fmla="*/ 923 w 930"/>
                  <a:gd name="T21" fmla="*/ 780 h 937"/>
                  <a:gd name="T22" fmla="*/ 846 w 930"/>
                  <a:gd name="T23" fmla="*/ 650 h 937"/>
                  <a:gd name="T24" fmla="*/ 550 w 930"/>
                  <a:gd name="T25" fmla="*/ 746 h 937"/>
                  <a:gd name="T26" fmla="*/ 310 w 930"/>
                  <a:gd name="T27" fmla="*/ 513 h 937"/>
                  <a:gd name="T28" fmla="*/ 930 w 930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0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7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30" y="513"/>
                    </a:moveTo>
                    <a:lnTo>
                      <a:pt x="930" y="513"/>
                    </a:lnTo>
                    <a:cubicBezTo>
                      <a:pt x="930" y="401"/>
                      <a:pt x="925" y="300"/>
                      <a:pt x="887" y="227"/>
                    </a:cubicBezTo>
                    <a:cubicBezTo>
                      <a:pt x="827" y="105"/>
                      <a:pt x="712" y="0"/>
                      <a:pt x="468" y="0"/>
                    </a:cubicBezTo>
                    <a:cubicBezTo>
                      <a:pt x="133" y="0"/>
                      <a:pt x="5" y="178"/>
                      <a:pt x="3" y="482"/>
                    </a:cubicBezTo>
                    <a:cubicBezTo>
                      <a:pt x="0" y="752"/>
                      <a:pt x="188" y="937"/>
                      <a:pt x="513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2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30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31654498-46CB-44E2-9A8B-F7D6A0243D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45463" y="388938"/>
                <a:ext cx="139700" cy="141288"/>
              </a:xfrm>
              <a:custGeom>
                <a:avLst/>
                <a:gdLst>
                  <a:gd name="T0" fmla="*/ 638 w 929"/>
                  <a:gd name="T1" fmla="*/ 381 h 937"/>
                  <a:gd name="T2" fmla="*/ 305 w 929"/>
                  <a:gd name="T3" fmla="*/ 381 h 937"/>
                  <a:gd name="T4" fmla="*/ 474 w 929"/>
                  <a:gd name="T5" fmla="*/ 182 h 937"/>
                  <a:gd name="T6" fmla="*/ 638 w 929"/>
                  <a:gd name="T7" fmla="*/ 381 h 937"/>
                  <a:gd name="T8" fmla="*/ 929 w 929"/>
                  <a:gd name="T9" fmla="*/ 513 h 937"/>
                  <a:gd name="T10" fmla="*/ 929 w 929"/>
                  <a:gd name="T11" fmla="*/ 513 h 937"/>
                  <a:gd name="T12" fmla="*/ 886 w 929"/>
                  <a:gd name="T13" fmla="*/ 227 h 937"/>
                  <a:gd name="T14" fmla="*/ 468 w 929"/>
                  <a:gd name="T15" fmla="*/ 0 h 937"/>
                  <a:gd name="T16" fmla="*/ 2 w 929"/>
                  <a:gd name="T17" fmla="*/ 482 h 937"/>
                  <a:gd name="T18" fmla="*/ 512 w 929"/>
                  <a:gd name="T19" fmla="*/ 922 h 937"/>
                  <a:gd name="T20" fmla="*/ 923 w 929"/>
                  <a:gd name="T21" fmla="*/ 780 h 937"/>
                  <a:gd name="T22" fmla="*/ 846 w 929"/>
                  <a:gd name="T23" fmla="*/ 650 h 937"/>
                  <a:gd name="T24" fmla="*/ 550 w 929"/>
                  <a:gd name="T25" fmla="*/ 746 h 937"/>
                  <a:gd name="T26" fmla="*/ 310 w 929"/>
                  <a:gd name="T27" fmla="*/ 513 h 937"/>
                  <a:gd name="T28" fmla="*/ 929 w 929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29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6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29" y="513"/>
                    </a:moveTo>
                    <a:lnTo>
                      <a:pt x="929" y="513"/>
                    </a:lnTo>
                    <a:cubicBezTo>
                      <a:pt x="929" y="401"/>
                      <a:pt x="925" y="300"/>
                      <a:pt x="886" y="227"/>
                    </a:cubicBezTo>
                    <a:cubicBezTo>
                      <a:pt x="827" y="105"/>
                      <a:pt x="711" y="0"/>
                      <a:pt x="468" y="0"/>
                    </a:cubicBezTo>
                    <a:cubicBezTo>
                      <a:pt x="132" y="0"/>
                      <a:pt x="5" y="178"/>
                      <a:pt x="2" y="482"/>
                    </a:cubicBezTo>
                    <a:cubicBezTo>
                      <a:pt x="0" y="752"/>
                      <a:pt x="187" y="937"/>
                      <a:pt x="512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1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29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5342B276-E90D-4AF1-A602-E0C93076F6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338138"/>
                <a:ext cx="103188" cy="190500"/>
              </a:xfrm>
              <a:custGeom>
                <a:avLst/>
                <a:gdLst>
                  <a:gd name="T0" fmla="*/ 690 w 690"/>
                  <a:gd name="T1" fmla="*/ 343 h 1259"/>
                  <a:gd name="T2" fmla="*/ 690 w 690"/>
                  <a:gd name="T3" fmla="*/ 551 h 1259"/>
                  <a:gd name="T4" fmla="*/ 480 w 690"/>
                  <a:gd name="T5" fmla="*/ 551 h 1259"/>
                  <a:gd name="T6" fmla="*/ 480 w 690"/>
                  <a:gd name="T7" fmla="*/ 887 h 1259"/>
                  <a:gd name="T8" fmla="*/ 607 w 690"/>
                  <a:gd name="T9" fmla="*/ 1073 h 1259"/>
                  <a:gd name="T10" fmla="*/ 689 w 690"/>
                  <a:gd name="T11" fmla="*/ 1067 h 1259"/>
                  <a:gd name="T12" fmla="*/ 689 w 690"/>
                  <a:gd name="T13" fmla="*/ 1216 h 1259"/>
                  <a:gd name="T14" fmla="*/ 477 w 690"/>
                  <a:gd name="T15" fmla="*/ 1259 h 1259"/>
                  <a:gd name="T16" fmla="*/ 165 w 690"/>
                  <a:gd name="T17" fmla="*/ 1004 h 1259"/>
                  <a:gd name="T18" fmla="*/ 165 w 690"/>
                  <a:gd name="T19" fmla="*/ 551 h 1259"/>
                  <a:gd name="T20" fmla="*/ 0 w 690"/>
                  <a:gd name="T21" fmla="*/ 551 h 1259"/>
                  <a:gd name="T22" fmla="*/ 0 w 690"/>
                  <a:gd name="T23" fmla="*/ 343 h 1259"/>
                  <a:gd name="T24" fmla="*/ 170 w 690"/>
                  <a:gd name="T25" fmla="*/ 343 h 1259"/>
                  <a:gd name="T26" fmla="*/ 170 w 690"/>
                  <a:gd name="T27" fmla="*/ 134 h 1259"/>
                  <a:gd name="T28" fmla="*/ 484 w 690"/>
                  <a:gd name="T29" fmla="*/ 0 h 1259"/>
                  <a:gd name="T30" fmla="*/ 484 w 690"/>
                  <a:gd name="T31" fmla="*/ 343 h 1259"/>
                  <a:gd name="T32" fmla="*/ 690 w 690"/>
                  <a:gd name="T33" fmla="*/ 343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90" h="1259">
                    <a:moveTo>
                      <a:pt x="690" y="343"/>
                    </a:moveTo>
                    <a:lnTo>
                      <a:pt x="690" y="551"/>
                    </a:lnTo>
                    <a:lnTo>
                      <a:pt x="480" y="551"/>
                    </a:lnTo>
                    <a:lnTo>
                      <a:pt x="480" y="887"/>
                    </a:lnTo>
                    <a:cubicBezTo>
                      <a:pt x="482" y="995"/>
                      <a:pt x="482" y="1073"/>
                      <a:pt x="607" y="1073"/>
                    </a:cubicBezTo>
                    <a:cubicBezTo>
                      <a:pt x="633" y="1073"/>
                      <a:pt x="649" y="1073"/>
                      <a:pt x="689" y="1067"/>
                    </a:cubicBezTo>
                    <a:lnTo>
                      <a:pt x="689" y="1216"/>
                    </a:lnTo>
                    <a:cubicBezTo>
                      <a:pt x="647" y="1233"/>
                      <a:pt x="588" y="1259"/>
                      <a:pt x="477" y="1259"/>
                    </a:cubicBezTo>
                    <a:cubicBezTo>
                      <a:pt x="217" y="1259"/>
                      <a:pt x="165" y="1172"/>
                      <a:pt x="165" y="1004"/>
                    </a:cubicBezTo>
                    <a:lnTo>
                      <a:pt x="165" y="551"/>
                    </a:lnTo>
                    <a:lnTo>
                      <a:pt x="0" y="551"/>
                    </a:lnTo>
                    <a:lnTo>
                      <a:pt x="0" y="343"/>
                    </a:lnTo>
                    <a:lnTo>
                      <a:pt x="170" y="343"/>
                    </a:lnTo>
                    <a:lnTo>
                      <a:pt x="170" y="134"/>
                    </a:lnTo>
                    <a:lnTo>
                      <a:pt x="484" y="0"/>
                    </a:lnTo>
                    <a:lnTo>
                      <a:pt x="484" y="343"/>
                    </a:lnTo>
                    <a:lnTo>
                      <a:pt x="690" y="34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11">
                <a:extLst>
                  <a:ext uri="{FF2B5EF4-FFF2-40B4-BE49-F238E27FC236}">
                    <a16:creationId xmlns:a16="http://schemas.microsoft.com/office/drawing/2014/main" id="{7C33C85A-4624-4738-A5C5-BC64E1409D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1475" y="339726"/>
                <a:ext cx="138113" cy="188913"/>
              </a:xfrm>
              <a:custGeom>
                <a:avLst/>
                <a:gdLst>
                  <a:gd name="T0" fmla="*/ 0 w 919"/>
                  <a:gd name="T1" fmla="*/ 134 h 1253"/>
                  <a:gd name="T2" fmla="*/ 325 w 919"/>
                  <a:gd name="T3" fmla="*/ 0 h 1253"/>
                  <a:gd name="T4" fmla="*/ 325 w 919"/>
                  <a:gd name="T5" fmla="*/ 477 h 1253"/>
                  <a:gd name="T6" fmla="*/ 594 w 919"/>
                  <a:gd name="T7" fmla="*/ 363 h 1253"/>
                  <a:gd name="T8" fmla="*/ 833 w 919"/>
                  <a:gd name="T9" fmla="*/ 451 h 1253"/>
                  <a:gd name="T10" fmla="*/ 919 w 919"/>
                  <a:gd name="T11" fmla="*/ 746 h 1253"/>
                  <a:gd name="T12" fmla="*/ 919 w 919"/>
                  <a:gd name="T13" fmla="*/ 1253 h 1253"/>
                  <a:gd name="T14" fmla="*/ 599 w 919"/>
                  <a:gd name="T15" fmla="*/ 1253 h 1253"/>
                  <a:gd name="T16" fmla="*/ 599 w 919"/>
                  <a:gd name="T17" fmla="*/ 784 h 1253"/>
                  <a:gd name="T18" fmla="*/ 465 w 919"/>
                  <a:gd name="T19" fmla="*/ 569 h 1253"/>
                  <a:gd name="T20" fmla="*/ 330 w 919"/>
                  <a:gd name="T21" fmla="*/ 691 h 1253"/>
                  <a:gd name="T22" fmla="*/ 322 w 919"/>
                  <a:gd name="T23" fmla="*/ 859 h 1253"/>
                  <a:gd name="T24" fmla="*/ 322 w 919"/>
                  <a:gd name="T25" fmla="*/ 1253 h 1253"/>
                  <a:gd name="T26" fmla="*/ 0 w 919"/>
                  <a:gd name="T27" fmla="*/ 1253 h 1253"/>
                  <a:gd name="T28" fmla="*/ 0 w 919"/>
                  <a:gd name="T29" fmla="*/ 134 h 1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9" h="1253">
                    <a:moveTo>
                      <a:pt x="0" y="134"/>
                    </a:moveTo>
                    <a:lnTo>
                      <a:pt x="325" y="0"/>
                    </a:lnTo>
                    <a:lnTo>
                      <a:pt x="325" y="477"/>
                    </a:lnTo>
                    <a:cubicBezTo>
                      <a:pt x="359" y="442"/>
                      <a:pt x="438" y="363"/>
                      <a:pt x="594" y="363"/>
                    </a:cubicBezTo>
                    <a:cubicBezTo>
                      <a:pt x="677" y="363"/>
                      <a:pt x="763" y="385"/>
                      <a:pt x="833" y="451"/>
                    </a:cubicBezTo>
                    <a:cubicBezTo>
                      <a:pt x="919" y="529"/>
                      <a:pt x="919" y="625"/>
                      <a:pt x="919" y="746"/>
                    </a:cubicBezTo>
                    <a:lnTo>
                      <a:pt x="919" y="1253"/>
                    </a:lnTo>
                    <a:lnTo>
                      <a:pt x="599" y="1253"/>
                    </a:lnTo>
                    <a:lnTo>
                      <a:pt x="599" y="784"/>
                    </a:lnTo>
                    <a:cubicBezTo>
                      <a:pt x="599" y="711"/>
                      <a:pt x="599" y="569"/>
                      <a:pt x="465" y="569"/>
                    </a:cubicBezTo>
                    <a:cubicBezTo>
                      <a:pt x="363" y="569"/>
                      <a:pt x="339" y="656"/>
                      <a:pt x="330" y="691"/>
                    </a:cubicBezTo>
                    <a:cubicBezTo>
                      <a:pt x="322" y="730"/>
                      <a:pt x="322" y="786"/>
                      <a:pt x="322" y="859"/>
                    </a:cubicBezTo>
                    <a:lnTo>
                      <a:pt x="322" y="1253"/>
                    </a:lnTo>
                    <a:lnTo>
                      <a:pt x="0" y="1253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12">
                <a:extLst>
                  <a:ext uri="{FF2B5EF4-FFF2-40B4-BE49-F238E27FC236}">
                    <a16:creationId xmlns:a16="http://schemas.microsoft.com/office/drawing/2014/main" id="{CC3C29A8-0B8C-4AC4-89FF-819DD64EB4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04213" y="392113"/>
                <a:ext cx="220663" cy="136525"/>
              </a:xfrm>
              <a:custGeom>
                <a:avLst/>
                <a:gdLst>
                  <a:gd name="T0" fmla="*/ 0 w 1474"/>
                  <a:gd name="T1" fmla="*/ 0 h 904"/>
                  <a:gd name="T2" fmla="*/ 310 w 1474"/>
                  <a:gd name="T3" fmla="*/ 0 h 904"/>
                  <a:gd name="T4" fmla="*/ 310 w 1474"/>
                  <a:gd name="T5" fmla="*/ 177 h 904"/>
                  <a:gd name="T6" fmla="*/ 598 w 1474"/>
                  <a:gd name="T7" fmla="*/ 0 h 904"/>
                  <a:gd name="T8" fmla="*/ 863 w 1474"/>
                  <a:gd name="T9" fmla="*/ 173 h 904"/>
                  <a:gd name="T10" fmla="*/ 1165 w 1474"/>
                  <a:gd name="T11" fmla="*/ 0 h 904"/>
                  <a:gd name="T12" fmla="*/ 1428 w 1474"/>
                  <a:gd name="T13" fmla="*/ 145 h 904"/>
                  <a:gd name="T14" fmla="*/ 1474 w 1474"/>
                  <a:gd name="T15" fmla="*/ 427 h 904"/>
                  <a:gd name="T16" fmla="*/ 1474 w 1474"/>
                  <a:gd name="T17" fmla="*/ 904 h 904"/>
                  <a:gd name="T18" fmla="*/ 1157 w 1474"/>
                  <a:gd name="T19" fmla="*/ 904 h 904"/>
                  <a:gd name="T20" fmla="*/ 1155 w 1474"/>
                  <a:gd name="T21" fmla="*/ 411 h 904"/>
                  <a:gd name="T22" fmla="*/ 1030 w 1474"/>
                  <a:gd name="T23" fmla="*/ 218 h 904"/>
                  <a:gd name="T24" fmla="*/ 912 w 1474"/>
                  <a:gd name="T25" fmla="*/ 291 h 904"/>
                  <a:gd name="T26" fmla="*/ 894 w 1474"/>
                  <a:gd name="T27" fmla="*/ 414 h 904"/>
                  <a:gd name="T28" fmla="*/ 894 w 1474"/>
                  <a:gd name="T29" fmla="*/ 904 h 904"/>
                  <a:gd name="T30" fmla="*/ 578 w 1474"/>
                  <a:gd name="T31" fmla="*/ 904 h 904"/>
                  <a:gd name="T32" fmla="*/ 578 w 1474"/>
                  <a:gd name="T33" fmla="*/ 407 h 904"/>
                  <a:gd name="T34" fmla="*/ 452 w 1474"/>
                  <a:gd name="T35" fmla="*/ 218 h 904"/>
                  <a:gd name="T36" fmla="*/ 317 w 1474"/>
                  <a:gd name="T37" fmla="*/ 407 h 904"/>
                  <a:gd name="T38" fmla="*/ 317 w 1474"/>
                  <a:gd name="T39" fmla="*/ 904 h 904"/>
                  <a:gd name="T40" fmla="*/ 0 w 1474"/>
                  <a:gd name="T41" fmla="*/ 904 h 904"/>
                  <a:gd name="T42" fmla="*/ 0 w 1474"/>
                  <a:gd name="T43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74" h="904">
                    <a:moveTo>
                      <a:pt x="0" y="0"/>
                    </a:moveTo>
                    <a:lnTo>
                      <a:pt x="310" y="0"/>
                    </a:lnTo>
                    <a:lnTo>
                      <a:pt x="310" y="177"/>
                    </a:lnTo>
                    <a:cubicBezTo>
                      <a:pt x="371" y="64"/>
                      <a:pt x="470" y="0"/>
                      <a:pt x="598" y="0"/>
                    </a:cubicBezTo>
                    <a:cubicBezTo>
                      <a:pt x="647" y="0"/>
                      <a:pt x="808" y="21"/>
                      <a:pt x="863" y="173"/>
                    </a:cubicBezTo>
                    <a:cubicBezTo>
                      <a:pt x="943" y="38"/>
                      <a:pt x="1077" y="0"/>
                      <a:pt x="1165" y="0"/>
                    </a:cubicBezTo>
                    <a:cubicBezTo>
                      <a:pt x="1323" y="0"/>
                      <a:pt x="1396" y="95"/>
                      <a:pt x="1428" y="145"/>
                    </a:cubicBezTo>
                    <a:cubicBezTo>
                      <a:pt x="1474" y="220"/>
                      <a:pt x="1474" y="326"/>
                      <a:pt x="1474" y="427"/>
                    </a:cubicBezTo>
                    <a:lnTo>
                      <a:pt x="1474" y="904"/>
                    </a:lnTo>
                    <a:lnTo>
                      <a:pt x="1157" y="904"/>
                    </a:lnTo>
                    <a:lnTo>
                      <a:pt x="1155" y="411"/>
                    </a:lnTo>
                    <a:cubicBezTo>
                      <a:pt x="1155" y="322"/>
                      <a:pt x="1155" y="218"/>
                      <a:pt x="1030" y="218"/>
                    </a:cubicBezTo>
                    <a:cubicBezTo>
                      <a:pt x="988" y="218"/>
                      <a:pt x="941" y="234"/>
                      <a:pt x="912" y="291"/>
                    </a:cubicBezTo>
                    <a:cubicBezTo>
                      <a:pt x="902" y="312"/>
                      <a:pt x="894" y="340"/>
                      <a:pt x="894" y="414"/>
                    </a:cubicBezTo>
                    <a:lnTo>
                      <a:pt x="894" y="904"/>
                    </a:lnTo>
                    <a:lnTo>
                      <a:pt x="578" y="904"/>
                    </a:lnTo>
                    <a:lnTo>
                      <a:pt x="578" y="407"/>
                    </a:lnTo>
                    <a:cubicBezTo>
                      <a:pt x="578" y="329"/>
                      <a:pt x="578" y="218"/>
                      <a:pt x="452" y="218"/>
                    </a:cubicBezTo>
                    <a:cubicBezTo>
                      <a:pt x="344" y="218"/>
                      <a:pt x="317" y="310"/>
                      <a:pt x="317" y="407"/>
                    </a:cubicBezTo>
                    <a:lnTo>
                      <a:pt x="317" y="904"/>
                    </a:lnTo>
                    <a:lnTo>
                      <a:pt x="0" y="904"/>
                    </a:lnTo>
                    <a:cubicBezTo>
                      <a:pt x="0" y="904"/>
                      <a:pt x="0" y="26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13">
                <a:extLst>
                  <a:ext uri="{FF2B5EF4-FFF2-40B4-BE49-F238E27FC236}">
                    <a16:creationId xmlns:a16="http://schemas.microsoft.com/office/drawing/2014/main" id="{7EC000C3-DB88-4D91-9CDD-F5A79537F6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48600" y="388938"/>
                <a:ext cx="128588" cy="139700"/>
              </a:xfrm>
              <a:custGeom>
                <a:avLst/>
                <a:gdLst>
                  <a:gd name="T0" fmla="*/ 588 w 857"/>
                  <a:gd name="T1" fmla="*/ 744 h 926"/>
                  <a:gd name="T2" fmla="*/ 321 w 857"/>
                  <a:gd name="T3" fmla="*/ 467 h 926"/>
                  <a:gd name="T4" fmla="*/ 576 w 857"/>
                  <a:gd name="T5" fmla="*/ 180 h 926"/>
                  <a:gd name="T6" fmla="*/ 786 w 857"/>
                  <a:gd name="T7" fmla="*/ 244 h 926"/>
                  <a:gd name="T8" fmla="*/ 857 w 857"/>
                  <a:gd name="T9" fmla="*/ 121 h 926"/>
                  <a:gd name="T10" fmla="*/ 472 w 857"/>
                  <a:gd name="T11" fmla="*/ 0 h 926"/>
                  <a:gd name="T12" fmla="*/ 0 w 857"/>
                  <a:gd name="T13" fmla="*/ 477 h 926"/>
                  <a:gd name="T14" fmla="*/ 472 w 857"/>
                  <a:gd name="T15" fmla="*/ 926 h 926"/>
                  <a:gd name="T16" fmla="*/ 857 w 857"/>
                  <a:gd name="T17" fmla="*/ 805 h 926"/>
                  <a:gd name="T18" fmla="*/ 786 w 857"/>
                  <a:gd name="T19" fmla="*/ 681 h 926"/>
                  <a:gd name="T20" fmla="*/ 588 w 857"/>
                  <a:gd name="T21" fmla="*/ 744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7" h="926">
                    <a:moveTo>
                      <a:pt x="588" y="744"/>
                    </a:moveTo>
                    <a:cubicBezTo>
                      <a:pt x="505" y="744"/>
                      <a:pt x="321" y="687"/>
                      <a:pt x="321" y="467"/>
                    </a:cubicBezTo>
                    <a:cubicBezTo>
                      <a:pt x="321" y="254"/>
                      <a:pt x="493" y="187"/>
                      <a:pt x="576" y="180"/>
                    </a:cubicBezTo>
                    <a:cubicBezTo>
                      <a:pt x="659" y="174"/>
                      <a:pt x="702" y="187"/>
                      <a:pt x="786" y="244"/>
                    </a:cubicBezTo>
                    <a:lnTo>
                      <a:pt x="857" y="121"/>
                    </a:lnTo>
                    <a:cubicBezTo>
                      <a:pt x="794" y="77"/>
                      <a:pt x="701" y="0"/>
                      <a:pt x="472" y="0"/>
                    </a:cubicBezTo>
                    <a:cubicBezTo>
                      <a:pt x="187" y="0"/>
                      <a:pt x="0" y="195"/>
                      <a:pt x="0" y="477"/>
                    </a:cubicBezTo>
                    <a:cubicBezTo>
                      <a:pt x="0" y="717"/>
                      <a:pt x="187" y="926"/>
                      <a:pt x="472" y="926"/>
                    </a:cubicBezTo>
                    <a:cubicBezTo>
                      <a:pt x="701" y="926"/>
                      <a:pt x="794" y="849"/>
                      <a:pt x="857" y="805"/>
                    </a:cubicBezTo>
                    <a:lnTo>
                      <a:pt x="786" y="681"/>
                    </a:lnTo>
                    <a:cubicBezTo>
                      <a:pt x="694" y="738"/>
                      <a:pt x="672" y="744"/>
                      <a:pt x="588" y="7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3704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C9B48990-F39F-4CBF-8334-E1ABE7F1736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" t="409" r="8278" b="8306"/>
          <a:stretch/>
        </p:blipFill>
        <p:spPr bwMode="gray">
          <a:xfrm rot="10800000">
            <a:off x="0" y="-5"/>
            <a:ext cx="9144000" cy="51434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58AB28F-4C2A-458F-AC5F-0376C4705023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1"/>
          <a:stretch/>
        </p:blipFill>
        <p:spPr bwMode="gray">
          <a:xfrm>
            <a:off x="0" y="625004"/>
            <a:ext cx="9144000" cy="451849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3F3E807-808D-46FF-8AA0-B8455D47938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1"/>
            <a:ext cx="9144000" cy="5143500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950142"/>
            <a:ext cx="4860000" cy="720000"/>
          </a:xfrm>
          <a:prstGeom prst="rect">
            <a:avLst/>
          </a:prstGeom>
        </p:spPr>
        <p:txBody>
          <a:bodyPr tIns="0" rIns="0" bIns="0"/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34" name="Fußzeilenplatzhalter 1">
            <a:extLst>
              <a:ext uri="{FF2B5EF4-FFF2-40B4-BE49-F238E27FC236}">
                <a16:creationId xmlns:a16="http://schemas.microsoft.com/office/drawing/2014/main" id="{AE9D3F6A-A2F5-4C67-8CE5-6229ECFA6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35" name="Foliennummernplatzhalter 4">
            <a:extLst>
              <a:ext uri="{FF2B5EF4-FFF2-40B4-BE49-F238E27FC236}">
                <a16:creationId xmlns:a16="http://schemas.microsoft.com/office/drawing/2014/main" id="{16141C68-2CEA-4E97-AC2F-CEBAD6CD2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Inhaltsplatzhalter 3">
            <a:extLst>
              <a:ext uri="{FF2B5EF4-FFF2-40B4-BE49-F238E27FC236}">
                <a16:creationId xmlns:a16="http://schemas.microsoft.com/office/drawing/2014/main" id="{0971EF09-6817-47F8-B780-C829328FA83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2" y="1885950"/>
            <a:ext cx="4860000" cy="2808000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39" name="Bildplatzhalter 3">
            <a:extLst>
              <a:ext uri="{FF2B5EF4-FFF2-40B4-BE49-F238E27FC236}">
                <a16:creationId xmlns:a16="http://schemas.microsoft.com/office/drawing/2014/main" id="{FA7857C3-A93D-4771-B4E8-8DCDAA06A09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5605808" y="1633950"/>
            <a:ext cx="3060000" cy="30600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F7188AEE-DC7D-4245-8028-B8918FFE8A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118805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38" name="Rechteck 12">
            <a:extLst>
              <a:ext uri="{FF2B5EF4-FFF2-40B4-BE49-F238E27FC236}">
                <a16:creationId xmlns:a16="http://schemas.microsoft.com/office/drawing/2014/main" id="{67059DEE-29CE-4BEC-A064-5506C503D14D}"/>
              </a:ext>
            </a:extLst>
          </p:cNvPr>
          <p:cNvSpPr/>
          <p:nvPr userDrawn="1"/>
        </p:nvSpPr>
        <p:spPr bwMode="gray">
          <a:xfrm>
            <a:off x="0" y="413263"/>
            <a:ext cx="9144000" cy="360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CC3AC9-8670-4DC9-808D-30066533DF6D}"/>
              </a:ext>
            </a:extLst>
          </p:cNvPr>
          <p:cNvGrpSpPr/>
          <p:nvPr userDrawn="1"/>
        </p:nvGrpSpPr>
        <p:grpSpPr>
          <a:xfrm>
            <a:off x="7900818" y="169186"/>
            <a:ext cx="881232" cy="410650"/>
            <a:chOff x="7900818" y="169186"/>
            <a:chExt cx="881232" cy="410650"/>
          </a:xfrm>
        </p:grpSpPr>
        <p:sp>
          <p:nvSpPr>
            <p:cNvPr id="42" name="Rectangle 5">
              <a:extLst>
                <a:ext uri="{FF2B5EF4-FFF2-40B4-BE49-F238E27FC236}">
                  <a16:creationId xmlns:a16="http://schemas.microsoft.com/office/drawing/2014/main" id="{B727B409-960B-42F0-8A2D-A9643671F0FC}"/>
                </a:ext>
              </a:extLst>
            </p:cNvPr>
            <p:cNvSpPr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7900818" y="169186"/>
              <a:ext cx="881232" cy="410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4526C62B-5A78-4A60-8FCA-2FD78A3A01A6}"/>
                </a:ext>
              </a:extLst>
            </p:cNvPr>
            <p:cNvGrpSpPr/>
            <p:nvPr userDrawn="1">
              <p:custDataLst>
                <p:tags r:id="rId5"/>
              </p:custDataLst>
            </p:nvPr>
          </p:nvGrpSpPr>
          <p:grpSpPr>
            <a:xfrm>
              <a:off x="8003295" y="259145"/>
              <a:ext cx="676276" cy="230730"/>
              <a:chOff x="7580313" y="338138"/>
              <a:chExt cx="944563" cy="322263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EFD29B45-E2A2-4D00-AF05-E993076440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555626"/>
                <a:ext cx="466725" cy="104775"/>
              </a:xfrm>
              <a:custGeom>
                <a:avLst/>
                <a:gdLst>
                  <a:gd name="T0" fmla="*/ 0 w 3114"/>
                  <a:gd name="T1" fmla="*/ 6 h 696"/>
                  <a:gd name="T2" fmla="*/ 2452 w 3114"/>
                  <a:gd name="T3" fmla="*/ 6 h 696"/>
                  <a:gd name="T4" fmla="*/ 2730 w 3114"/>
                  <a:gd name="T5" fmla="*/ 71 h 696"/>
                  <a:gd name="T6" fmla="*/ 2999 w 3114"/>
                  <a:gd name="T7" fmla="*/ 323 h 696"/>
                  <a:gd name="T8" fmla="*/ 3082 w 3114"/>
                  <a:gd name="T9" fmla="*/ 523 h 696"/>
                  <a:gd name="T10" fmla="*/ 3111 w 3114"/>
                  <a:gd name="T11" fmla="*/ 696 h 696"/>
                  <a:gd name="T12" fmla="*/ 2887 w 3114"/>
                  <a:gd name="T13" fmla="*/ 463 h 696"/>
                  <a:gd name="T14" fmla="*/ 2325 w 3114"/>
                  <a:gd name="T15" fmla="*/ 353 h 696"/>
                  <a:gd name="T16" fmla="*/ 1588 w 3114"/>
                  <a:gd name="T17" fmla="*/ 352 h 696"/>
                  <a:gd name="T18" fmla="*/ 366 w 3114"/>
                  <a:gd name="T19" fmla="*/ 353 h 696"/>
                  <a:gd name="T20" fmla="*/ 241 w 3114"/>
                  <a:gd name="T21" fmla="*/ 338 h 696"/>
                  <a:gd name="T22" fmla="*/ 108 w 3114"/>
                  <a:gd name="T23" fmla="*/ 261 h 696"/>
                  <a:gd name="T24" fmla="*/ 25 w 3114"/>
                  <a:gd name="T25" fmla="*/ 130 h 696"/>
                  <a:gd name="T26" fmla="*/ 0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0" y="6"/>
                    </a:moveTo>
                    <a:lnTo>
                      <a:pt x="2452" y="6"/>
                    </a:lnTo>
                    <a:cubicBezTo>
                      <a:pt x="2452" y="6"/>
                      <a:pt x="2580" y="0"/>
                      <a:pt x="2730" y="71"/>
                    </a:cubicBezTo>
                    <a:cubicBezTo>
                      <a:pt x="2879" y="141"/>
                      <a:pt x="2959" y="256"/>
                      <a:pt x="2999" y="323"/>
                    </a:cubicBezTo>
                    <a:cubicBezTo>
                      <a:pt x="3019" y="356"/>
                      <a:pt x="3050" y="404"/>
                      <a:pt x="3082" y="523"/>
                    </a:cubicBezTo>
                    <a:cubicBezTo>
                      <a:pt x="3114" y="642"/>
                      <a:pt x="3111" y="696"/>
                      <a:pt x="3111" y="696"/>
                    </a:cubicBezTo>
                    <a:cubicBezTo>
                      <a:pt x="3111" y="696"/>
                      <a:pt x="3010" y="545"/>
                      <a:pt x="2887" y="463"/>
                    </a:cubicBezTo>
                    <a:cubicBezTo>
                      <a:pt x="2737" y="366"/>
                      <a:pt x="2550" y="351"/>
                      <a:pt x="2325" y="353"/>
                    </a:cubicBezTo>
                    <a:cubicBezTo>
                      <a:pt x="2107" y="353"/>
                      <a:pt x="1588" y="352"/>
                      <a:pt x="1588" y="352"/>
                    </a:cubicBezTo>
                    <a:lnTo>
                      <a:pt x="366" y="353"/>
                    </a:lnTo>
                    <a:cubicBezTo>
                      <a:pt x="366" y="353"/>
                      <a:pt x="298" y="357"/>
                      <a:pt x="241" y="338"/>
                    </a:cubicBezTo>
                    <a:cubicBezTo>
                      <a:pt x="184" y="319"/>
                      <a:pt x="158" y="307"/>
                      <a:pt x="108" y="261"/>
                    </a:cubicBezTo>
                    <a:cubicBezTo>
                      <a:pt x="63" y="218"/>
                      <a:pt x="34" y="154"/>
                      <a:pt x="25" y="130"/>
                    </a:cubicBezTo>
                    <a:cubicBezTo>
                      <a:pt x="8" y="78"/>
                      <a:pt x="2" y="44"/>
                      <a:pt x="0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7">
                <a:extLst>
                  <a:ext uri="{FF2B5EF4-FFF2-40B4-BE49-F238E27FC236}">
                    <a16:creationId xmlns:a16="http://schemas.microsoft.com/office/drawing/2014/main" id="{2818D50B-020F-433E-A98D-1C7764449A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58150" y="555626"/>
                <a:ext cx="466725" cy="104775"/>
              </a:xfrm>
              <a:custGeom>
                <a:avLst/>
                <a:gdLst>
                  <a:gd name="T0" fmla="*/ 3114 w 3114"/>
                  <a:gd name="T1" fmla="*/ 6 h 696"/>
                  <a:gd name="T2" fmla="*/ 662 w 3114"/>
                  <a:gd name="T3" fmla="*/ 6 h 696"/>
                  <a:gd name="T4" fmla="*/ 384 w 3114"/>
                  <a:gd name="T5" fmla="*/ 71 h 696"/>
                  <a:gd name="T6" fmla="*/ 115 w 3114"/>
                  <a:gd name="T7" fmla="*/ 323 h 696"/>
                  <a:gd name="T8" fmla="*/ 32 w 3114"/>
                  <a:gd name="T9" fmla="*/ 523 h 696"/>
                  <a:gd name="T10" fmla="*/ 3 w 3114"/>
                  <a:gd name="T11" fmla="*/ 696 h 696"/>
                  <a:gd name="T12" fmla="*/ 227 w 3114"/>
                  <a:gd name="T13" fmla="*/ 463 h 696"/>
                  <a:gd name="T14" fmla="*/ 789 w 3114"/>
                  <a:gd name="T15" fmla="*/ 353 h 696"/>
                  <a:gd name="T16" fmla="*/ 1526 w 3114"/>
                  <a:gd name="T17" fmla="*/ 352 h 696"/>
                  <a:gd name="T18" fmla="*/ 2748 w 3114"/>
                  <a:gd name="T19" fmla="*/ 353 h 696"/>
                  <a:gd name="T20" fmla="*/ 2873 w 3114"/>
                  <a:gd name="T21" fmla="*/ 338 h 696"/>
                  <a:gd name="T22" fmla="*/ 3005 w 3114"/>
                  <a:gd name="T23" fmla="*/ 261 h 696"/>
                  <a:gd name="T24" fmla="*/ 3089 w 3114"/>
                  <a:gd name="T25" fmla="*/ 130 h 696"/>
                  <a:gd name="T26" fmla="*/ 3114 w 3114"/>
                  <a:gd name="T27" fmla="*/ 6 h 6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14" h="696">
                    <a:moveTo>
                      <a:pt x="3114" y="6"/>
                    </a:moveTo>
                    <a:lnTo>
                      <a:pt x="662" y="6"/>
                    </a:lnTo>
                    <a:cubicBezTo>
                      <a:pt x="662" y="6"/>
                      <a:pt x="534" y="0"/>
                      <a:pt x="384" y="71"/>
                    </a:cubicBezTo>
                    <a:cubicBezTo>
                      <a:pt x="235" y="141"/>
                      <a:pt x="155" y="256"/>
                      <a:pt x="115" y="323"/>
                    </a:cubicBezTo>
                    <a:cubicBezTo>
                      <a:pt x="95" y="356"/>
                      <a:pt x="64" y="404"/>
                      <a:pt x="32" y="523"/>
                    </a:cubicBezTo>
                    <a:cubicBezTo>
                      <a:pt x="0" y="642"/>
                      <a:pt x="3" y="696"/>
                      <a:pt x="3" y="696"/>
                    </a:cubicBezTo>
                    <a:cubicBezTo>
                      <a:pt x="3" y="696"/>
                      <a:pt x="104" y="545"/>
                      <a:pt x="227" y="463"/>
                    </a:cubicBezTo>
                    <a:cubicBezTo>
                      <a:pt x="377" y="366"/>
                      <a:pt x="564" y="351"/>
                      <a:pt x="789" y="353"/>
                    </a:cubicBezTo>
                    <a:cubicBezTo>
                      <a:pt x="1007" y="353"/>
                      <a:pt x="1526" y="352"/>
                      <a:pt x="1526" y="352"/>
                    </a:cubicBezTo>
                    <a:lnTo>
                      <a:pt x="2748" y="353"/>
                    </a:lnTo>
                    <a:cubicBezTo>
                      <a:pt x="2748" y="353"/>
                      <a:pt x="2816" y="357"/>
                      <a:pt x="2873" y="338"/>
                    </a:cubicBezTo>
                    <a:cubicBezTo>
                      <a:pt x="2930" y="319"/>
                      <a:pt x="2956" y="307"/>
                      <a:pt x="3005" y="261"/>
                    </a:cubicBezTo>
                    <a:cubicBezTo>
                      <a:pt x="3051" y="218"/>
                      <a:pt x="3080" y="154"/>
                      <a:pt x="3089" y="130"/>
                    </a:cubicBezTo>
                    <a:cubicBezTo>
                      <a:pt x="3106" y="78"/>
                      <a:pt x="3112" y="44"/>
                      <a:pt x="3114" y="6"/>
                    </a:cubicBezTo>
                    <a:close/>
                  </a:path>
                </a:pathLst>
              </a:custGeom>
              <a:solidFill>
                <a:srgbClr val="E205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8">
                <a:extLst>
                  <a:ext uri="{FF2B5EF4-FFF2-40B4-BE49-F238E27FC236}">
                    <a16:creationId xmlns:a16="http://schemas.microsoft.com/office/drawing/2014/main" id="{7A689F0D-2726-421E-957B-1C6CC1F1999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7694613" y="388938"/>
                <a:ext cx="138113" cy="141288"/>
              </a:xfrm>
              <a:custGeom>
                <a:avLst/>
                <a:gdLst>
                  <a:gd name="T0" fmla="*/ 638 w 930"/>
                  <a:gd name="T1" fmla="*/ 381 h 937"/>
                  <a:gd name="T2" fmla="*/ 305 w 930"/>
                  <a:gd name="T3" fmla="*/ 381 h 937"/>
                  <a:gd name="T4" fmla="*/ 474 w 930"/>
                  <a:gd name="T5" fmla="*/ 182 h 937"/>
                  <a:gd name="T6" fmla="*/ 638 w 930"/>
                  <a:gd name="T7" fmla="*/ 381 h 937"/>
                  <a:gd name="T8" fmla="*/ 930 w 930"/>
                  <a:gd name="T9" fmla="*/ 513 h 937"/>
                  <a:gd name="T10" fmla="*/ 930 w 930"/>
                  <a:gd name="T11" fmla="*/ 513 h 937"/>
                  <a:gd name="T12" fmla="*/ 887 w 930"/>
                  <a:gd name="T13" fmla="*/ 227 h 937"/>
                  <a:gd name="T14" fmla="*/ 468 w 930"/>
                  <a:gd name="T15" fmla="*/ 0 h 937"/>
                  <a:gd name="T16" fmla="*/ 3 w 930"/>
                  <a:gd name="T17" fmla="*/ 482 h 937"/>
                  <a:gd name="T18" fmla="*/ 513 w 930"/>
                  <a:gd name="T19" fmla="*/ 922 h 937"/>
                  <a:gd name="T20" fmla="*/ 923 w 930"/>
                  <a:gd name="T21" fmla="*/ 780 h 937"/>
                  <a:gd name="T22" fmla="*/ 846 w 930"/>
                  <a:gd name="T23" fmla="*/ 650 h 937"/>
                  <a:gd name="T24" fmla="*/ 550 w 930"/>
                  <a:gd name="T25" fmla="*/ 746 h 937"/>
                  <a:gd name="T26" fmla="*/ 310 w 930"/>
                  <a:gd name="T27" fmla="*/ 513 h 937"/>
                  <a:gd name="T28" fmla="*/ 930 w 930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0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7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30" y="513"/>
                    </a:moveTo>
                    <a:lnTo>
                      <a:pt x="930" y="513"/>
                    </a:lnTo>
                    <a:cubicBezTo>
                      <a:pt x="930" y="401"/>
                      <a:pt x="925" y="300"/>
                      <a:pt x="887" y="227"/>
                    </a:cubicBezTo>
                    <a:cubicBezTo>
                      <a:pt x="827" y="105"/>
                      <a:pt x="712" y="0"/>
                      <a:pt x="468" y="0"/>
                    </a:cubicBezTo>
                    <a:cubicBezTo>
                      <a:pt x="133" y="0"/>
                      <a:pt x="5" y="178"/>
                      <a:pt x="3" y="482"/>
                    </a:cubicBezTo>
                    <a:cubicBezTo>
                      <a:pt x="0" y="752"/>
                      <a:pt x="188" y="937"/>
                      <a:pt x="513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2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30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9">
                <a:extLst>
                  <a:ext uri="{FF2B5EF4-FFF2-40B4-BE49-F238E27FC236}">
                    <a16:creationId xmlns:a16="http://schemas.microsoft.com/office/drawing/2014/main" id="{FF128958-64F1-4FD6-AC0E-90C44121E12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8145463" y="388938"/>
                <a:ext cx="139700" cy="141288"/>
              </a:xfrm>
              <a:custGeom>
                <a:avLst/>
                <a:gdLst>
                  <a:gd name="T0" fmla="*/ 638 w 929"/>
                  <a:gd name="T1" fmla="*/ 381 h 937"/>
                  <a:gd name="T2" fmla="*/ 305 w 929"/>
                  <a:gd name="T3" fmla="*/ 381 h 937"/>
                  <a:gd name="T4" fmla="*/ 474 w 929"/>
                  <a:gd name="T5" fmla="*/ 182 h 937"/>
                  <a:gd name="T6" fmla="*/ 638 w 929"/>
                  <a:gd name="T7" fmla="*/ 381 h 937"/>
                  <a:gd name="T8" fmla="*/ 929 w 929"/>
                  <a:gd name="T9" fmla="*/ 513 h 937"/>
                  <a:gd name="T10" fmla="*/ 929 w 929"/>
                  <a:gd name="T11" fmla="*/ 513 h 937"/>
                  <a:gd name="T12" fmla="*/ 886 w 929"/>
                  <a:gd name="T13" fmla="*/ 227 h 937"/>
                  <a:gd name="T14" fmla="*/ 468 w 929"/>
                  <a:gd name="T15" fmla="*/ 0 h 937"/>
                  <a:gd name="T16" fmla="*/ 2 w 929"/>
                  <a:gd name="T17" fmla="*/ 482 h 937"/>
                  <a:gd name="T18" fmla="*/ 512 w 929"/>
                  <a:gd name="T19" fmla="*/ 922 h 937"/>
                  <a:gd name="T20" fmla="*/ 923 w 929"/>
                  <a:gd name="T21" fmla="*/ 780 h 937"/>
                  <a:gd name="T22" fmla="*/ 846 w 929"/>
                  <a:gd name="T23" fmla="*/ 650 h 937"/>
                  <a:gd name="T24" fmla="*/ 550 w 929"/>
                  <a:gd name="T25" fmla="*/ 746 h 937"/>
                  <a:gd name="T26" fmla="*/ 310 w 929"/>
                  <a:gd name="T27" fmla="*/ 513 h 937"/>
                  <a:gd name="T28" fmla="*/ 929 w 929"/>
                  <a:gd name="T29" fmla="*/ 513 h 9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29" h="937">
                    <a:moveTo>
                      <a:pt x="638" y="381"/>
                    </a:moveTo>
                    <a:lnTo>
                      <a:pt x="305" y="381"/>
                    </a:lnTo>
                    <a:cubicBezTo>
                      <a:pt x="309" y="339"/>
                      <a:pt x="306" y="182"/>
                      <a:pt x="474" y="182"/>
                    </a:cubicBezTo>
                    <a:cubicBezTo>
                      <a:pt x="653" y="182"/>
                      <a:pt x="634" y="330"/>
                      <a:pt x="638" y="381"/>
                    </a:cubicBezTo>
                    <a:close/>
                    <a:moveTo>
                      <a:pt x="929" y="513"/>
                    </a:moveTo>
                    <a:lnTo>
                      <a:pt x="929" y="513"/>
                    </a:lnTo>
                    <a:cubicBezTo>
                      <a:pt x="929" y="401"/>
                      <a:pt x="925" y="300"/>
                      <a:pt x="886" y="227"/>
                    </a:cubicBezTo>
                    <a:cubicBezTo>
                      <a:pt x="827" y="105"/>
                      <a:pt x="711" y="0"/>
                      <a:pt x="468" y="0"/>
                    </a:cubicBezTo>
                    <a:cubicBezTo>
                      <a:pt x="132" y="0"/>
                      <a:pt x="5" y="178"/>
                      <a:pt x="2" y="482"/>
                    </a:cubicBezTo>
                    <a:cubicBezTo>
                      <a:pt x="0" y="752"/>
                      <a:pt x="187" y="937"/>
                      <a:pt x="512" y="922"/>
                    </a:cubicBezTo>
                    <a:cubicBezTo>
                      <a:pt x="659" y="915"/>
                      <a:pt x="764" y="886"/>
                      <a:pt x="923" y="780"/>
                    </a:cubicBezTo>
                    <a:lnTo>
                      <a:pt x="846" y="650"/>
                    </a:lnTo>
                    <a:cubicBezTo>
                      <a:pt x="779" y="699"/>
                      <a:pt x="691" y="754"/>
                      <a:pt x="550" y="746"/>
                    </a:cubicBezTo>
                    <a:cubicBezTo>
                      <a:pt x="316" y="733"/>
                      <a:pt x="311" y="570"/>
                      <a:pt x="310" y="513"/>
                    </a:cubicBezTo>
                    <a:lnTo>
                      <a:pt x="929" y="5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0212D71A-DC5E-4E5A-BAD7-007A391C0C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0313" y="338138"/>
                <a:ext cx="103188" cy="190500"/>
              </a:xfrm>
              <a:custGeom>
                <a:avLst/>
                <a:gdLst>
                  <a:gd name="T0" fmla="*/ 690 w 690"/>
                  <a:gd name="T1" fmla="*/ 343 h 1259"/>
                  <a:gd name="T2" fmla="*/ 690 w 690"/>
                  <a:gd name="T3" fmla="*/ 551 h 1259"/>
                  <a:gd name="T4" fmla="*/ 480 w 690"/>
                  <a:gd name="T5" fmla="*/ 551 h 1259"/>
                  <a:gd name="T6" fmla="*/ 480 w 690"/>
                  <a:gd name="T7" fmla="*/ 887 h 1259"/>
                  <a:gd name="T8" fmla="*/ 607 w 690"/>
                  <a:gd name="T9" fmla="*/ 1073 h 1259"/>
                  <a:gd name="T10" fmla="*/ 689 w 690"/>
                  <a:gd name="T11" fmla="*/ 1067 h 1259"/>
                  <a:gd name="T12" fmla="*/ 689 w 690"/>
                  <a:gd name="T13" fmla="*/ 1216 h 1259"/>
                  <a:gd name="T14" fmla="*/ 477 w 690"/>
                  <a:gd name="T15" fmla="*/ 1259 h 1259"/>
                  <a:gd name="T16" fmla="*/ 165 w 690"/>
                  <a:gd name="T17" fmla="*/ 1004 h 1259"/>
                  <a:gd name="T18" fmla="*/ 165 w 690"/>
                  <a:gd name="T19" fmla="*/ 551 h 1259"/>
                  <a:gd name="T20" fmla="*/ 0 w 690"/>
                  <a:gd name="T21" fmla="*/ 551 h 1259"/>
                  <a:gd name="T22" fmla="*/ 0 w 690"/>
                  <a:gd name="T23" fmla="*/ 343 h 1259"/>
                  <a:gd name="T24" fmla="*/ 170 w 690"/>
                  <a:gd name="T25" fmla="*/ 343 h 1259"/>
                  <a:gd name="T26" fmla="*/ 170 w 690"/>
                  <a:gd name="T27" fmla="*/ 134 h 1259"/>
                  <a:gd name="T28" fmla="*/ 484 w 690"/>
                  <a:gd name="T29" fmla="*/ 0 h 1259"/>
                  <a:gd name="T30" fmla="*/ 484 w 690"/>
                  <a:gd name="T31" fmla="*/ 343 h 1259"/>
                  <a:gd name="T32" fmla="*/ 690 w 690"/>
                  <a:gd name="T33" fmla="*/ 343 h 1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90" h="1259">
                    <a:moveTo>
                      <a:pt x="690" y="343"/>
                    </a:moveTo>
                    <a:lnTo>
                      <a:pt x="690" y="551"/>
                    </a:lnTo>
                    <a:lnTo>
                      <a:pt x="480" y="551"/>
                    </a:lnTo>
                    <a:lnTo>
                      <a:pt x="480" y="887"/>
                    </a:lnTo>
                    <a:cubicBezTo>
                      <a:pt x="482" y="995"/>
                      <a:pt x="482" y="1073"/>
                      <a:pt x="607" y="1073"/>
                    </a:cubicBezTo>
                    <a:cubicBezTo>
                      <a:pt x="633" y="1073"/>
                      <a:pt x="649" y="1073"/>
                      <a:pt x="689" y="1067"/>
                    </a:cubicBezTo>
                    <a:lnTo>
                      <a:pt x="689" y="1216"/>
                    </a:lnTo>
                    <a:cubicBezTo>
                      <a:pt x="647" y="1233"/>
                      <a:pt x="588" y="1259"/>
                      <a:pt x="477" y="1259"/>
                    </a:cubicBezTo>
                    <a:cubicBezTo>
                      <a:pt x="217" y="1259"/>
                      <a:pt x="165" y="1172"/>
                      <a:pt x="165" y="1004"/>
                    </a:cubicBezTo>
                    <a:lnTo>
                      <a:pt x="165" y="551"/>
                    </a:lnTo>
                    <a:lnTo>
                      <a:pt x="0" y="551"/>
                    </a:lnTo>
                    <a:lnTo>
                      <a:pt x="0" y="343"/>
                    </a:lnTo>
                    <a:lnTo>
                      <a:pt x="170" y="343"/>
                    </a:lnTo>
                    <a:lnTo>
                      <a:pt x="170" y="134"/>
                    </a:lnTo>
                    <a:lnTo>
                      <a:pt x="484" y="0"/>
                    </a:lnTo>
                    <a:lnTo>
                      <a:pt x="484" y="343"/>
                    </a:lnTo>
                    <a:lnTo>
                      <a:pt x="690" y="34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11">
                <a:extLst>
                  <a:ext uri="{FF2B5EF4-FFF2-40B4-BE49-F238E27FC236}">
                    <a16:creationId xmlns:a16="http://schemas.microsoft.com/office/drawing/2014/main" id="{00E6ACE5-3F2C-4FB4-97F6-DC5774CFD7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1475" y="339726"/>
                <a:ext cx="138113" cy="188913"/>
              </a:xfrm>
              <a:custGeom>
                <a:avLst/>
                <a:gdLst>
                  <a:gd name="T0" fmla="*/ 0 w 919"/>
                  <a:gd name="T1" fmla="*/ 134 h 1253"/>
                  <a:gd name="T2" fmla="*/ 325 w 919"/>
                  <a:gd name="T3" fmla="*/ 0 h 1253"/>
                  <a:gd name="T4" fmla="*/ 325 w 919"/>
                  <a:gd name="T5" fmla="*/ 477 h 1253"/>
                  <a:gd name="T6" fmla="*/ 594 w 919"/>
                  <a:gd name="T7" fmla="*/ 363 h 1253"/>
                  <a:gd name="T8" fmla="*/ 833 w 919"/>
                  <a:gd name="T9" fmla="*/ 451 h 1253"/>
                  <a:gd name="T10" fmla="*/ 919 w 919"/>
                  <a:gd name="T11" fmla="*/ 746 h 1253"/>
                  <a:gd name="T12" fmla="*/ 919 w 919"/>
                  <a:gd name="T13" fmla="*/ 1253 h 1253"/>
                  <a:gd name="T14" fmla="*/ 599 w 919"/>
                  <a:gd name="T15" fmla="*/ 1253 h 1253"/>
                  <a:gd name="T16" fmla="*/ 599 w 919"/>
                  <a:gd name="T17" fmla="*/ 784 h 1253"/>
                  <a:gd name="T18" fmla="*/ 465 w 919"/>
                  <a:gd name="T19" fmla="*/ 569 h 1253"/>
                  <a:gd name="T20" fmla="*/ 330 w 919"/>
                  <a:gd name="T21" fmla="*/ 691 h 1253"/>
                  <a:gd name="T22" fmla="*/ 322 w 919"/>
                  <a:gd name="T23" fmla="*/ 859 h 1253"/>
                  <a:gd name="T24" fmla="*/ 322 w 919"/>
                  <a:gd name="T25" fmla="*/ 1253 h 1253"/>
                  <a:gd name="T26" fmla="*/ 0 w 919"/>
                  <a:gd name="T27" fmla="*/ 1253 h 1253"/>
                  <a:gd name="T28" fmla="*/ 0 w 919"/>
                  <a:gd name="T29" fmla="*/ 134 h 1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19" h="1253">
                    <a:moveTo>
                      <a:pt x="0" y="134"/>
                    </a:moveTo>
                    <a:lnTo>
                      <a:pt x="325" y="0"/>
                    </a:lnTo>
                    <a:lnTo>
                      <a:pt x="325" y="477"/>
                    </a:lnTo>
                    <a:cubicBezTo>
                      <a:pt x="359" y="442"/>
                      <a:pt x="438" y="363"/>
                      <a:pt x="594" y="363"/>
                    </a:cubicBezTo>
                    <a:cubicBezTo>
                      <a:pt x="677" y="363"/>
                      <a:pt x="763" y="385"/>
                      <a:pt x="833" y="451"/>
                    </a:cubicBezTo>
                    <a:cubicBezTo>
                      <a:pt x="919" y="529"/>
                      <a:pt x="919" y="625"/>
                      <a:pt x="919" y="746"/>
                    </a:cubicBezTo>
                    <a:lnTo>
                      <a:pt x="919" y="1253"/>
                    </a:lnTo>
                    <a:lnTo>
                      <a:pt x="599" y="1253"/>
                    </a:lnTo>
                    <a:lnTo>
                      <a:pt x="599" y="784"/>
                    </a:lnTo>
                    <a:cubicBezTo>
                      <a:pt x="599" y="711"/>
                      <a:pt x="599" y="569"/>
                      <a:pt x="465" y="569"/>
                    </a:cubicBezTo>
                    <a:cubicBezTo>
                      <a:pt x="363" y="569"/>
                      <a:pt x="339" y="656"/>
                      <a:pt x="330" y="691"/>
                    </a:cubicBezTo>
                    <a:cubicBezTo>
                      <a:pt x="322" y="730"/>
                      <a:pt x="322" y="786"/>
                      <a:pt x="322" y="859"/>
                    </a:cubicBezTo>
                    <a:lnTo>
                      <a:pt x="322" y="1253"/>
                    </a:lnTo>
                    <a:lnTo>
                      <a:pt x="0" y="1253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12">
                <a:extLst>
                  <a:ext uri="{FF2B5EF4-FFF2-40B4-BE49-F238E27FC236}">
                    <a16:creationId xmlns:a16="http://schemas.microsoft.com/office/drawing/2014/main" id="{330D34B2-142F-4E60-A2AA-876659A1D1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04213" y="392113"/>
                <a:ext cx="220663" cy="136525"/>
              </a:xfrm>
              <a:custGeom>
                <a:avLst/>
                <a:gdLst>
                  <a:gd name="T0" fmla="*/ 0 w 1474"/>
                  <a:gd name="T1" fmla="*/ 0 h 904"/>
                  <a:gd name="T2" fmla="*/ 310 w 1474"/>
                  <a:gd name="T3" fmla="*/ 0 h 904"/>
                  <a:gd name="T4" fmla="*/ 310 w 1474"/>
                  <a:gd name="T5" fmla="*/ 177 h 904"/>
                  <a:gd name="T6" fmla="*/ 598 w 1474"/>
                  <a:gd name="T7" fmla="*/ 0 h 904"/>
                  <a:gd name="T8" fmla="*/ 863 w 1474"/>
                  <a:gd name="T9" fmla="*/ 173 h 904"/>
                  <a:gd name="T10" fmla="*/ 1165 w 1474"/>
                  <a:gd name="T11" fmla="*/ 0 h 904"/>
                  <a:gd name="T12" fmla="*/ 1428 w 1474"/>
                  <a:gd name="T13" fmla="*/ 145 h 904"/>
                  <a:gd name="T14" fmla="*/ 1474 w 1474"/>
                  <a:gd name="T15" fmla="*/ 427 h 904"/>
                  <a:gd name="T16" fmla="*/ 1474 w 1474"/>
                  <a:gd name="T17" fmla="*/ 904 h 904"/>
                  <a:gd name="T18" fmla="*/ 1157 w 1474"/>
                  <a:gd name="T19" fmla="*/ 904 h 904"/>
                  <a:gd name="T20" fmla="*/ 1155 w 1474"/>
                  <a:gd name="T21" fmla="*/ 411 h 904"/>
                  <a:gd name="T22" fmla="*/ 1030 w 1474"/>
                  <a:gd name="T23" fmla="*/ 218 h 904"/>
                  <a:gd name="T24" fmla="*/ 912 w 1474"/>
                  <a:gd name="T25" fmla="*/ 291 h 904"/>
                  <a:gd name="T26" fmla="*/ 894 w 1474"/>
                  <a:gd name="T27" fmla="*/ 414 h 904"/>
                  <a:gd name="T28" fmla="*/ 894 w 1474"/>
                  <a:gd name="T29" fmla="*/ 904 h 904"/>
                  <a:gd name="T30" fmla="*/ 578 w 1474"/>
                  <a:gd name="T31" fmla="*/ 904 h 904"/>
                  <a:gd name="T32" fmla="*/ 578 w 1474"/>
                  <a:gd name="T33" fmla="*/ 407 h 904"/>
                  <a:gd name="T34" fmla="*/ 452 w 1474"/>
                  <a:gd name="T35" fmla="*/ 218 h 904"/>
                  <a:gd name="T36" fmla="*/ 317 w 1474"/>
                  <a:gd name="T37" fmla="*/ 407 h 904"/>
                  <a:gd name="T38" fmla="*/ 317 w 1474"/>
                  <a:gd name="T39" fmla="*/ 904 h 904"/>
                  <a:gd name="T40" fmla="*/ 0 w 1474"/>
                  <a:gd name="T41" fmla="*/ 904 h 904"/>
                  <a:gd name="T42" fmla="*/ 0 w 1474"/>
                  <a:gd name="T43" fmla="*/ 0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74" h="904">
                    <a:moveTo>
                      <a:pt x="0" y="0"/>
                    </a:moveTo>
                    <a:lnTo>
                      <a:pt x="310" y="0"/>
                    </a:lnTo>
                    <a:lnTo>
                      <a:pt x="310" y="177"/>
                    </a:lnTo>
                    <a:cubicBezTo>
                      <a:pt x="371" y="64"/>
                      <a:pt x="470" y="0"/>
                      <a:pt x="598" y="0"/>
                    </a:cubicBezTo>
                    <a:cubicBezTo>
                      <a:pt x="647" y="0"/>
                      <a:pt x="808" y="21"/>
                      <a:pt x="863" y="173"/>
                    </a:cubicBezTo>
                    <a:cubicBezTo>
                      <a:pt x="943" y="38"/>
                      <a:pt x="1077" y="0"/>
                      <a:pt x="1165" y="0"/>
                    </a:cubicBezTo>
                    <a:cubicBezTo>
                      <a:pt x="1323" y="0"/>
                      <a:pt x="1396" y="95"/>
                      <a:pt x="1428" y="145"/>
                    </a:cubicBezTo>
                    <a:cubicBezTo>
                      <a:pt x="1474" y="220"/>
                      <a:pt x="1474" y="326"/>
                      <a:pt x="1474" y="427"/>
                    </a:cubicBezTo>
                    <a:lnTo>
                      <a:pt x="1474" y="904"/>
                    </a:lnTo>
                    <a:lnTo>
                      <a:pt x="1157" y="904"/>
                    </a:lnTo>
                    <a:lnTo>
                      <a:pt x="1155" y="411"/>
                    </a:lnTo>
                    <a:cubicBezTo>
                      <a:pt x="1155" y="322"/>
                      <a:pt x="1155" y="218"/>
                      <a:pt x="1030" y="218"/>
                    </a:cubicBezTo>
                    <a:cubicBezTo>
                      <a:pt x="988" y="218"/>
                      <a:pt x="941" y="234"/>
                      <a:pt x="912" y="291"/>
                    </a:cubicBezTo>
                    <a:cubicBezTo>
                      <a:pt x="902" y="312"/>
                      <a:pt x="894" y="340"/>
                      <a:pt x="894" y="414"/>
                    </a:cubicBezTo>
                    <a:lnTo>
                      <a:pt x="894" y="904"/>
                    </a:lnTo>
                    <a:lnTo>
                      <a:pt x="578" y="904"/>
                    </a:lnTo>
                    <a:lnTo>
                      <a:pt x="578" y="407"/>
                    </a:lnTo>
                    <a:cubicBezTo>
                      <a:pt x="578" y="329"/>
                      <a:pt x="578" y="218"/>
                      <a:pt x="452" y="218"/>
                    </a:cubicBezTo>
                    <a:cubicBezTo>
                      <a:pt x="344" y="218"/>
                      <a:pt x="317" y="310"/>
                      <a:pt x="317" y="407"/>
                    </a:cubicBezTo>
                    <a:lnTo>
                      <a:pt x="317" y="904"/>
                    </a:lnTo>
                    <a:lnTo>
                      <a:pt x="0" y="904"/>
                    </a:lnTo>
                    <a:cubicBezTo>
                      <a:pt x="0" y="904"/>
                      <a:pt x="0" y="26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13">
                <a:extLst>
                  <a:ext uri="{FF2B5EF4-FFF2-40B4-BE49-F238E27FC236}">
                    <a16:creationId xmlns:a16="http://schemas.microsoft.com/office/drawing/2014/main" id="{FC105FFA-9CEC-490B-BB1D-7B366A54B1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48600" y="388938"/>
                <a:ext cx="128588" cy="139700"/>
              </a:xfrm>
              <a:custGeom>
                <a:avLst/>
                <a:gdLst>
                  <a:gd name="T0" fmla="*/ 588 w 857"/>
                  <a:gd name="T1" fmla="*/ 744 h 926"/>
                  <a:gd name="T2" fmla="*/ 321 w 857"/>
                  <a:gd name="T3" fmla="*/ 467 h 926"/>
                  <a:gd name="T4" fmla="*/ 576 w 857"/>
                  <a:gd name="T5" fmla="*/ 180 h 926"/>
                  <a:gd name="T6" fmla="*/ 786 w 857"/>
                  <a:gd name="T7" fmla="*/ 244 h 926"/>
                  <a:gd name="T8" fmla="*/ 857 w 857"/>
                  <a:gd name="T9" fmla="*/ 121 h 926"/>
                  <a:gd name="T10" fmla="*/ 472 w 857"/>
                  <a:gd name="T11" fmla="*/ 0 h 926"/>
                  <a:gd name="T12" fmla="*/ 0 w 857"/>
                  <a:gd name="T13" fmla="*/ 477 h 926"/>
                  <a:gd name="T14" fmla="*/ 472 w 857"/>
                  <a:gd name="T15" fmla="*/ 926 h 926"/>
                  <a:gd name="T16" fmla="*/ 857 w 857"/>
                  <a:gd name="T17" fmla="*/ 805 h 926"/>
                  <a:gd name="T18" fmla="*/ 786 w 857"/>
                  <a:gd name="T19" fmla="*/ 681 h 926"/>
                  <a:gd name="T20" fmla="*/ 588 w 857"/>
                  <a:gd name="T21" fmla="*/ 744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7" h="926">
                    <a:moveTo>
                      <a:pt x="588" y="744"/>
                    </a:moveTo>
                    <a:cubicBezTo>
                      <a:pt x="505" y="744"/>
                      <a:pt x="321" y="687"/>
                      <a:pt x="321" y="467"/>
                    </a:cubicBezTo>
                    <a:cubicBezTo>
                      <a:pt x="321" y="254"/>
                      <a:pt x="493" y="187"/>
                      <a:pt x="576" y="180"/>
                    </a:cubicBezTo>
                    <a:cubicBezTo>
                      <a:pt x="659" y="174"/>
                      <a:pt x="702" y="187"/>
                      <a:pt x="786" y="244"/>
                    </a:cubicBezTo>
                    <a:lnTo>
                      <a:pt x="857" y="121"/>
                    </a:lnTo>
                    <a:cubicBezTo>
                      <a:pt x="794" y="77"/>
                      <a:pt x="701" y="0"/>
                      <a:pt x="472" y="0"/>
                    </a:cubicBezTo>
                    <a:cubicBezTo>
                      <a:pt x="187" y="0"/>
                      <a:pt x="0" y="195"/>
                      <a:pt x="0" y="477"/>
                    </a:cubicBezTo>
                    <a:cubicBezTo>
                      <a:pt x="0" y="717"/>
                      <a:pt x="187" y="926"/>
                      <a:pt x="472" y="926"/>
                    </a:cubicBezTo>
                    <a:cubicBezTo>
                      <a:pt x="701" y="926"/>
                      <a:pt x="794" y="849"/>
                      <a:pt x="857" y="805"/>
                    </a:cubicBezTo>
                    <a:lnTo>
                      <a:pt x="786" y="681"/>
                    </a:lnTo>
                    <a:cubicBezTo>
                      <a:pt x="694" y="738"/>
                      <a:pt x="672" y="744"/>
                      <a:pt x="588" y="7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2923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orient="horz" pos="632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Picture 129">
            <a:extLst>
              <a:ext uri="{FF2B5EF4-FFF2-40B4-BE49-F238E27FC236}">
                <a16:creationId xmlns:a16="http://schemas.microsoft.com/office/drawing/2014/main" id="{03B5EEFB-630C-434A-8A62-DA36FD365C2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" t="6847" b="10723"/>
          <a:stretch/>
        </p:blipFill>
        <p:spPr>
          <a:xfrm flipH="1">
            <a:off x="0" y="0"/>
            <a:ext cx="9177866" cy="5284574"/>
          </a:xfrm>
          <a:prstGeom prst="rect">
            <a:avLst/>
          </a:prstGeom>
        </p:spPr>
      </p:pic>
      <p:sp>
        <p:nvSpPr>
          <p:cNvPr id="131" name="Rectangle 130">
            <a:extLst>
              <a:ext uri="{FF2B5EF4-FFF2-40B4-BE49-F238E27FC236}">
                <a16:creationId xmlns:a16="http://schemas.microsoft.com/office/drawing/2014/main" id="{AE10A01B-77F5-4912-942D-72E5B7E61EF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rot="5400000">
            <a:off x="1946646" y="-1946646"/>
            <a:ext cx="5284574" cy="9177866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76EEF0-BBE0-46B6-9511-FE8A353768E8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60" name="Rechteck 12">
              <a:extLst>
                <a:ext uri="{FF2B5EF4-FFF2-40B4-BE49-F238E27FC236}">
                  <a16:creationId xmlns:a16="http://schemas.microsoft.com/office/drawing/2014/main" id="{27C3508B-AF6E-4AD8-9EDD-BD1431EB45EB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3CEC4C28-A874-4B7D-BA2C-5C74387460CB}"/>
                </a:ext>
              </a:extLst>
            </p:cNvPr>
            <p:cNvGrpSpPr/>
            <p:nvPr userDrawn="1"/>
          </p:nvGrpSpPr>
          <p:grpSpPr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62" name="Rectangle 5">
                <a:extLst>
                  <a:ext uri="{FF2B5EF4-FFF2-40B4-BE49-F238E27FC236}">
                    <a16:creationId xmlns:a16="http://schemas.microsoft.com/office/drawing/2014/main" id="{9E43020E-A7F2-41E8-9565-12957770A23D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4"/>
                </p:custDataLst>
              </p:nvPr>
            </p:nvSpPr>
            <p:spPr bwMode="auto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C56049DF-EF3D-4181-8592-BEEC0003A740}"/>
                  </a:ext>
                </a:extLst>
              </p:cNvPr>
              <p:cNvGrpSpPr/>
              <p:nvPr userDrawn="1">
                <p:custDataLst>
                  <p:tags r:id="rId5"/>
                </p:custDataLst>
              </p:nvPr>
            </p:nvGrpSpPr>
            <p:grpSpPr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64" name="Freeform 6">
                  <a:extLst>
                    <a:ext uri="{FF2B5EF4-FFF2-40B4-BE49-F238E27FC236}">
                      <a16:creationId xmlns:a16="http://schemas.microsoft.com/office/drawing/2014/main" id="{95A6CE69-E7B8-4D1A-84AE-90FB3EE48B5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7">
                  <a:extLst>
                    <a:ext uri="{FF2B5EF4-FFF2-40B4-BE49-F238E27FC236}">
                      <a16:creationId xmlns:a16="http://schemas.microsoft.com/office/drawing/2014/main" id="{10EC5604-52B8-42F2-A671-11510B2EE6C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8">
                  <a:extLst>
                    <a:ext uri="{FF2B5EF4-FFF2-40B4-BE49-F238E27FC236}">
                      <a16:creationId xmlns:a16="http://schemas.microsoft.com/office/drawing/2014/main" id="{55D95AAD-84DE-4654-886A-0E712ED7C12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9">
                  <a:extLst>
                    <a:ext uri="{FF2B5EF4-FFF2-40B4-BE49-F238E27FC236}">
                      <a16:creationId xmlns:a16="http://schemas.microsoft.com/office/drawing/2014/main" id="{A2A6528A-6F38-4F84-9352-ED21431D315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10">
                  <a:extLst>
                    <a:ext uri="{FF2B5EF4-FFF2-40B4-BE49-F238E27FC236}">
                      <a16:creationId xmlns:a16="http://schemas.microsoft.com/office/drawing/2014/main" id="{A57EC663-F87F-4099-B1A3-52C4117E5B5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11">
                  <a:extLst>
                    <a:ext uri="{FF2B5EF4-FFF2-40B4-BE49-F238E27FC236}">
                      <a16:creationId xmlns:a16="http://schemas.microsoft.com/office/drawing/2014/main" id="{ED4A9349-BC86-48CF-9C64-7DC694C0262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12">
                  <a:extLst>
                    <a:ext uri="{FF2B5EF4-FFF2-40B4-BE49-F238E27FC236}">
                      <a16:creationId xmlns:a16="http://schemas.microsoft.com/office/drawing/2014/main" id="{F1901348-D0C7-4C05-A769-38D70519D74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3">
                  <a:extLst>
                    <a:ext uri="{FF2B5EF4-FFF2-40B4-BE49-F238E27FC236}">
                      <a16:creationId xmlns:a16="http://schemas.microsoft.com/office/drawing/2014/main" id="{469F2088-A3D5-499A-98EF-229A5EBF36F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73" name="Slide Number Placeholder 18">
            <a:extLst>
              <a:ext uri="{FF2B5EF4-FFF2-40B4-BE49-F238E27FC236}">
                <a16:creationId xmlns:a16="http://schemas.microsoft.com/office/drawing/2014/main" id="{01847F5A-D6E8-46BB-A467-2EFBB952306F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136396" y="4824000"/>
            <a:ext cx="540000" cy="216000"/>
          </a:xfrm>
        </p:spPr>
        <p:txBody>
          <a:bodyPr/>
          <a:lstStyle/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4" name="Textplatzhalter 6">
            <a:extLst>
              <a:ext uri="{FF2B5EF4-FFF2-40B4-BE49-F238E27FC236}">
                <a16:creationId xmlns:a16="http://schemas.microsoft.com/office/drawing/2014/main" id="{EC0A65C6-72BE-460E-A725-B1D696E3124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67999" y="118805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7" name="Titel 1">
            <a:extLst>
              <a:ext uri="{FF2B5EF4-FFF2-40B4-BE49-F238E27FC236}">
                <a16:creationId xmlns:a16="http://schemas.microsoft.com/office/drawing/2014/main" id="{E5163449-112A-44A8-A9C6-61565F01D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8312" y="488207"/>
            <a:ext cx="6818313" cy="540000"/>
          </a:xfrm>
          <a:prstGeom prst="rect">
            <a:avLst/>
          </a:prstGeom>
        </p:spPr>
        <p:txBody>
          <a:bodyPr tIns="0" rIns="0" bIns="0"/>
          <a:lstStyle>
            <a:lvl1pPr>
              <a:defRPr sz="40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28" name="Fußzeilenplatzhalter 11">
            <a:extLst>
              <a:ext uri="{FF2B5EF4-FFF2-40B4-BE49-F238E27FC236}">
                <a16:creationId xmlns:a16="http://schemas.microsoft.com/office/drawing/2014/main" id="{C6867BA4-0CE5-44F9-B760-1952B48790D6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3050E2E-B1EA-47C3-827B-1BDCF12E11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8311" y="1093612"/>
            <a:ext cx="6818313" cy="504000"/>
          </a:xfrm>
        </p:spPr>
        <p:txBody>
          <a:bodyPr tIns="0" rIns="0" bIns="0"/>
          <a:lstStyle>
            <a:lvl1pPr>
              <a:defRPr sz="1800"/>
            </a:lvl1pPr>
          </a:lstStyle>
          <a:p>
            <a:pPr lvl="0"/>
            <a:r>
              <a:rPr lang="en-GB"/>
              <a:t>Subheadline</a:t>
            </a:r>
            <a:endParaRPr lang="en-GB" dirty="0"/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FB674A71-D12B-4417-A222-9F3FA8510A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73421" y="1868330"/>
            <a:ext cx="4723200" cy="338400"/>
          </a:xfrm>
        </p:spPr>
        <p:txBody>
          <a:bodyPr tIns="0" rIns="0" bIns="0" anchor="b"/>
          <a:lstStyle>
            <a:lvl1pPr marL="0" indent="0">
              <a:defRPr lang="de-DE" sz="1400" b="1" kern="1200" cap="all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17" name="Text Placeholder 3">
            <a:extLst>
              <a:ext uri="{FF2B5EF4-FFF2-40B4-BE49-F238E27FC236}">
                <a16:creationId xmlns:a16="http://schemas.microsoft.com/office/drawing/2014/main" id="{C9877D57-BD24-41F1-B970-C08CB548B8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3421" y="2181709"/>
            <a:ext cx="4723200" cy="338400"/>
          </a:xfrm>
        </p:spPr>
        <p:txBody>
          <a:bodyPr tIns="0" rIns="0" bIns="0" anchor="t"/>
          <a:lstStyle>
            <a:lvl1pPr marL="0" indent="0">
              <a:defRPr lang="de-DE" sz="12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BB7D8468-E64E-45E3-9E08-9C83A772183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73421" y="2679644"/>
            <a:ext cx="4723200" cy="338400"/>
          </a:xfrm>
        </p:spPr>
        <p:txBody>
          <a:bodyPr tIns="0" rIns="0" bIns="0" anchor="b"/>
          <a:lstStyle>
            <a:lvl1pPr marL="0" indent="0">
              <a:defRPr lang="de-DE" sz="1400" b="1" kern="1200" cap="all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3238BA4A-8540-4FD5-B675-E8DDBBBAF53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73421" y="2993023"/>
            <a:ext cx="4723200" cy="338400"/>
          </a:xfrm>
        </p:spPr>
        <p:txBody>
          <a:bodyPr tIns="0" rIns="0" bIns="0" anchor="t"/>
          <a:lstStyle>
            <a:lvl1pPr marL="0" indent="0">
              <a:defRPr lang="de-DE" sz="12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CE18656C-5B66-4038-80F9-BDF7B56BAD7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3421" y="3484390"/>
            <a:ext cx="4723200" cy="338400"/>
          </a:xfrm>
        </p:spPr>
        <p:txBody>
          <a:bodyPr tIns="0" rIns="0" bIns="0" anchor="b"/>
          <a:lstStyle>
            <a:lvl1pPr marL="0" indent="0">
              <a:defRPr lang="de-DE" sz="1400" b="1" kern="1200" cap="all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334C2714-5516-4D30-8DDB-BF97E172C7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173421" y="3797769"/>
            <a:ext cx="4723200" cy="338400"/>
          </a:xfrm>
        </p:spPr>
        <p:txBody>
          <a:bodyPr tIns="0" rIns="0" bIns="0" anchor="t"/>
          <a:lstStyle>
            <a:lvl1pPr marL="0" indent="0">
              <a:defRPr lang="de-DE" sz="12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9982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63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Grafik 80">
            <a:extLst>
              <a:ext uri="{FF2B5EF4-FFF2-40B4-BE49-F238E27FC236}">
                <a16:creationId xmlns:a16="http://schemas.microsoft.com/office/drawing/2014/main" id="{8D5CB22C-8F7C-4F10-A3F4-9150CC0CA83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53" t="43525" r="5462" b="746"/>
          <a:stretch/>
        </p:blipFill>
        <p:spPr bwMode="gray">
          <a:xfrm>
            <a:off x="-6350" y="0"/>
            <a:ext cx="9159062" cy="5143500"/>
          </a:xfrm>
          <a:prstGeom prst="rect">
            <a:avLst/>
          </a:prstGeom>
        </p:spPr>
      </p:pic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174FA47-79EE-4FAA-A96E-26F320CB06C2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4D36DC00-CF28-4894-B6DC-411381EF88DC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2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AD2212CF-B1C8-4362-9896-AF57993A482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5" name="Rectangle 14">
            <a:extLst>
              <a:ext uri="{FF2B5EF4-FFF2-40B4-BE49-F238E27FC236}">
                <a16:creationId xmlns:a16="http://schemas.microsoft.com/office/drawing/2014/main" id="{7D772212-89F8-408D-9AD5-87CDD765DA9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-15062" y="0"/>
            <a:ext cx="9159061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71000"/>
                </a:schemeClr>
              </a:gs>
              <a:gs pos="79000">
                <a:schemeClr val="bg1">
                  <a:alpha val="14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E530F278-014F-41CD-929D-D0F8D77A6DB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542838" y="2859292"/>
            <a:ext cx="438337" cy="43016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F985504-FF36-4E65-ADA3-03BD78F02ED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45" name="Rechteck 12">
              <a:extLst>
                <a:ext uri="{FF2B5EF4-FFF2-40B4-BE49-F238E27FC236}">
                  <a16:creationId xmlns:a16="http://schemas.microsoft.com/office/drawing/2014/main" id="{6942C4F8-05C5-43BC-85B1-E2CE4E78005E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F81B8E0D-0DBF-44F3-A93C-8116D4F67B2B}"/>
                </a:ext>
              </a:extLst>
            </p:cNvPr>
            <p:cNvGrpSpPr/>
            <p:nvPr userDrawn="1"/>
          </p:nvGrpSpPr>
          <p:grpSpPr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47" name="Rectangle 5">
                <a:extLst>
                  <a:ext uri="{FF2B5EF4-FFF2-40B4-BE49-F238E27FC236}">
                    <a16:creationId xmlns:a16="http://schemas.microsoft.com/office/drawing/2014/main" id="{C5B6217D-34A2-43A0-B7CA-5C1F0072BFC1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6"/>
                </p:custDataLst>
              </p:nvPr>
            </p:nvSpPr>
            <p:spPr bwMode="auto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388DD0DD-DD22-4007-9EC6-4515C5D6E6A1}"/>
                  </a:ext>
                </a:extLst>
              </p:cNvPr>
              <p:cNvGrpSpPr/>
              <p:nvPr userDrawn="1">
                <p:custDataLst>
                  <p:tags r:id="rId7"/>
                </p:custDataLst>
              </p:nvPr>
            </p:nvGrpSpPr>
            <p:grpSpPr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9" name="Freeform 6">
                  <a:extLst>
                    <a:ext uri="{FF2B5EF4-FFF2-40B4-BE49-F238E27FC236}">
                      <a16:creationId xmlns:a16="http://schemas.microsoft.com/office/drawing/2014/main" id="{E9336274-8273-48F1-B97A-8AEC34F1DF6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">
                  <a:extLst>
                    <a:ext uri="{FF2B5EF4-FFF2-40B4-BE49-F238E27FC236}">
                      <a16:creationId xmlns:a16="http://schemas.microsoft.com/office/drawing/2014/main" id="{BE5DAF0F-EEA6-472B-8080-3C85B9EB5B1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8">
                  <a:extLst>
                    <a:ext uri="{FF2B5EF4-FFF2-40B4-BE49-F238E27FC236}">
                      <a16:creationId xmlns:a16="http://schemas.microsoft.com/office/drawing/2014/main" id="{751718F4-7E12-4A43-83A9-BAD6692F9F9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9">
                  <a:extLst>
                    <a:ext uri="{FF2B5EF4-FFF2-40B4-BE49-F238E27FC236}">
                      <a16:creationId xmlns:a16="http://schemas.microsoft.com/office/drawing/2014/main" id="{73D318EB-C805-4300-93DD-01940DA8289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10">
                  <a:extLst>
                    <a:ext uri="{FF2B5EF4-FFF2-40B4-BE49-F238E27FC236}">
                      <a16:creationId xmlns:a16="http://schemas.microsoft.com/office/drawing/2014/main" id="{D9BF9490-0006-41FD-B503-A0E7A73EA5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11">
                  <a:extLst>
                    <a:ext uri="{FF2B5EF4-FFF2-40B4-BE49-F238E27FC236}">
                      <a16:creationId xmlns:a16="http://schemas.microsoft.com/office/drawing/2014/main" id="{9D82B1CF-154A-4867-80B0-2E0BE09B196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12">
                  <a:extLst>
                    <a:ext uri="{FF2B5EF4-FFF2-40B4-BE49-F238E27FC236}">
                      <a16:creationId xmlns:a16="http://schemas.microsoft.com/office/drawing/2014/main" id="{BEF0CAE0-76EF-4A08-83D9-0775F7F6010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13">
                  <a:extLst>
                    <a:ext uri="{FF2B5EF4-FFF2-40B4-BE49-F238E27FC236}">
                      <a16:creationId xmlns:a16="http://schemas.microsoft.com/office/drawing/2014/main" id="{15A19176-B487-44F2-8B28-605C855403A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04" name="Textplatzhalter 6">
            <a:extLst>
              <a:ext uri="{FF2B5EF4-FFF2-40B4-BE49-F238E27FC236}">
                <a16:creationId xmlns:a16="http://schemas.microsoft.com/office/drawing/2014/main" id="{C3D98C53-C365-4507-B7F2-B3B311135C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118805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05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105" name="Titel 1">
            <a:extLst>
              <a:ext uri="{FF2B5EF4-FFF2-40B4-BE49-F238E27FC236}">
                <a16:creationId xmlns:a16="http://schemas.microsoft.com/office/drawing/2014/main" id="{27BE8819-5DC3-4988-BD39-C2007B3C4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8312" y="488207"/>
            <a:ext cx="6818313" cy="540000"/>
          </a:xfrm>
          <a:prstGeom prst="rect">
            <a:avLst/>
          </a:prstGeom>
        </p:spPr>
        <p:txBody>
          <a:bodyPr tIns="0" rIns="0" bIns="0"/>
          <a:lstStyle>
            <a:lvl1pPr>
              <a:defRPr sz="4000" b="1" cap="all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F266137A-FB95-4AD6-9972-1CE825DD2C1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8311" y="1093612"/>
            <a:ext cx="6818313" cy="504000"/>
          </a:xfrm>
        </p:spPr>
        <p:txBody>
          <a:bodyPr tIns="0" rIns="0" bIns="0"/>
          <a:lstStyle>
            <a:lvl1pPr>
              <a:defRPr sz="1800"/>
            </a:lvl1pPr>
          </a:lstStyle>
          <a:p>
            <a:pPr lvl="0"/>
            <a:r>
              <a:rPr lang="en-GB"/>
              <a:t>Subheadline</a:t>
            </a:r>
            <a:endParaRPr lang="en-GB" dirty="0"/>
          </a:p>
        </p:txBody>
      </p:sp>
      <p:sp>
        <p:nvSpPr>
          <p:cNvPr id="107" name="Slide Number Placeholder 18">
            <a:extLst>
              <a:ext uri="{FF2B5EF4-FFF2-40B4-BE49-F238E27FC236}">
                <a16:creationId xmlns:a16="http://schemas.microsoft.com/office/drawing/2014/main" id="{C3AF9963-8753-42F6-85B7-BEB72BB01D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36396" y="4824000"/>
            <a:ext cx="540000" cy="216000"/>
          </a:xfrm>
        </p:spPr>
        <p:txBody>
          <a:bodyPr/>
          <a:lstStyle/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8" name="Fußzeilenplatzhalter 11">
            <a:extLst>
              <a:ext uri="{FF2B5EF4-FFF2-40B4-BE49-F238E27FC236}">
                <a16:creationId xmlns:a16="http://schemas.microsoft.com/office/drawing/2014/main" id="{AB5F9D13-C6F7-44C2-ADC3-D8EB66B46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A4652E56-EC1C-4CF5-AF55-80207B2E7A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68812" y="2211709"/>
            <a:ext cx="4962275" cy="504000"/>
          </a:xfrm>
        </p:spPr>
        <p:txBody>
          <a:bodyPr tIns="0" rIns="0" bIns="0" anchor="ctr"/>
          <a:lstStyle>
            <a:lvl1pPr marL="0" indent="0">
              <a:defRPr lang="de-DE" sz="14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8C72CE69-D34C-4F38-8DEF-0DE2044BF2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468812" y="3019905"/>
            <a:ext cx="4962275" cy="504000"/>
          </a:xfrm>
        </p:spPr>
        <p:txBody>
          <a:bodyPr tIns="0" rIns="0" bIns="0" anchor="ctr"/>
          <a:lstStyle>
            <a:lvl1pPr marL="0" indent="0">
              <a:defRPr lang="de-DE" sz="14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  <p:sp>
        <p:nvSpPr>
          <p:cNvPr id="118" name="Text Placeholder 3">
            <a:extLst>
              <a:ext uri="{FF2B5EF4-FFF2-40B4-BE49-F238E27FC236}">
                <a16:creationId xmlns:a16="http://schemas.microsoft.com/office/drawing/2014/main" id="{8FBEC104-504B-4354-8BFF-4A57454249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68812" y="3828100"/>
            <a:ext cx="4962275" cy="504000"/>
          </a:xfrm>
        </p:spPr>
        <p:txBody>
          <a:bodyPr tIns="0" rIns="0" bIns="0" anchor="ctr"/>
          <a:lstStyle>
            <a:lvl1pPr marL="0" indent="0">
              <a:defRPr lang="de-DE" sz="1400" b="0" kern="1200" cap="none" baseline="0" dirty="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</a:lstStyle>
          <a:p>
            <a:pPr marL="0" lv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/>
              <a:t>Tex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8904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6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602927"/>
            <a:ext cx="4037325" cy="3084961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270000"/>
            <a:ext cx="6804000" cy="252000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60588" y="1602000"/>
            <a:ext cx="4037325" cy="3085888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999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Aufzählung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76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68000" y="1602927"/>
            <a:ext cx="8208000" cy="3088800"/>
          </a:xfrm>
        </p:spPr>
        <p:txBody>
          <a:bodyPr/>
          <a:lstStyle>
            <a:lvl1pPr marL="228600" indent="-2286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defRPr sz="1200"/>
            </a:lvl1pPr>
            <a:lvl2pPr marL="504000" indent="-252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200"/>
            </a:lvl2pPr>
            <a:lvl3pPr marL="756000" indent="-252000" defTabSz="54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3pPr>
            <a:lvl4pPr marL="1008000" indent="-252000" defTabSz="479425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4pPr>
            <a:lvl5pPr marL="1260000" indent="-252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52000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8252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602000"/>
            <a:ext cx="4032000" cy="3088800"/>
          </a:xfrm>
        </p:spPr>
        <p:txBody>
          <a:bodyPr/>
          <a:lstStyle>
            <a:lvl1pPr marL="18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4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4651375" y="1598400"/>
            <a:ext cx="4046538" cy="30888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7FFAF88A-B078-445D-B2A8-86172F0F4B6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85FB138E-EE32-4A4C-A456-B54BC5D492E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9588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43999" y="1602000"/>
            <a:ext cx="4032000" cy="3088800"/>
          </a:xfrm>
        </p:spPr>
        <p:txBody>
          <a:bodyPr/>
          <a:lstStyle>
            <a:lvl1pPr marL="18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4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468000" y="1598400"/>
            <a:ext cx="4037325" cy="30888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Bild durch Klicken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4516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Char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>
          <a:xfrm>
            <a:off x="4640065" y="1602927"/>
            <a:ext cx="4046400" cy="3088800"/>
          </a:xfrm>
        </p:spPr>
        <p:txBody>
          <a:bodyPr/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5pPr>
          </a:lstStyle>
          <a:p>
            <a:pPr marL="0" marR="0" lvl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masterformat bearbeiten</a:t>
            </a:r>
          </a:p>
          <a:p>
            <a:pPr marL="361950" marR="0" lvl="1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63" marR="0" lvl="2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913" marR="0" lvl="3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513" marR="0" lvl="4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602000"/>
            <a:ext cx="4032000" cy="3088800"/>
          </a:xfrm>
        </p:spPr>
        <p:txBody>
          <a:bodyPr/>
          <a:lstStyle>
            <a:lvl1pPr marL="18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4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517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Char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>
          <a:xfrm>
            <a:off x="467999" y="1602000"/>
            <a:ext cx="4035090" cy="3089488"/>
          </a:xfrm>
        </p:spPr>
        <p:txBody>
          <a:bodyPr/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masterformat bearbeiten</a:t>
            </a:r>
          </a:p>
          <a:p>
            <a:pPr marL="361950" marR="0" lvl="1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63" marR="0" lvl="2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913" marR="0" lvl="3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513" marR="0" lvl="4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43999" y="1602000"/>
            <a:ext cx="4032000" cy="3088800"/>
          </a:xfrm>
        </p:spPr>
        <p:txBody>
          <a:bodyPr/>
          <a:lstStyle>
            <a:lvl1pPr marL="18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6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4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9" y="270000"/>
            <a:ext cx="6804000" cy="282113"/>
          </a:xfrm>
        </p:spPr>
        <p:txBody>
          <a:bodyPr/>
          <a:lstStyle>
            <a:lvl1pPr defTabSz="270000">
              <a:lnSpc>
                <a:spcPct val="100000"/>
              </a:lnSpc>
              <a:tabLst/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35315"/>
            <a:ext cx="8208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</a:t>
            </a:r>
            <a:endParaRPr lang="en-GB" dirty="0"/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68000" y="4824000"/>
            <a:ext cx="6829425" cy="216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8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pPr lvl="0"/>
            <a:r>
              <a:rPr lang="en-GB"/>
              <a:t>Präsentationstitel, Autor, Ort, Datum (DD.MM.YYYY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4949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3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2.emf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6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67999" y="1602927"/>
            <a:ext cx="8229913" cy="308821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4000" y="4824000"/>
            <a:ext cx="540000" cy="216000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Gerader Verbinder 15"/>
          <p:cNvCxnSpPr/>
          <p:nvPr/>
        </p:nvCxnSpPr>
        <p:spPr>
          <a:xfrm>
            <a:off x="464400" y="4770000"/>
            <a:ext cx="8233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7998" y="835200"/>
            <a:ext cx="8204267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masterformat durch Klicken bearbeiten </a:t>
            </a:r>
            <a:endParaRPr lang="en-GB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3" name="Rechteck 12"/>
            <p:cNvSpPr/>
            <p:nvPr userDrawn="1"/>
          </p:nvSpPr>
          <p:spPr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Logo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6916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27" name="Gerade Verbindung 25"/>
          <p:cNvCxnSpPr/>
          <p:nvPr userDrawn="1"/>
        </p:nvCxnSpPr>
        <p:spPr bwMode="gray">
          <a:xfrm rot="5400000" flipH="1">
            <a:off x="366451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6"/>
          <p:cNvCxnSpPr/>
          <p:nvPr userDrawn="1"/>
        </p:nvCxnSpPr>
        <p:spPr bwMode="gray">
          <a:xfrm rot="5400000" flipH="1">
            <a:off x="4403949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7"/>
          <p:cNvCxnSpPr/>
          <p:nvPr userDrawn="1"/>
        </p:nvCxnSpPr>
        <p:spPr bwMode="gray">
          <a:xfrm rot="5400000" flipH="1">
            <a:off x="455428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8"/>
          <p:cNvCxnSpPr/>
          <p:nvPr userDrawn="1"/>
        </p:nvCxnSpPr>
        <p:spPr bwMode="gray">
          <a:xfrm rot="5400000" flipH="1">
            <a:off x="8598288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unde Klammer links 30"/>
          <p:cNvSpPr/>
          <p:nvPr userDrawn="1"/>
        </p:nvSpPr>
        <p:spPr bwMode="gray">
          <a:xfrm>
            <a:off x="-571018" y="798394"/>
            <a:ext cx="466407" cy="645977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2" name="Runde Klammer links 31"/>
          <p:cNvSpPr/>
          <p:nvPr userDrawn="1"/>
        </p:nvSpPr>
        <p:spPr bwMode="gray">
          <a:xfrm>
            <a:off x="-571018" y="4824484"/>
            <a:ext cx="466407" cy="204716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3" name="Freihandform 32"/>
          <p:cNvSpPr/>
          <p:nvPr userDrawn="1"/>
        </p:nvSpPr>
        <p:spPr>
          <a:xfrm>
            <a:off x="-571018" y="1559565"/>
            <a:ext cx="466407" cy="3128323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noProof="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Gerade Verbindung 25"/>
          <p:cNvCxnSpPr/>
          <p:nvPr userDrawn="1"/>
        </p:nvCxnSpPr>
        <p:spPr bwMode="gray">
          <a:xfrm rot="5400000" flipH="1">
            <a:off x="369016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26"/>
          <p:cNvCxnSpPr/>
          <p:nvPr userDrawn="1"/>
        </p:nvCxnSpPr>
        <p:spPr bwMode="gray">
          <a:xfrm rot="5400000" flipH="1">
            <a:off x="4405574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27"/>
          <p:cNvCxnSpPr/>
          <p:nvPr userDrawn="1"/>
        </p:nvCxnSpPr>
        <p:spPr bwMode="gray">
          <a:xfrm rot="5400000" flipH="1">
            <a:off x="4553490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28"/>
          <p:cNvCxnSpPr/>
          <p:nvPr userDrawn="1"/>
        </p:nvCxnSpPr>
        <p:spPr bwMode="gray">
          <a:xfrm rot="5400000" flipH="1">
            <a:off x="859828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15"/>
          <p:cNvCxnSpPr/>
          <p:nvPr userDrawn="1"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19"/>
          <p:cNvCxnSpPr/>
          <p:nvPr userDrawn="1"/>
        </p:nvCxnSpPr>
        <p:spPr bwMode="gray">
          <a:xfrm flipH="1">
            <a:off x="9180000" y="469021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19"/>
          <p:cNvCxnSpPr/>
          <p:nvPr userDrawn="1"/>
        </p:nvCxnSpPr>
        <p:spPr bwMode="gray">
          <a:xfrm flipH="1">
            <a:off x="9180000" y="4824498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19"/>
          <p:cNvCxnSpPr/>
          <p:nvPr userDrawn="1"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6"/>
          <p:cNvCxnSpPr/>
          <p:nvPr userDrawn="1"/>
        </p:nvCxnSpPr>
        <p:spPr bwMode="gray">
          <a:xfrm flipH="1">
            <a:off x="9180000" y="144437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6"/>
          <p:cNvCxnSpPr/>
          <p:nvPr userDrawn="1"/>
        </p:nvCxnSpPr>
        <p:spPr bwMode="gray">
          <a:xfrm flipH="1">
            <a:off x="9180000" y="797458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unde Klammer links 43"/>
          <p:cNvSpPr/>
          <p:nvPr userDrawn="1"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45" name="Textplatzhalter 11"/>
          <p:cNvSpPr txBox="1">
            <a:spLocks/>
          </p:cNvSpPr>
          <p:nvPr userDrawn="1"/>
        </p:nvSpPr>
        <p:spPr bwMode="gray">
          <a:xfrm>
            <a:off x="-512675" y="4864762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500" noProof="0">
                <a:solidFill>
                  <a:schemeClr val="tx1"/>
                </a:solidFill>
                <a:latin typeface="Lucida Sans Techem" panose="020B0602040502020204" pitchFamily="34" charset="0"/>
              </a:rPr>
              <a:t>Fußzeile / Footer</a:t>
            </a:r>
            <a:endParaRPr lang="en-GB" sz="500" noProof="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46" name="Textplatzhalter 11"/>
          <p:cNvSpPr txBox="1">
            <a:spLocks/>
          </p:cNvSpPr>
          <p:nvPr userDrawn="1"/>
        </p:nvSpPr>
        <p:spPr bwMode="gray">
          <a:xfrm>
            <a:off x="-509734" y="315751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500" noProof="0">
                <a:solidFill>
                  <a:schemeClr val="tx1"/>
                </a:solidFill>
                <a:latin typeface="Lucida Sans Techem" panose="020B0602040502020204" pitchFamily="34" charset="0"/>
              </a:rPr>
              <a:t>Agendapunkt / </a:t>
            </a:r>
            <a:br>
              <a:rPr lang="en-GB" sz="500" noProof="0">
                <a:solidFill>
                  <a:schemeClr val="tx1"/>
                </a:solidFill>
                <a:latin typeface="Lucida Sans Techem" panose="020B0602040502020204" pitchFamily="34" charset="0"/>
              </a:rPr>
            </a:br>
            <a:r>
              <a:rPr lang="en-GB" sz="500" baseline="0" noProof="0">
                <a:solidFill>
                  <a:schemeClr val="tx1"/>
                </a:solidFill>
                <a:latin typeface="Lucida Sans Techem" panose="020B0602040502020204" pitchFamily="34" charset="0"/>
              </a:rPr>
              <a:t>Agenda item</a:t>
            </a:r>
            <a:endParaRPr lang="en-GB" sz="500" noProof="0">
              <a:solidFill>
                <a:schemeClr val="tx1"/>
              </a:solidFill>
              <a:latin typeface="Lucida Sans Techem" panose="020B0602040502020204" pitchFamily="34" charset="0"/>
            </a:endParaRPr>
          </a:p>
          <a:p>
            <a:pPr algn="l"/>
            <a:endParaRPr lang="en-GB" sz="500" noProof="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47" name="Textplatzhalter 11"/>
          <p:cNvSpPr txBox="1">
            <a:spLocks/>
          </p:cNvSpPr>
          <p:nvPr userDrawn="1"/>
        </p:nvSpPr>
        <p:spPr bwMode="gray">
          <a:xfrm>
            <a:off x="-512675" y="1026526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500" noProof="0">
                <a:solidFill>
                  <a:schemeClr val="tx1"/>
                </a:solidFill>
                <a:latin typeface="Lucida Sans Techem" panose="020B0602040502020204" pitchFamily="34" charset="0"/>
              </a:rPr>
              <a:t>Titel / Title</a:t>
            </a:r>
            <a:endParaRPr lang="en-GB" sz="500" noProof="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48" name="Textplatzhalter 11"/>
          <p:cNvSpPr txBox="1">
            <a:spLocks/>
          </p:cNvSpPr>
          <p:nvPr userDrawn="1"/>
        </p:nvSpPr>
        <p:spPr bwMode="gray">
          <a:xfrm>
            <a:off x="-509733" y="1678910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500" noProof="0">
                <a:solidFill>
                  <a:schemeClr val="tx1"/>
                </a:solidFill>
                <a:latin typeface="Lucida Sans Techem" panose="020B0602040502020204" pitchFamily="34" charset="0"/>
              </a:rPr>
              <a:t>Inhalt / Content</a:t>
            </a:r>
            <a:endParaRPr lang="en-GB" sz="500" noProof="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49" name="Rechteck 48"/>
          <p:cNvSpPr/>
          <p:nvPr userDrawn="1"/>
        </p:nvSpPr>
        <p:spPr bwMode="gray">
          <a:xfrm>
            <a:off x="9464163" y="-830"/>
            <a:ext cx="828000" cy="180000"/>
          </a:xfrm>
          <a:prstGeom prst="rect">
            <a:avLst/>
          </a:prstGeom>
          <a:solidFill>
            <a:srgbClr val="E2061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latin typeface="Lucida Sans Techem" panose="020B0602040502020204" pitchFamily="34" charset="0"/>
              </a:rPr>
              <a:t>226 | 6</a:t>
            </a:r>
            <a:r>
              <a:rPr lang="en-GB" sz="750" baseline="0">
                <a:latin typeface="Lucida Sans Techem" panose="020B0602040502020204" pitchFamily="34" charset="0"/>
              </a:rPr>
              <a:t> |</a:t>
            </a:r>
            <a:r>
              <a:rPr lang="en-GB" sz="750">
                <a:latin typeface="Lucida Sans Techem" panose="020B0602040502020204" pitchFamily="34" charset="0"/>
              </a:rPr>
              <a:t> 19</a:t>
            </a:r>
            <a:endParaRPr lang="en-GB" sz="750" dirty="0">
              <a:latin typeface="Lucida Sans Techem" panose="020B0602040502020204" pitchFamily="34" charset="0"/>
            </a:endParaRPr>
          </a:p>
        </p:txBody>
      </p:sp>
      <p:sp>
        <p:nvSpPr>
          <p:cNvPr id="50" name="Rechteck 49"/>
          <p:cNvSpPr/>
          <p:nvPr userDrawn="1"/>
        </p:nvSpPr>
        <p:spPr bwMode="gray">
          <a:xfrm>
            <a:off x="9464163" y="197170"/>
            <a:ext cx="828000" cy="18000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latin typeface="Lucida Sans Techem" panose="020B0602040502020204" pitchFamily="34" charset="0"/>
              </a:rPr>
              <a:t>70 | 130 | 160</a:t>
            </a:r>
            <a:endParaRPr lang="en-GB" sz="750" dirty="0">
              <a:latin typeface="Lucida Sans Techem" panose="020B0602040502020204" pitchFamily="34" charset="0"/>
            </a:endParaRPr>
          </a:p>
        </p:txBody>
      </p:sp>
      <p:sp>
        <p:nvSpPr>
          <p:cNvPr id="51" name="Rechteck 50"/>
          <p:cNvSpPr/>
          <p:nvPr userDrawn="1"/>
        </p:nvSpPr>
        <p:spPr bwMode="gray">
          <a:xfrm>
            <a:off x="9464163" y="792044"/>
            <a:ext cx="828000" cy="180000"/>
          </a:xfrm>
          <a:prstGeom prst="rect">
            <a:avLst/>
          </a:prstGeom>
          <a:solidFill>
            <a:srgbClr val="E5E5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29 | 229 | 229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52" name="Rechteck 51"/>
          <p:cNvSpPr/>
          <p:nvPr userDrawn="1"/>
        </p:nvSpPr>
        <p:spPr bwMode="gray">
          <a:xfrm>
            <a:off x="9464163" y="589613"/>
            <a:ext cx="828000" cy="180000"/>
          </a:xfrm>
          <a:prstGeom prst="rect">
            <a:avLst/>
          </a:prstGeom>
          <a:solidFill>
            <a:srgbClr val="9999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153 | 153 | 153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53" name="Rechteck 52"/>
          <p:cNvSpPr/>
          <p:nvPr userDrawn="1"/>
        </p:nvSpPr>
        <p:spPr bwMode="gray">
          <a:xfrm>
            <a:off x="9464163" y="393464"/>
            <a:ext cx="828000" cy="180000"/>
          </a:xfrm>
          <a:prstGeom prst="rect">
            <a:avLst/>
          </a:prstGeom>
          <a:solidFill>
            <a:srgbClr val="6666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latin typeface="Lucida Sans Techem" panose="020B0602040502020204" pitchFamily="34" charset="0"/>
              </a:rPr>
              <a:t>102 | 102 | 102</a:t>
            </a:r>
            <a:endParaRPr lang="en-GB" sz="750" dirty="0">
              <a:latin typeface="Lucida Sans Techem" panose="020B060204050202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9464163" y="2089179"/>
            <a:ext cx="828000" cy="180000"/>
          </a:xfrm>
          <a:prstGeom prst="rect">
            <a:avLst/>
          </a:prstGeom>
          <a:solidFill>
            <a:srgbClr val="009C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latin typeface="Lucida Sans Techem" panose="020B0602040502020204" pitchFamily="34" charset="0"/>
              </a:rPr>
              <a:t>0 | 156 | 180</a:t>
            </a:r>
            <a:endParaRPr lang="en-GB" sz="750" dirty="0"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464163" y="3129245"/>
            <a:ext cx="828000" cy="180000"/>
          </a:xfrm>
          <a:prstGeom prst="rect">
            <a:avLst/>
          </a:prstGeom>
          <a:solidFill>
            <a:srgbClr val="4272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bg1"/>
                </a:solidFill>
                <a:latin typeface="Lucida Sans Techem" panose="020B0602040502020204" pitchFamily="34" charset="0"/>
              </a:rPr>
              <a:t>66 |</a:t>
            </a:r>
            <a:r>
              <a:rPr lang="en-GB" sz="750" baseline="0">
                <a:solidFill>
                  <a:schemeClr val="bg1"/>
                </a:solidFill>
                <a:latin typeface="Lucida Sans Techem" panose="020B0602040502020204" pitchFamily="34" charset="0"/>
              </a:rPr>
              <a:t> 114</a:t>
            </a:r>
            <a:r>
              <a:rPr lang="en-GB" sz="750">
                <a:solidFill>
                  <a:schemeClr val="bg1"/>
                </a:solidFill>
                <a:latin typeface="Lucida Sans Techem" panose="020B0602040502020204" pitchFamily="34" charset="0"/>
              </a:rPr>
              <a:t> | 51</a:t>
            </a:r>
            <a:endParaRPr lang="en-GB" sz="750" dirty="0">
              <a:solidFill>
                <a:schemeClr val="bg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6" name="Rechteck 55"/>
          <p:cNvSpPr/>
          <p:nvPr userDrawn="1"/>
        </p:nvSpPr>
        <p:spPr bwMode="gray">
          <a:xfrm>
            <a:off x="9464163" y="4170691"/>
            <a:ext cx="828000" cy="180000"/>
          </a:xfrm>
          <a:prstGeom prst="rect">
            <a:avLst/>
          </a:prstGeom>
          <a:solidFill>
            <a:srgbClr val="F7A70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latin typeface="Lucida Sans Techem" panose="020B0602040502020204" pitchFamily="34" charset="0"/>
              </a:rPr>
              <a:t>247 | 167 | 11</a:t>
            </a:r>
            <a:endParaRPr lang="en-GB" sz="750" dirty="0"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9464163" y="1039664"/>
            <a:ext cx="828000" cy="180000"/>
          </a:xfrm>
          <a:prstGeom prst="rect">
            <a:avLst/>
          </a:prstGeom>
          <a:solidFill>
            <a:srgbClr val="00354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>
                <a:latin typeface="Lucida Sans Techem" panose="020B0602040502020204" pitchFamily="34" charset="0"/>
              </a:rPr>
              <a:t>0</a:t>
            </a:r>
            <a:r>
              <a:rPr lang="en-GB" sz="750" baseline="0">
                <a:latin typeface="Lucida Sans Techem" panose="020B0602040502020204" pitchFamily="34" charset="0"/>
              </a:rPr>
              <a:t> </a:t>
            </a:r>
            <a:r>
              <a:rPr lang="en-GB" sz="750">
                <a:latin typeface="Lucida Sans Techem" panose="020B0602040502020204" pitchFamily="34" charset="0"/>
              </a:rPr>
              <a:t>| 53 | 79</a:t>
            </a:r>
            <a:endParaRPr lang="en-GB" sz="750" dirty="0">
              <a:latin typeface="Lucida Sans Techem" panose="020B0602040502020204" pitchFamily="34" charset="0"/>
            </a:endParaRPr>
          </a:p>
        </p:txBody>
      </p:sp>
      <p:sp>
        <p:nvSpPr>
          <p:cNvPr id="58" name="Rechteck 57"/>
          <p:cNvSpPr/>
          <p:nvPr userDrawn="1"/>
        </p:nvSpPr>
        <p:spPr bwMode="gray">
          <a:xfrm>
            <a:off x="9464163" y="2287179"/>
            <a:ext cx="828000" cy="180000"/>
          </a:xfrm>
          <a:prstGeom prst="rect">
            <a:avLst/>
          </a:prstGeom>
          <a:solidFill>
            <a:srgbClr val="2DB0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latin typeface="Lucida Sans Techem" panose="020B0602040502020204" pitchFamily="34" charset="0"/>
              </a:rPr>
              <a:t>45 | 176 | 195</a:t>
            </a:r>
            <a:endParaRPr lang="en-GB" sz="750" dirty="0"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bg1"/>
                </a:solidFill>
                <a:latin typeface="Lucida Sans Techem" panose="020B0602040502020204" pitchFamily="34" charset="0"/>
              </a:rPr>
              <a:t>104 |</a:t>
            </a:r>
            <a:r>
              <a:rPr lang="en-GB" sz="750" baseline="0">
                <a:solidFill>
                  <a:schemeClr val="bg1"/>
                </a:solidFill>
                <a:latin typeface="Lucida Sans Techem" panose="020B0602040502020204" pitchFamily="34" charset="0"/>
              </a:rPr>
              <a:t> 143</a:t>
            </a:r>
            <a:r>
              <a:rPr lang="en-GB" sz="750">
                <a:solidFill>
                  <a:schemeClr val="bg1"/>
                </a:solidFill>
                <a:latin typeface="Lucida Sans Techem" panose="020B0602040502020204" pitchFamily="34" charset="0"/>
              </a:rPr>
              <a:t> | 92</a:t>
            </a:r>
            <a:endParaRPr lang="en-GB" sz="750" dirty="0">
              <a:solidFill>
                <a:schemeClr val="bg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9464163" y="4370305"/>
            <a:ext cx="828000" cy="180000"/>
          </a:xfrm>
          <a:prstGeom prst="rect">
            <a:avLst/>
          </a:prstGeom>
          <a:solidFill>
            <a:srgbClr val="FAB9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latin typeface="Lucida Sans Techem" panose="020B0602040502020204" pitchFamily="34" charset="0"/>
              </a:rPr>
              <a:t>250 | 185 | 77</a:t>
            </a:r>
            <a:endParaRPr lang="en-GB" sz="750" dirty="0"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 baseline="0">
                <a:latin typeface="Lucida Sans Techem" panose="020B0602040502020204" pitchFamily="34" charset="0"/>
              </a:rPr>
              <a:t>49 </a:t>
            </a:r>
            <a:r>
              <a:rPr lang="en-GB" sz="750">
                <a:latin typeface="Lucida Sans Techem" panose="020B0602040502020204" pitchFamily="34" charset="0"/>
              </a:rPr>
              <a:t>| 94 | 115</a:t>
            </a:r>
            <a:endParaRPr lang="en-GB" sz="750" dirty="0">
              <a:latin typeface="Lucida Sans Techem" panose="020B0602040502020204" pitchFamily="34" charset="0"/>
            </a:endParaRPr>
          </a:p>
        </p:txBody>
      </p:sp>
      <p:sp>
        <p:nvSpPr>
          <p:cNvPr id="62" name="Rechteck 61"/>
          <p:cNvSpPr/>
          <p:nvPr userDrawn="1"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101 | 196 | 211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141 |</a:t>
            </a: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 171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 | 133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4" name="Rechteck 63"/>
          <p:cNvSpPr/>
          <p:nvPr userDrawn="1"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52 | 204 | 127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5" name="Rechteck 64"/>
          <p:cNvSpPr/>
          <p:nvPr userDrawn="1"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103 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| 134 | 149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66" name="Rechteck 65"/>
          <p:cNvSpPr/>
          <p:nvPr userDrawn="1"/>
        </p:nvSpPr>
        <p:spPr bwMode="gray">
          <a:xfrm>
            <a:off x="9464163" y="2683750"/>
            <a:ext cx="828000" cy="180000"/>
          </a:xfrm>
          <a:prstGeom prst="rect">
            <a:avLst/>
          </a:prstGeom>
          <a:solidFill>
            <a:srgbClr val="9AD4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154 | 212 | 223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7" name="Rechteck 66"/>
          <p:cNvSpPr/>
          <p:nvPr userDrawn="1"/>
        </p:nvSpPr>
        <p:spPr bwMode="gray">
          <a:xfrm>
            <a:off x="9464163" y="3723245"/>
            <a:ext cx="828000" cy="180000"/>
          </a:xfrm>
          <a:prstGeom prst="rect">
            <a:avLst/>
          </a:prstGeom>
          <a:solidFill>
            <a:srgbClr val="B3C7A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179 |</a:t>
            </a: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 199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 | 173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8" name="Rechteck 67"/>
          <p:cNvSpPr/>
          <p:nvPr userDrawn="1"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54 | 221 | 171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9" name="Rechteck 68"/>
          <p:cNvSpPr/>
          <p:nvPr userDrawn="1"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153 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| 174 | 184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70" name="Rechteck 69"/>
          <p:cNvSpPr/>
          <p:nvPr userDrawn="1"/>
        </p:nvSpPr>
        <p:spPr bwMode="gray">
          <a:xfrm>
            <a:off x="9464163" y="2881750"/>
            <a:ext cx="828000" cy="180000"/>
          </a:xfrm>
          <a:prstGeom prst="rect">
            <a:avLst/>
          </a:prstGeom>
          <a:solidFill>
            <a:srgbClr val="CDE8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05 | 232 | 237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1" name="Rechteck 70"/>
          <p:cNvSpPr/>
          <p:nvPr userDrawn="1"/>
        </p:nvSpPr>
        <p:spPr bwMode="gray">
          <a:xfrm>
            <a:off x="9464163" y="3925352"/>
            <a:ext cx="828000" cy="180000"/>
          </a:xfrm>
          <a:prstGeom prst="rect">
            <a:avLst/>
          </a:prstGeom>
          <a:solidFill>
            <a:srgbClr val="D9E3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17 |</a:t>
            </a: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 227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 | 214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2" name="Rechteck 71"/>
          <p:cNvSpPr/>
          <p:nvPr userDrawn="1"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254 | 238 | 215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3" name="Rechteck 72"/>
          <p:cNvSpPr/>
          <p:nvPr userDrawn="1"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750" baseline="0">
                <a:solidFill>
                  <a:schemeClr val="tx1"/>
                </a:solidFill>
                <a:latin typeface="Lucida Sans Techem" panose="020B0602040502020204" pitchFamily="34" charset="0"/>
              </a:rPr>
              <a:t>204 </a:t>
            </a:r>
            <a:r>
              <a:rPr lang="en-GB" sz="750">
                <a:solidFill>
                  <a:schemeClr val="tx1"/>
                </a:solidFill>
                <a:latin typeface="Lucida Sans Techem" panose="020B0602040502020204" pitchFamily="34" charset="0"/>
              </a:rPr>
              <a:t>| 215 | 219</a:t>
            </a:r>
            <a:endParaRPr lang="en-GB" sz="75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729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25" r:id="rId2"/>
    <p:sldLayoutId id="2147483723" r:id="rId3"/>
    <p:sldLayoutId id="2147483726" r:id="rId4"/>
    <p:sldLayoutId id="2147483711" r:id="rId5"/>
    <p:sldLayoutId id="2147483728" r:id="rId6"/>
    <p:sldLayoutId id="2147483731" r:id="rId7"/>
    <p:sldLayoutId id="2147483691" r:id="rId8"/>
    <p:sldLayoutId id="2147483727" r:id="rId9"/>
    <p:sldLayoutId id="2147483690" r:id="rId10"/>
    <p:sldLayoutId id="2147483689" r:id="rId11"/>
    <p:sldLayoutId id="2147483730" r:id="rId12"/>
    <p:sldLayoutId id="2147483692" r:id="rId13"/>
    <p:sldLayoutId id="2147483773" r:id="rId14"/>
    <p:sldLayoutId id="2147483774" r:id="rId15"/>
  </p:sldLayoutIdLst>
  <p:hf hdr="0" dt="0"/>
  <p:txStyles>
    <p:titleStyle>
      <a:lvl1pPr algn="l" defTabSz="360000" rtl="0" eaLnBrk="1" latinLnBrk="0" hangingPunct="1">
        <a:lnSpc>
          <a:spcPct val="115000"/>
        </a:lnSpc>
        <a:spcBef>
          <a:spcPct val="0"/>
        </a:spcBef>
        <a:buNone/>
        <a:defRPr sz="1600" kern="1200">
          <a:solidFill>
            <a:srgbClr val="E20613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-180000" algn="l" defTabSz="360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361950" indent="-180000" algn="l" defTabSz="360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715963" indent="-180000" algn="l" defTabSz="360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1077913" indent="-180000" algn="l" defTabSz="360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1433513" indent="-180000" algn="l" defTabSz="360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1">
          <p15:clr>
            <a:srgbClr val="F26B43"/>
          </p15:clr>
        </p15:guide>
        <p15:guide id="2" pos="2923">
          <p15:clr>
            <a:srgbClr val="F26B43"/>
          </p15:clr>
        </p15:guide>
        <p15:guide id="3" orient="horz" pos="985" userDrawn="1">
          <p15:clr>
            <a:srgbClr val="F26B43"/>
          </p15:clr>
        </p15:guide>
        <p15:guide id="4" pos="286">
          <p15:clr>
            <a:srgbClr val="F26B43"/>
          </p15:clr>
        </p15:guide>
        <p15:guide id="5" pos="1078">
          <p15:clr>
            <a:srgbClr val="F26B43"/>
          </p15:clr>
        </p15:guide>
        <p15:guide id="6" pos="1169">
          <p15:clr>
            <a:srgbClr val="F26B43"/>
          </p15:clr>
        </p15:guide>
        <p15:guide id="7" pos="2048">
          <p15:clr>
            <a:srgbClr val="F26B43"/>
          </p15:clr>
        </p15:guide>
        <p15:guide id="8" pos="1957">
          <p15:clr>
            <a:srgbClr val="F26B43"/>
          </p15:clr>
        </p15:guide>
        <p15:guide id="9" pos="2832">
          <p15:clr>
            <a:srgbClr val="F26B43"/>
          </p15:clr>
        </p15:guide>
        <p15:guide id="10" pos="3808">
          <p15:clr>
            <a:srgbClr val="F26B43"/>
          </p15:clr>
        </p15:guide>
        <p15:guide id="11" pos="3715">
          <p15:clr>
            <a:srgbClr val="F26B43"/>
          </p15:clr>
        </p15:guide>
        <p15:guide id="12" pos="5474">
          <p15:clr>
            <a:srgbClr val="F26B43"/>
          </p15:clr>
        </p15:guide>
        <p15:guide id="13" pos="4590">
          <p15:clr>
            <a:srgbClr val="F26B43"/>
          </p15:clr>
        </p15:guide>
        <p15:guide id="14" pos="4681">
          <p15:clr>
            <a:srgbClr val="F26B43"/>
          </p15:clr>
        </p15:guide>
        <p15:guide id="15" orient="horz" pos="283">
          <p15:clr>
            <a:srgbClr val="F26B43"/>
          </p15:clr>
        </p15:guide>
        <p15:guide id="16" orient="horz" pos="29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EE1AA686-4BCD-4017-803E-1C410217E064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80" name="Object 79" hidden="1">
                        <a:extLst>
                          <a:ext uri="{FF2B5EF4-FFF2-40B4-BE49-F238E27FC236}">
                            <a16:creationId xmlns:a16="http://schemas.microsoft.com/office/drawing/2014/main" id="{EE1AA686-4BCD-4017-803E-1C410217E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467998" y="1563687"/>
            <a:ext cx="8207690" cy="3132137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/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 vert="horz" lIns="91436" tIns="45718" rIns="0" bIns="45718" rtlCol="0" anchor="t" anchorCtr="0"/>
          <a:lstStyle>
            <a:lvl1pPr algn="r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pPr defTabSz="685766"/>
            <a:fld id="{5F13BD80-C5E1-4830-84AB-68A4F116603F}" type="slidenum">
              <a:rPr lang="en-GB" smtClean="0">
                <a:solidFill>
                  <a:srgbClr val="000000"/>
                </a:solidFill>
              </a:rPr>
              <a:pPr defTabSz="685766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6" name="Gerader Verbinder 15"/>
          <p:cNvCxnSpPr/>
          <p:nvPr/>
        </p:nvCxnSpPr>
        <p:spPr bwMode="gray">
          <a:xfrm>
            <a:off x="467544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67997" y="828000"/>
            <a:ext cx="8207692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3" name="Rechteck 12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66"/>
              <a:endParaRPr lang="de-DE" sz="1400" dirty="0">
                <a:solidFill>
                  <a:srgbClr val="FFFFFF"/>
                </a:solidFill>
              </a:endParaRPr>
            </a:p>
          </p:txBody>
        </p:sp>
        <p:pic>
          <p:nvPicPr>
            <p:cNvPr id="17" name="Logo"/>
            <p:cNvPicPr>
              <a:picLocks noChangeAspect="1"/>
            </p:cNvPicPr>
            <p:nvPr userDrawn="1"/>
          </p:nvPicPr>
          <p:blipFill rotWithShape="1"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-12"/>
            <a:stretch/>
          </p:blipFill>
          <p:spPr bwMode="gray">
            <a:xfrm>
              <a:off x="742266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27" name="Gerade Verbindung 25"/>
          <p:cNvCxnSpPr/>
          <p:nvPr/>
        </p:nvCxnSpPr>
        <p:spPr bwMode="gray">
          <a:xfrm rot="5400000" flipH="1">
            <a:off x="372294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6"/>
          <p:cNvCxnSpPr/>
          <p:nvPr/>
        </p:nvCxnSpPr>
        <p:spPr bwMode="gray">
          <a:xfrm rot="5400000" flipH="1">
            <a:off x="4403949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7"/>
          <p:cNvCxnSpPr/>
          <p:nvPr/>
        </p:nvCxnSpPr>
        <p:spPr bwMode="gray">
          <a:xfrm rot="5400000" flipH="1">
            <a:off x="4548758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8"/>
          <p:cNvCxnSpPr/>
          <p:nvPr/>
        </p:nvCxnSpPr>
        <p:spPr bwMode="gray">
          <a:xfrm rot="5400000" flipH="1">
            <a:off x="858120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unde Klammer links 30"/>
          <p:cNvSpPr/>
          <p:nvPr/>
        </p:nvSpPr>
        <p:spPr bwMode="gray">
          <a:xfrm>
            <a:off x="-571018" y="808038"/>
            <a:ext cx="466407" cy="647700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2" name="Runde Klammer links 31"/>
          <p:cNvSpPr/>
          <p:nvPr/>
        </p:nvSpPr>
        <p:spPr bwMode="gray">
          <a:xfrm>
            <a:off x="-571018" y="4840288"/>
            <a:ext cx="466407" cy="188912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3" name="Freihandform 32"/>
          <p:cNvSpPr/>
          <p:nvPr/>
        </p:nvSpPr>
        <p:spPr bwMode="gray">
          <a:xfrm>
            <a:off x="-571018" y="1559565"/>
            <a:ext cx="466407" cy="3136260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7" tIns="35998" rIns="71997" bIns="359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/>
            <a:endParaRPr lang="en-GB" sz="10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Gerade Verbindung 25"/>
          <p:cNvCxnSpPr/>
          <p:nvPr/>
        </p:nvCxnSpPr>
        <p:spPr bwMode="gray">
          <a:xfrm rot="5400000" flipH="1">
            <a:off x="369016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26"/>
          <p:cNvCxnSpPr/>
          <p:nvPr/>
        </p:nvCxnSpPr>
        <p:spPr bwMode="gray">
          <a:xfrm rot="5400000" flipH="1">
            <a:off x="4404742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27"/>
          <p:cNvCxnSpPr/>
          <p:nvPr/>
        </p:nvCxnSpPr>
        <p:spPr bwMode="gray">
          <a:xfrm rot="5400000" flipH="1">
            <a:off x="454875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28"/>
          <p:cNvCxnSpPr/>
          <p:nvPr/>
        </p:nvCxnSpPr>
        <p:spPr bwMode="gray">
          <a:xfrm rot="5400000" flipH="1">
            <a:off x="8581206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15"/>
          <p:cNvCxnSpPr/>
          <p:nvPr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19"/>
          <p:cNvCxnSpPr/>
          <p:nvPr/>
        </p:nvCxnSpPr>
        <p:spPr bwMode="gray">
          <a:xfrm flipH="1">
            <a:off x="9180000" y="469598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19"/>
          <p:cNvCxnSpPr/>
          <p:nvPr/>
        </p:nvCxnSpPr>
        <p:spPr bwMode="gray">
          <a:xfrm flipH="1">
            <a:off x="9180000" y="4840002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19"/>
          <p:cNvCxnSpPr/>
          <p:nvPr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6"/>
          <p:cNvCxnSpPr/>
          <p:nvPr/>
        </p:nvCxnSpPr>
        <p:spPr bwMode="gray">
          <a:xfrm flipH="1">
            <a:off x="9180000" y="145562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6"/>
          <p:cNvCxnSpPr/>
          <p:nvPr/>
        </p:nvCxnSpPr>
        <p:spPr bwMode="gray">
          <a:xfrm flipH="1">
            <a:off x="9180000" y="80755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unde Klammer links 43"/>
          <p:cNvSpPr/>
          <p:nvPr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45" name="Textplatzhalter 11"/>
          <p:cNvSpPr txBox="1">
            <a:spLocks/>
          </p:cNvSpPr>
          <p:nvPr/>
        </p:nvSpPr>
        <p:spPr bwMode="gray">
          <a:xfrm>
            <a:off x="-512675" y="4864763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Fußzeile / Footer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6" name="Textplatzhalter 11"/>
          <p:cNvSpPr txBox="1">
            <a:spLocks/>
          </p:cNvSpPr>
          <p:nvPr/>
        </p:nvSpPr>
        <p:spPr bwMode="gray">
          <a:xfrm>
            <a:off x="-509734" y="315753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Agendapunkt / </a:t>
            </a:r>
            <a:br>
              <a:rPr lang="en-GB" sz="500">
                <a:solidFill>
                  <a:srgbClr val="000000"/>
                </a:solidFill>
              </a:rPr>
            </a:br>
            <a:r>
              <a:rPr lang="en-GB" sz="500">
                <a:solidFill>
                  <a:srgbClr val="000000"/>
                </a:solidFill>
              </a:rPr>
              <a:t>Agenda item</a:t>
            </a:r>
          </a:p>
          <a:p>
            <a:pPr defTabSz="685766"/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7" name="Textplatzhalter 11"/>
          <p:cNvSpPr txBox="1">
            <a:spLocks/>
          </p:cNvSpPr>
          <p:nvPr/>
        </p:nvSpPr>
        <p:spPr bwMode="gray">
          <a:xfrm>
            <a:off x="-512675" y="1026527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Titel / Title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8" name="Textplatzhalter 11"/>
          <p:cNvSpPr txBox="1">
            <a:spLocks/>
          </p:cNvSpPr>
          <p:nvPr/>
        </p:nvSpPr>
        <p:spPr bwMode="gray">
          <a:xfrm>
            <a:off x="-509733" y="1678912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Inhalt / Content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9" name="Rechteck 48"/>
          <p:cNvSpPr/>
          <p:nvPr/>
        </p:nvSpPr>
        <p:spPr bwMode="gray">
          <a:xfrm>
            <a:off x="9464163" y="-830"/>
            <a:ext cx="828000" cy="180000"/>
          </a:xfrm>
          <a:prstGeom prst="rect">
            <a:avLst/>
          </a:prstGeom>
          <a:solidFill>
            <a:srgbClr val="E2061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226 | 6 | 19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9464163" y="197170"/>
            <a:ext cx="828000" cy="18000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70 | 130 | 160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1" name="Rechteck 50"/>
          <p:cNvSpPr/>
          <p:nvPr/>
        </p:nvSpPr>
        <p:spPr bwMode="gray">
          <a:xfrm>
            <a:off x="9464163" y="792044"/>
            <a:ext cx="828000" cy="180000"/>
          </a:xfrm>
          <a:prstGeom prst="rect">
            <a:avLst/>
          </a:prstGeom>
          <a:solidFill>
            <a:srgbClr val="E5E5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229 | 229 | 22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9464163" y="589613"/>
            <a:ext cx="828000" cy="180000"/>
          </a:xfrm>
          <a:prstGeom prst="rect">
            <a:avLst/>
          </a:prstGeom>
          <a:solidFill>
            <a:srgbClr val="9999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53 | 153 | 153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3" name="Rechteck 52"/>
          <p:cNvSpPr/>
          <p:nvPr/>
        </p:nvSpPr>
        <p:spPr bwMode="gray">
          <a:xfrm>
            <a:off x="9464163" y="393464"/>
            <a:ext cx="828000" cy="180000"/>
          </a:xfrm>
          <a:prstGeom prst="rect">
            <a:avLst/>
          </a:prstGeom>
          <a:solidFill>
            <a:srgbClr val="6666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102 | 102 | 102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9464163" y="2089179"/>
            <a:ext cx="828000" cy="180000"/>
          </a:xfrm>
          <a:prstGeom prst="rect">
            <a:avLst/>
          </a:prstGeom>
          <a:solidFill>
            <a:srgbClr val="009C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0 | 156 | 180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9464163" y="3129245"/>
            <a:ext cx="828000" cy="180000"/>
          </a:xfrm>
          <a:prstGeom prst="rect">
            <a:avLst/>
          </a:prstGeom>
          <a:solidFill>
            <a:srgbClr val="4272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66 | 114 | 5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9464163" y="4170691"/>
            <a:ext cx="828000" cy="180000"/>
          </a:xfrm>
          <a:prstGeom prst="rect">
            <a:avLst/>
          </a:prstGeom>
          <a:solidFill>
            <a:srgbClr val="F7A70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247 | 167 | 1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7" name="Rechteck 56"/>
          <p:cNvSpPr/>
          <p:nvPr/>
        </p:nvSpPr>
        <p:spPr bwMode="gray">
          <a:xfrm>
            <a:off x="9464163" y="1039664"/>
            <a:ext cx="828000" cy="180000"/>
          </a:xfrm>
          <a:prstGeom prst="rect">
            <a:avLst/>
          </a:prstGeom>
          <a:solidFill>
            <a:srgbClr val="00354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0 | 53 | 79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9464163" y="2287179"/>
            <a:ext cx="828000" cy="180000"/>
          </a:xfrm>
          <a:prstGeom prst="rect">
            <a:avLst/>
          </a:prstGeom>
          <a:solidFill>
            <a:srgbClr val="2DB0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45 | 176 | 195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9" name="Rechteck 58"/>
          <p:cNvSpPr/>
          <p:nvPr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104 | 143 | 92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9464163" y="4370305"/>
            <a:ext cx="828000" cy="180000"/>
          </a:xfrm>
          <a:prstGeom prst="rect">
            <a:avLst/>
          </a:prstGeom>
          <a:solidFill>
            <a:srgbClr val="FAB9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250 | 185 | 77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1" name="Rechteck 60"/>
          <p:cNvSpPr/>
          <p:nvPr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49 | 94 | 115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62" name="Rechteck 61"/>
          <p:cNvSpPr/>
          <p:nvPr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01 | 196 | 21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3" name="Rechteck 62"/>
          <p:cNvSpPr/>
          <p:nvPr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41 | 171 | 13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4" name="Rechteck 63"/>
          <p:cNvSpPr/>
          <p:nvPr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2 | 204 | 12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5" name="Rechteck 64"/>
          <p:cNvSpPr/>
          <p:nvPr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03 | 134 | 14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66" name="Rechteck 65"/>
          <p:cNvSpPr/>
          <p:nvPr/>
        </p:nvSpPr>
        <p:spPr bwMode="gray">
          <a:xfrm>
            <a:off x="9464163" y="2683750"/>
            <a:ext cx="828000" cy="180000"/>
          </a:xfrm>
          <a:prstGeom prst="rect">
            <a:avLst/>
          </a:prstGeom>
          <a:solidFill>
            <a:srgbClr val="9AD4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54 | 212 | 22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7" name="Rechteck 66"/>
          <p:cNvSpPr/>
          <p:nvPr/>
        </p:nvSpPr>
        <p:spPr bwMode="gray">
          <a:xfrm>
            <a:off x="9464163" y="3723245"/>
            <a:ext cx="828000" cy="180000"/>
          </a:xfrm>
          <a:prstGeom prst="rect">
            <a:avLst/>
          </a:prstGeom>
          <a:solidFill>
            <a:srgbClr val="B3C7A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79 | 199 | 17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4 | 221 | 17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9" name="Rechteck 68"/>
          <p:cNvSpPr/>
          <p:nvPr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53 | 174 | 184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70" name="Rechteck 69"/>
          <p:cNvSpPr/>
          <p:nvPr/>
        </p:nvSpPr>
        <p:spPr bwMode="gray">
          <a:xfrm>
            <a:off x="9464163" y="2881750"/>
            <a:ext cx="828000" cy="180000"/>
          </a:xfrm>
          <a:prstGeom prst="rect">
            <a:avLst/>
          </a:prstGeom>
          <a:solidFill>
            <a:srgbClr val="CDE8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05 | 232 | 23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1" name="Rechteck 70"/>
          <p:cNvSpPr/>
          <p:nvPr/>
        </p:nvSpPr>
        <p:spPr bwMode="gray">
          <a:xfrm>
            <a:off x="9464163" y="3925352"/>
            <a:ext cx="828000" cy="180000"/>
          </a:xfrm>
          <a:prstGeom prst="rect">
            <a:avLst/>
          </a:prstGeom>
          <a:solidFill>
            <a:srgbClr val="D9E3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17 | 227 | 214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4 | 238 | 215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3" name="Rechteck 72"/>
          <p:cNvSpPr/>
          <p:nvPr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204 | 215 | 21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pPr defTabSz="685766"/>
            <a:r>
              <a:rPr lang="en-US">
                <a:solidFill>
                  <a:srgbClr val="000000"/>
                </a:solidFill>
              </a:rPr>
              <a:t>TECHEM – THE SERVICE PARTNER FOR GREEN AND SMART BUILDING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VCT_Marker_ID_3" hidden="1"/>
          <p:cNvSpPr/>
          <p:nvPr>
            <p:custDataLst>
              <p:tags r:id="rId23"/>
            </p:custDataLst>
          </p:nvPr>
        </p:nvSpPr>
        <p:spPr bwMode="gray">
          <a:xfrm>
            <a:off x="1270002" y="127002"/>
            <a:ext cx="127000" cy="127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la-Latn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963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</p:sldLayoutIdLst>
  <p:hf hdr="0" dt="0"/>
  <p:txStyles>
    <p:titleStyle>
      <a:lvl1pPr algn="l" defTabSz="359982" rtl="0" eaLnBrk="1" latinLnBrk="0" hangingPunct="1">
        <a:lnSpc>
          <a:spcPct val="115000"/>
        </a:lnSpc>
        <a:spcBef>
          <a:spcPct val="0"/>
        </a:spcBef>
        <a:buNone/>
        <a:defRPr sz="1600" kern="1200">
          <a:solidFill>
            <a:srgbClr val="E20613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17780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361950" indent="-18415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5397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7175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925">
          <p15:clr>
            <a:srgbClr val="F26B43"/>
          </p15:clr>
        </p15:guide>
        <p15:guide id="3" orient="horz" pos="1053">
          <p15:clr>
            <a:srgbClr val="F26B43"/>
          </p15:clr>
        </p15:guide>
        <p15:guide id="4" pos="295">
          <p15:clr>
            <a:srgbClr val="F26B43"/>
          </p15:clr>
        </p15:guide>
        <p15:guide id="5" pos="1078">
          <p15:clr>
            <a:srgbClr val="F26B43"/>
          </p15:clr>
        </p15:guide>
        <p15:guide id="6" pos="1169">
          <p15:clr>
            <a:srgbClr val="F26B43"/>
          </p15:clr>
        </p15:guide>
        <p15:guide id="7" pos="2048">
          <p15:clr>
            <a:srgbClr val="F26B43"/>
          </p15:clr>
        </p15:guide>
        <p15:guide id="8" pos="1957">
          <p15:clr>
            <a:srgbClr val="F26B43"/>
          </p15:clr>
        </p15:guide>
        <p15:guide id="9" pos="2832">
          <p15:clr>
            <a:srgbClr val="F26B43"/>
          </p15:clr>
        </p15:guide>
        <p15:guide id="10" pos="3808">
          <p15:clr>
            <a:srgbClr val="F26B43"/>
          </p15:clr>
        </p15:guide>
        <p15:guide id="11" pos="3715">
          <p15:clr>
            <a:srgbClr val="F26B43"/>
          </p15:clr>
        </p15:guide>
        <p15:guide id="12" pos="5465">
          <p15:clr>
            <a:srgbClr val="F26B43"/>
          </p15:clr>
        </p15:guide>
        <p15:guide id="13" pos="4590">
          <p15:clr>
            <a:srgbClr val="F26B43"/>
          </p15:clr>
        </p15:guide>
        <p15:guide id="14" pos="4681">
          <p15:clr>
            <a:srgbClr val="F26B43"/>
          </p15:clr>
        </p15:guide>
        <p15:guide id="15" orient="horz" pos="283">
          <p15:clr>
            <a:srgbClr val="F26B43"/>
          </p15:clr>
        </p15:guide>
        <p15:guide id="16" orient="horz" pos="295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EE1AA686-4BCD-4017-803E-1C410217E064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2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80" name="Object 79" hidden="1">
                        <a:extLst>
                          <a:ext uri="{FF2B5EF4-FFF2-40B4-BE49-F238E27FC236}">
                            <a16:creationId xmlns:a16="http://schemas.microsoft.com/office/drawing/2014/main" id="{EE1AA686-4BCD-4017-803E-1C410217E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467998" y="1563687"/>
            <a:ext cx="8207690" cy="3132137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/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67997" y="828000"/>
            <a:ext cx="8207692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cxnSp>
        <p:nvCxnSpPr>
          <p:cNvPr id="27" name="Gerade Verbindung 25"/>
          <p:cNvCxnSpPr/>
          <p:nvPr/>
        </p:nvCxnSpPr>
        <p:spPr bwMode="gray">
          <a:xfrm rot="5400000" flipH="1">
            <a:off x="372294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6"/>
          <p:cNvCxnSpPr/>
          <p:nvPr/>
        </p:nvCxnSpPr>
        <p:spPr bwMode="gray">
          <a:xfrm rot="5400000" flipH="1">
            <a:off x="4403949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7"/>
          <p:cNvCxnSpPr/>
          <p:nvPr/>
        </p:nvCxnSpPr>
        <p:spPr bwMode="gray">
          <a:xfrm rot="5400000" flipH="1">
            <a:off x="4548758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8"/>
          <p:cNvCxnSpPr/>
          <p:nvPr/>
        </p:nvCxnSpPr>
        <p:spPr bwMode="gray">
          <a:xfrm rot="5400000" flipH="1">
            <a:off x="858120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unde Klammer links 30"/>
          <p:cNvSpPr/>
          <p:nvPr/>
        </p:nvSpPr>
        <p:spPr bwMode="gray">
          <a:xfrm>
            <a:off x="-571018" y="808038"/>
            <a:ext cx="466407" cy="647700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2" name="Runde Klammer links 31"/>
          <p:cNvSpPr/>
          <p:nvPr/>
        </p:nvSpPr>
        <p:spPr bwMode="gray">
          <a:xfrm>
            <a:off x="-571018" y="4840288"/>
            <a:ext cx="466407" cy="188912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3" name="Freihandform 32"/>
          <p:cNvSpPr/>
          <p:nvPr/>
        </p:nvSpPr>
        <p:spPr bwMode="gray">
          <a:xfrm>
            <a:off x="-571018" y="1559565"/>
            <a:ext cx="466407" cy="3136260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7" tIns="35998" rIns="71997" bIns="359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/>
            <a:endParaRPr lang="en-GB" sz="10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Gerade Verbindung 25"/>
          <p:cNvCxnSpPr/>
          <p:nvPr/>
        </p:nvCxnSpPr>
        <p:spPr bwMode="gray">
          <a:xfrm rot="5400000" flipH="1">
            <a:off x="369016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26"/>
          <p:cNvCxnSpPr/>
          <p:nvPr/>
        </p:nvCxnSpPr>
        <p:spPr bwMode="gray">
          <a:xfrm rot="5400000" flipH="1">
            <a:off x="4404742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27"/>
          <p:cNvCxnSpPr/>
          <p:nvPr/>
        </p:nvCxnSpPr>
        <p:spPr bwMode="gray">
          <a:xfrm rot="5400000" flipH="1">
            <a:off x="454875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28"/>
          <p:cNvCxnSpPr/>
          <p:nvPr/>
        </p:nvCxnSpPr>
        <p:spPr bwMode="gray">
          <a:xfrm rot="5400000" flipH="1">
            <a:off x="8581206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15"/>
          <p:cNvCxnSpPr/>
          <p:nvPr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19"/>
          <p:cNvCxnSpPr/>
          <p:nvPr/>
        </p:nvCxnSpPr>
        <p:spPr bwMode="gray">
          <a:xfrm flipH="1">
            <a:off x="9180000" y="469598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19"/>
          <p:cNvCxnSpPr/>
          <p:nvPr/>
        </p:nvCxnSpPr>
        <p:spPr bwMode="gray">
          <a:xfrm flipH="1">
            <a:off x="9180000" y="4840002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19"/>
          <p:cNvCxnSpPr/>
          <p:nvPr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6"/>
          <p:cNvCxnSpPr/>
          <p:nvPr/>
        </p:nvCxnSpPr>
        <p:spPr bwMode="gray">
          <a:xfrm flipH="1">
            <a:off x="9180000" y="145562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6"/>
          <p:cNvCxnSpPr/>
          <p:nvPr/>
        </p:nvCxnSpPr>
        <p:spPr bwMode="gray">
          <a:xfrm flipH="1">
            <a:off x="9180000" y="80755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unde Klammer links 43"/>
          <p:cNvSpPr/>
          <p:nvPr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45" name="Textplatzhalter 11"/>
          <p:cNvSpPr txBox="1">
            <a:spLocks/>
          </p:cNvSpPr>
          <p:nvPr/>
        </p:nvSpPr>
        <p:spPr bwMode="gray">
          <a:xfrm>
            <a:off x="-512675" y="4864763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Fußzeile / Footer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6" name="Textplatzhalter 11"/>
          <p:cNvSpPr txBox="1">
            <a:spLocks/>
          </p:cNvSpPr>
          <p:nvPr/>
        </p:nvSpPr>
        <p:spPr bwMode="gray">
          <a:xfrm>
            <a:off x="-509734" y="315753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Agendapunkt / </a:t>
            </a:r>
            <a:br>
              <a:rPr lang="en-GB" sz="500">
                <a:solidFill>
                  <a:srgbClr val="000000"/>
                </a:solidFill>
              </a:rPr>
            </a:br>
            <a:r>
              <a:rPr lang="en-GB" sz="500">
                <a:solidFill>
                  <a:srgbClr val="000000"/>
                </a:solidFill>
              </a:rPr>
              <a:t>Agenda item</a:t>
            </a:r>
          </a:p>
          <a:p>
            <a:pPr defTabSz="685766"/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7" name="Textplatzhalter 11"/>
          <p:cNvSpPr txBox="1">
            <a:spLocks/>
          </p:cNvSpPr>
          <p:nvPr/>
        </p:nvSpPr>
        <p:spPr bwMode="gray">
          <a:xfrm>
            <a:off x="-512675" y="1026527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Titel / Title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8" name="Textplatzhalter 11"/>
          <p:cNvSpPr txBox="1">
            <a:spLocks/>
          </p:cNvSpPr>
          <p:nvPr/>
        </p:nvSpPr>
        <p:spPr bwMode="gray">
          <a:xfrm>
            <a:off x="-509733" y="1678912"/>
            <a:ext cx="459714" cy="147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66"/>
            <a:r>
              <a:rPr lang="en-GB" sz="500">
                <a:solidFill>
                  <a:srgbClr val="000000"/>
                </a:solidFill>
              </a:rPr>
              <a:t>Inhalt / Content</a:t>
            </a:r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9" name="Rechteck 48"/>
          <p:cNvSpPr/>
          <p:nvPr/>
        </p:nvSpPr>
        <p:spPr bwMode="gray">
          <a:xfrm>
            <a:off x="9464163" y="-830"/>
            <a:ext cx="828000" cy="180000"/>
          </a:xfrm>
          <a:prstGeom prst="rect">
            <a:avLst/>
          </a:prstGeom>
          <a:solidFill>
            <a:srgbClr val="E2061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226 | 6 | 19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9464163" y="197170"/>
            <a:ext cx="828000" cy="18000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70 | 130 | 160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1" name="Rechteck 50"/>
          <p:cNvSpPr/>
          <p:nvPr/>
        </p:nvSpPr>
        <p:spPr bwMode="gray">
          <a:xfrm>
            <a:off x="9464163" y="792044"/>
            <a:ext cx="828000" cy="180000"/>
          </a:xfrm>
          <a:prstGeom prst="rect">
            <a:avLst/>
          </a:prstGeom>
          <a:solidFill>
            <a:srgbClr val="E5E5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229 | 229 | 22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2" name="Rechteck 51"/>
          <p:cNvSpPr/>
          <p:nvPr/>
        </p:nvSpPr>
        <p:spPr bwMode="gray">
          <a:xfrm>
            <a:off x="9464163" y="589613"/>
            <a:ext cx="828000" cy="180000"/>
          </a:xfrm>
          <a:prstGeom prst="rect">
            <a:avLst/>
          </a:prstGeom>
          <a:solidFill>
            <a:srgbClr val="9999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53 | 153 | 153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53" name="Rechteck 52"/>
          <p:cNvSpPr/>
          <p:nvPr/>
        </p:nvSpPr>
        <p:spPr bwMode="gray">
          <a:xfrm>
            <a:off x="9464163" y="393464"/>
            <a:ext cx="828000" cy="180000"/>
          </a:xfrm>
          <a:prstGeom prst="rect">
            <a:avLst/>
          </a:prstGeom>
          <a:solidFill>
            <a:srgbClr val="6666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102 | 102 | 102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9464163" y="2089179"/>
            <a:ext cx="828000" cy="180000"/>
          </a:xfrm>
          <a:prstGeom prst="rect">
            <a:avLst/>
          </a:prstGeom>
          <a:solidFill>
            <a:srgbClr val="009C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0 | 156 | 180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9464163" y="3129245"/>
            <a:ext cx="828000" cy="180000"/>
          </a:xfrm>
          <a:prstGeom prst="rect">
            <a:avLst/>
          </a:prstGeom>
          <a:solidFill>
            <a:srgbClr val="4272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66 | 114 | 5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9464163" y="4170691"/>
            <a:ext cx="828000" cy="180000"/>
          </a:xfrm>
          <a:prstGeom prst="rect">
            <a:avLst/>
          </a:prstGeom>
          <a:solidFill>
            <a:srgbClr val="F7A70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247 | 167 | 1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7" name="Rechteck 56"/>
          <p:cNvSpPr/>
          <p:nvPr/>
        </p:nvSpPr>
        <p:spPr bwMode="gray">
          <a:xfrm>
            <a:off x="9464163" y="1039664"/>
            <a:ext cx="828000" cy="180000"/>
          </a:xfrm>
          <a:prstGeom prst="rect">
            <a:avLst/>
          </a:prstGeom>
          <a:solidFill>
            <a:srgbClr val="00354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0 | 53 | 79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9464163" y="2287179"/>
            <a:ext cx="828000" cy="180000"/>
          </a:xfrm>
          <a:prstGeom prst="rect">
            <a:avLst/>
          </a:prstGeom>
          <a:solidFill>
            <a:srgbClr val="2DB0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45 | 176 | 195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9" name="Rechteck 58"/>
          <p:cNvSpPr/>
          <p:nvPr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104 | 143 | 92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9464163" y="4370305"/>
            <a:ext cx="828000" cy="180000"/>
          </a:xfrm>
          <a:prstGeom prst="rect">
            <a:avLst/>
          </a:prstGeom>
          <a:solidFill>
            <a:srgbClr val="FAB9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FFFFFF"/>
                </a:solidFill>
              </a:rPr>
              <a:t>250 | 185 | 77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1" name="Rechteck 60"/>
          <p:cNvSpPr/>
          <p:nvPr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FFFFFF"/>
                </a:solidFill>
              </a:rPr>
              <a:t>49 | 94 | 115</a:t>
            </a:r>
            <a:endParaRPr lang="en-GB" sz="800" dirty="0">
              <a:solidFill>
                <a:srgbClr val="FFFFFF"/>
              </a:solidFill>
            </a:endParaRPr>
          </a:p>
        </p:txBody>
      </p:sp>
      <p:sp>
        <p:nvSpPr>
          <p:cNvPr id="62" name="Rechteck 61"/>
          <p:cNvSpPr/>
          <p:nvPr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01 | 196 | 21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3" name="Rechteck 62"/>
          <p:cNvSpPr/>
          <p:nvPr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41 | 171 | 13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4" name="Rechteck 63"/>
          <p:cNvSpPr/>
          <p:nvPr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2 | 204 | 12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5" name="Rechteck 64"/>
          <p:cNvSpPr/>
          <p:nvPr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03 | 134 | 14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66" name="Rechteck 65"/>
          <p:cNvSpPr/>
          <p:nvPr/>
        </p:nvSpPr>
        <p:spPr bwMode="gray">
          <a:xfrm>
            <a:off x="9464163" y="2683750"/>
            <a:ext cx="828000" cy="180000"/>
          </a:xfrm>
          <a:prstGeom prst="rect">
            <a:avLst/>
          </a:prstGeom>
          <a:solidFill>
            <a:srgbClr val="9AD4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54 | 212 | 22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7" name="Rechteck 66"/>
          <p:cNvSpPr/>
          <p:nvPr/>
        </p:nvSpPr>
        <p:spPr bwMode="gray">
          <a:xfrm>
            <a:off x="9464163" y="3723245"/>
            <a:ext cx="828000" cy="180000"/>
          </a:xfrm>
          <a:prstGeom prst="rect">
            <a:avLst/>
          </a:prstGeom>
          <a:solidFill>
            <a:srgbClr val="B3C7A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179 | 199 | 17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4 | 221 | 17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9" name="Rechteck 68"/>
          <p:cNvSpPr/>
          <p:nvPr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153 | 174 | 184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70" name="Rechteck 69"/>
          <p:cNvSpPr/>
          <p:nvPr/>
        </p:nvSpPr>
        <p:spPr bwMode="gray">
          <a:xfrm>
            <a:off x="9464163" y="2881750"/>
            <a:ext cx="828000" cy="180000"/>
          </a:xfrm>
          <a:prstGeom prst="rect">
            <a:avLst/>
          </a:prstGeom>
          <a:solidFill>
            <a:srgbClr val="CDE8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05 | 232 | 23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1" name="Rechteck 70"/>
          <p:cNvSpPr/>
          <p:nvPr/>
        </p:nvSpPr>
        <p:spPr bwMode="gray">
          <a:xfrm>
            <a:off x="9464163" y="3925352"/>
            <a:ext cx="828000" cy="180000"/>
          </a:xfrm>
          <a:prstGeom prst="rect">
            <a:avLst/>
          </a:prstGeom>
          <a:solidFill>
            <a:srgbClr val="D9E3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17 | 227 | 214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6">
              <a:lnSpc>
                <a:spcPct val="90000"/>
              </a:lnSpc>
            </a:pPr>
            <a:r>
              <a:rPr lang="en-GB" sz="800">
                <a:solidFill>
                  <a:srgbClr val="000000"/>
                </a:solidFill>
              </a:rPr>
              <a:t>254 | 238 | 215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3" name="Rechteck 72"/>
          <p:cNvSpPr/>
          <p:nvPr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 defTabSz="685766"/>
            <a:r>
              <a:rPr lang="en-GB" sz="800">
                <a:solidFill>
                  <a:srgbClr val="000000"/>
                </a:solidFill>
              </a:rPr>
              <a:t>204 | 215 | 219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3" name="VCT_Marker_ID_3" hidden="1"/>
          <p:cNvSpPr/>
          <p:nvPr>
            <p:custDataLst>
              <p:tags r:id="rId11"/>
            </p:custDataLst>
          </p:nvPr>
        </p:nvSpPr>
        <p:spPr bwMode="gray">
          <a:xfrm>
            <a:off x="1270002" y="127002"/>
            <a:ext cx="127000" cy="127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66"/>
            <a:endParaRPr lang="la-Latn" sz="1400" dirty="0">
              <a:solidFill>
                <a:srgbClr val="FFFFFF"/>
              </a:solidFill>
            </a:endParaRPr>
          </a:p>
        </p:txBody>
      </p:sp>
      <p:sp>
        <p:nvSpPr>
          <p:cNvPr id="87" name="Fußzeilenplatzhalter 1">
            <a:extLst>
              <a:ext uri="{FF2B5EF4-FFF2-40B4-BE49-F238E27FC236}">
                <a16:creationId xmlns:a16="http://schemas.microsoft.com/office/drawing/2014/main" id="{E9A5B2BE-2808-49F8-B4C6-BC54C1A02E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88" name="Foliennummernplatzhalter 4">
            <a:extLst>
              <a:ext uri="{FF2B5EF4-FFF2-40B4-BE49-F238E27FC236}">
                <a16:creationId xmlns:a16="http://schemas.microsoft.com/office/drawing/2014/main" id="{E1EFE043-32EC-40B0-8C49-00D4F435C6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 lIns="0" rIns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5667B66-BAF8-4A91-888B-BB09BE0DAA3D}"/>
              </a:ext>
            </a:extLst>
          </p:cNvPr>
          <p:cNvGrpSpPr/>
          <p:nvPr userDrawn="1"/>
        </p:nvGrpSpPr>
        <p:grpSpPr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92" name="Rechteck 12">
              <a:extLst>
                <a:ext uri="{FF2B5EF4-FFF2-40B4-BE49-F238E27FC236}">
                  <a16:creationId xmlns:a16="http://schemas.microsoft.com/office/drawing/2014/main" id="{AB63774F-9D71-491F-AF76-9EAA7BA754B6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61C9C52B-F65F-4B1E-BAB7-CA0365EC5716}"/>
                </a:ext>
              </a:extLst>
            </p:cNvPr>
            <p:cNvGrpSpPr/>
            <p:nvPr userDrawn="1"/>
          </p:nvGrpSpPr>
          <p:grpSpPr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95" name="Rectangle 5">
                <a:extLst>
                  <a:ext uri="{FF2B5EF4-FFF2-40B4-BE49-F238E27FC236}">
                    <a16:creationId xmlns:a16="http://schemas.microsoft.com/office/drawing/2014/main" id="{3A4A78DD-98A0-4DE6-A414-0E3B93188CB3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7C1D1786-19F0-4EC4-83E0-BBA8D2D1DDB5}"/>
                  </a:ext>
                </a:extLst>
              </p:cNvPr>
              <p:cNvGrpSpPr/>
              <p:nvPr userDrawn="1">
                <p:custDataLst>
                  <p:tags r:id="rId13"/>
                </p:custDataLst>
              </p:nvPr>
            </p:nvGrpSpPr>
            <p:grpSpPr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97" name="Freeform 6">
                  <a:extLst>
                    <a:ext uri="{FF2B5EF4-FFF2-40B4-BE49-F238E27FC236}">
                      <a16:creationId xmlns:a16="http://schemas.microsoft.com/office/drawing/2014/main" id="{74A74CB9-35FE-407D-B89D-BAF4BD53D77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8" name="Freeform 7">
                  <a:extLst>
                    <a:ext uri="{FF2B5EF4-FFF2-40B4-BE49-F238E27FC236}">
                      <a16:creationId xmlns:a16="http://schemas.microsoft.com/office/drawing/2014/main" id="{0C235453-7827-4579-BFEE-442615CC55D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9" name="Freeform 8">
                  <a:extLst>
                    <a:ext uri="{FF2B5EF4-FFF2-40B4-BE49-F238E27FC236}">
                      <a16:creationId xmlns:a16="http://schemas.microsoft.com/office/drawing/2014/main" id="{396D01F1-A0B0-4B18-9AB2-6067143408E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9">
                  <a:extLst>
                    <a:ext uri="{FF2B5EF4-FFF2-40B4-BE49-F238E27FC236}">
                      <a16:creationId xmlns:a16="http://schemas.microsoft.com/office/drawing/2014/main" id="{7FE0117F-2441-427F-BF52-774CEDDF530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1" name="Freeform 10">
                  <a:extLst>
                    <a:ext uri="{FF2B5EF4-FFF2-40B4-BE49-F238E27FC236}">
                      <a16:creationId xmlns:a16="http://schemas.microsoft.com/office/drawing/2014/main" id="{BCC71832-FBE5-4A1E-ACF7-C71D4E18B8D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" name="Freeform 11">
                  <a:extLst>
                    <a:ext uri="{FF2B5EF4-FFF2-40B4-BE49-F238E27FC236}">
                      <a16:creationId xmlns:a16="http://schemas.microsoft.com/office/drawing/2014/main" id="{7CB2408B-B015-4E8E-9B3E-FFE1E69637E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3" name="Freeform 12">
                  <a:extLst>
                    <a:ext uri="{FF2B5EF4-FFF2-40B4-BE49-F238E27FC236}">
                      <a16:creationId xmlns:a16="http://schemas.microsoft.com/office/drawing/2014/main" id="{4E2F2E07-C84D-4D7D-971E-CA4248ACBB4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13">
                  <a:extLst>
                    <a:ext uri="{FF2B5EF4-FFF2-40B4-BE49-F238E27FC236}">
                      <a16:creationId xmlns:a16="http://schemas.microsoft.com/office/drawing/2014/main" id="{9DCE41C8-7C94-40D3-A3C8-22BD3621E59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45860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3" r:id="rId2"/>
    <p:sldLayoutId id="2147483814" r:id="rId3"/>
    <p:sldLayoutId id="2147483818" r:id="rId4"/>
    <p:sldLayoutId id="2147483819" r:id="rId5"/>
    <p:sldLayoutId id="2147483820" r:id="rId6"/>
  </p:sldLayoutIdLst>
  <p:hf hdr="0" dt="0"/>
  <p:txStyles>
    <p:titleStyle>
      <a:lvl1pPr algn="l" defTabSz="359982" rtl="0" eaLnBrk="1" latinLnBrk="0" hangingPunct="1">
        <a:lnSpc>
          <a:spcPct val="115000"/>
        </a:lnSpc>
        <a:spcBef>
          <a:spcPct val="0"/>
        </a:spcBef>
        <a:buNone/>
        <a:defRPr sz="1600" kern="1200">
          <a:solidFill>
            <a:schemeClr val="tx1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17780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361950" indent="-18415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5397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7175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925">
          <p15:clr>
            <a:srgbClr val="F26B43"/>
          </p15:clr>
        </p15:guide>
        <p15:guide id="3" orient="horz" pos="1053">
          <p15:clr>
            <a:srgbClr val="F26B43"/>
          </p15:clr>
        </p15:guide>
        <p15:guide id="4" pos="295">
          <p15:clr>
            <a:srgbClr val="F26B43"/>
          </p15:clr>
        </p15:guide>
        <p15:guide id="5" pos="1078">
          <p15:clr>
            <a:srgbClr val="F26B43"/>
          </p15:clr>
        </p15:guide>
        <p15:guide id="6" pos="1169">
          <p15:clr>
            <a:srgbClr val="F26B43"/>
          </p15:clr>
        </p15:guide>
        <p15:guide id="7" pos="2048">
          <p15:clr>
            <a:srgbClr val="F26B43"/>
          </p15:clr>
        </p15:guide>
        <p15:guide id="8" pos="1957">
          <p15:clr>
            <a:srgbClr val="F26B43"/>
          </p15:clr>
        </p15:guide>
        <p15:guide id="9" pos="2832">
          <p15:clr>
            <a:srgbClr val="F26B43"/>
          </p15:clr>
        </p15:guide>
        <p15:guide id="10" pos="3808">
          <p15:clr>
            <a:srgbClr val="F26B43"/>
          </p15:clr>
        </p15:guide>
        <p15:guide id="11" pos="3715">
          <p15:clr>
            <a:srgbClr val="F26B43"/>
          </p15:clr>
        </p15:guide>
        <p15:guide id="12" pos="5465">
          <p15:clr>
            <a:srgbClr val="F26B43"/>
          </p15:clr>
        </p15:guide>
        <p15:guide id="13" pos="4590">
          <p15:clr>
            <a:srgbClr val="F26B43"/>
          </p15:clr>
        </p15:guide>
        <p15:guide id="14" pos="4681">
          <p15:clr>
            <a:srgbClr val="F26B43"/>
          </p15:clr>
        </p15:guide>
        <p15:guide id="15" orient="horz" pos="283">
          <p15:clr>
            <a:srgbClr val="F26B43"/>
          </p15:clr>
        </p15:guide>
        <p15:guide id="16" orient="horz" pos="29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9.jp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slideLayout" Target="../slideLayouts/slideLayout34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slideLayout" Target="../slideLayouts/slideLayout36.xml"/><Relationship Id="rId3" Type="http://schemas.openxmlformats.org/officeDocument/2006/relationships/tags" Target="../tags/tag257.xml"/><Relationship Id="rId21" Type="http://schemas.openxmlformats.org/officeDocument/2006/relationships/tags" Target="../tags/tag275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tags" Target="../tags/tag279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tags" Target="../tags/tag278.xml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28" Type="http://schemas.openxmlformats.org/officeDocument/2006/relationships/image" Target="../media/image18.jpg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13" Type="http://schemas.openxmlformats.org/officeDocument/2006/relationships/tags" Target="../tags/tag292.xml"/><Relationship Id="rId18" Type="http://schemas.openxmlformats.org/officeDocument/2006/relationships/tags" Target="../tags/tag297.xml"/><Relationship Id="rId26" Type="http://schemas.openxmlformats.org/officeDocument/2006/relationships/slideLayout" Target="../slideLayouts/slideLayout36.xml"/><Relationship Id="rId3" Type="http://schemas.openxmlformats.org/officeDocument/2006/relationships/tags" Target="../tags/tag282.xml"/><Relationship Id="rId21" Type="http://schemas.openxmlformats.org/officeDocument/2006/relationships/tags" Target="../tags/tag300.xml"/><Relationship Id="rId7" Type="http://schemas.openxmlformats.org/officeDocument/2006/relationships/tags" Target="../tags/tag286.xml"/><Relationship Id="rId12" Type="http://schemas.openxmlformats.org/officeDocument/2006/relationships/tags" Target="../tags/tag291.xml"/><Relationship Id="rId17" Type="http://schemas.openxmlformats.org/officeDocument/2006/relationships/tags" Target="../tags/tag296.xml"/><Relationship Id="rId25" Type="http://schemas.openxmlformats.org/officeDocument/2006/relationships/tags" Target="../tags/tag304.xml"/><Relationship Id="rId2" Type="http://schemas.openxmlformats.org/officeDocument/2006/relationships/tags" Target="../tags/tag281.xml"/><Relationship Id="rId16" Type="http://schemas.openxmlformats.org/officeDocument/2006/relationships/tags" Target="../tags/tag295.xml"/><Relationship Id="rId20" Type="http://schemas.openxmlformats.org/officeDocument/2006/relationships/tags" Target="../tags/tag299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11" Type="http://schemas.openxmlformats.org/officeDocument/2006/relationships/tags" Target="../tags/tag290.xml"/><Relationship Id="rId24" Type="http://schemas.openxmlformats.org/officeDocument/2006/relationships/tags" Target="../tags/tag303.xml"/><Relationship Id="rId5" Type="http://schemas.openxmlformats.org/officeDocument/2006/relationships/tags" Target="../tags/tag284.xml"/><Relationship Id="rId15" Type="http://schemas.openxmlformats.org/officeDocument/2006/relationships/tags" Target="../tags/tag294.xml"/><Relationship Id="rId23" Type="http://schemas.openxmlformats.org/officeDocument/2006/relationships/tags" Target="../tags/tag302.xml"/><Relationship Id="rId28" Type="http://schemas.openxmlformats.org/officeDocument/2006/relationships/image" Target="../media/image18.jpg"/><Relationship Id="rId10" Type="http://schemas.openxmlformats.org/officeDocument/2006/relationships/tags" Target="../tags/tag289.xml"/><Relationship Id="rId19" Type="http://schemas.openxmlformats.org/officeDocument/2006/relationships/tags" Target="../tags/tag298.xml"/><Relationship Id="rId4" Type="http://schemas.openxmlformats.org/officeDocument/2006/relationships/tags" Target="../tags/tag283.xml"/><Relationship Id="rId9" Type="http://schemas.openxmlformats.org/officeDocument/2006/relationships/tags" Target="../tags/tag288.xml"/><Relationship Id="rId14" Type="http://schemas.openxmlformats.org/officeDocument/2006/relationships/tags" Target="../tags/tag293.xml"/><Relationship Id="rId22" Type="http://schemas.openxmlformats.org/officeDocument/2006/relationships/tags" Target="../tags/tag301.xml"/><Relationship Id="rId27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26" Type="http://schemas.openxmlformats.org/officeDocument/2006/relationships/tags" Target="../tags/tag330.xml"/><Relationship Id="rId3" Type="http://schemas.openxmlformats.org/officeDocument/2006/relationships/tags" Target="../tags/tag307.xml"/><Relationship Id="rId21" Type="http://schemas.openxmlformats.org/officeDocument/2006/relationships/tags" Target="../tags/tag325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tags" Target="../tags/tag329.xml"/><Relationship Id="rId2" Type="http://schemas.openxmlformats.org/officeDocument/2006/relationships/tags" Target="../tags/tag306.xml"/><Relationship Id="rId16" Type="http://schemas.openxmlformats.org/officeDocument/2006/relationships/tags" Target="../tags/tag320.xml"/><Relationship Id="rId20" Type="http://schemas.openxmlformats.org/officeDocument/2006/relationships/tags" Target="../tags/tag324.xml"/><Relationship Id="rId29" Type="http://schemas.openxmlformats.org/officeDocument/2006/relationships/notesSlide" Target="../notesSlides/notesSlide12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24" Type="http://schemas.openxmlformats.org/officeDocument/2006/relationships/tags" Target="../tags/tag328.xml"/><Relationship Id="rId5" Type="http://schemas.openxmlformats.org/officeDocument/2006/relationships/tags" Target="../tags/tag309.xml"/><Relationship Id="rId15" Type="http://schemas.openxmlformats.org/officeDocument/2006/relationships/tags" Target="../tags/tag319.xml"/><Relationship Id="rId23" Type="http://schemas.openxmlformats.org/officeDocument/2006/relationships/tags" Target="../tags/tag327.xml"/><Relationship Id="rId28" Type="http://schemas.openxmlformats.org/officeDocument/2006/relationships/slideLayout" Target="../slideLayouts/slideLayout36.xml"/><Relationship Id="rId10" Type="http://schemas.openxmlformats.org/officeDocument/2006/relationships/tags" Target="../tags/tag314.xml"/><Relationship Id="rId19" Type="http://schemas.openxmlformats.org/officeDocument/2006/relationships/tags" Target="../tags/tag323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tags" Target="../tags/tag318.xml"/><Relationship Id="rId22" Type="http://schemas.openxmlformats.org/officeDocument/2006/relationships/tags" Target="../tags/tag326.xml"/><Relationship Id="rId27" Type="http://schemas.openxmlformats.org/officeDocument/2006/relationships/tags" Target="../tags/tag331.xml"/><Relationship Id="rId30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18" Type="http://schemas.openxmlformats.org/officeDocument/2006/relationships/tags" Target="../tags/tag349.xml"/><Relationship Id="rId26" Type="http://schemas.openxmlformats.org/officeDocument/2006/relationships/tags" Target="../tags/tag357.xml"/><Relationship Id="rId3" Type="http://schemas.openxmlformats.org/officeDocument/2006/relationships/tags" Target="../tags/tag334.xml"/><Relationship Id="rId21" Type="http://schemas.openxmlformats.org/officeDocument/2006/relationships/tags" Target="../tags/tag352.xml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17" Type="http://schemas.openxmlformats.org/officeDocument/2006/relationships/tags" Target="../tags/tag348.xml"/><Relationship Id="rId25" Type="http://schemas.openxmlformats.org/officeDocument/2006/relationships/tags" Target="../tags/tag356.xml"/><Relationship Id="rId2" Type="http://schemas.openxmlformats.org/officeDocument/2006/relationships/tags" Target="../tags/tag333.xml"/><Relationship Id="rId16" Type="http://schemas.openxmlformats.org/officeDocument/2006/relationships/tags" Target="../tags/tag347.xml"/><Relationship Id="rId20" Type="http://schemas.openxmlformats.org/officeDocument/2006/relationships/tags" Target="../tags/tag351.xml"/><Relationship Id="rId29" Type="http://schemas.openxmlformats.org/officeDocument/2006/relationships/slideLayout" Target="../slideLayouts/slideLayout36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24" Type="http://schemas.openxmlformats.org/officeDocument/2006/relationships/tags" Target="../tags/tag355.xml"/><Relationship Id="rId5" Type="http://schemas.openxmlformats.org/officeDocument/2006/relationships/tags" Target="../tags/tag336.xml"/><Relationship Id="rId15" Type="http://schemas.openxmlformats.org/officeDocument/2006/relationships/tags" Target="../tags/tag346.xml"/><Relationship Id="rId23" Type="http://schemas.openxmlformats.org/officeDocument/2006/relationships/tags" Target="../tags/tag354.xml"/><Relationship Id="rId28" Type="http://schemas.openxmlformats.org/officeDocument/2006/relationships/tags" Target="../tags/tag359.xml"/><Relationship Id="rId10" Type="http://schemas.openxmlformats.org/officeDocument/2006/relationships/tags" Target="../tags/tag341.xml"/><Relationship Id="rId19" Type="http://schemas.openxmlformats.org/officeDocument/2006/relationships/tags" Target="../tags/tag350.xml"/><Relationship Id="rId31" Type="http://schemas.openxmlformats.org/officeDocument/2006/relationships/image" Target="../media/image18.jpg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tags" Target="../tags/tag353.xml"/><Relationship Id="rId27" Type="http://schemas.openxmlformats.org/officeDocument/2006/relationships/tags" Target="../tags/tag358.xml"/><Relationship Id="rId30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tags" Target="../tags/tag372.xml"/><Relationship Id="rId18" Type="http://schemas.openxmlformats.org/officeDocument/2006/relationships/tags" Target="../tags/tag377.xml"/><Relationship Id="rId26" Type="http://schemas.openxmlformats.org/officeDocument/2006/relationships/tags" Target="../tags/tag385.xml"/><Relationship Id="rId3" Type="http://schemas.openxmlformats.org/officeDocument/2006/relationships/tags" Target="../tags/tag362.xml"/><Relationship Id="rId21" Type="http://schemas.openxmlformats.org/officeDocument/2006/relationships/tags" Target="../tags/tag380.xml"/><Relationship Id="rId7" Type="http://schemas.openxmlformats.org/officeDocument/2006/relationships/tags" Target="../tags/tag366.xml"/><Relationship Id="rId12" Type="http://schemas.openxmlformats.org/officeDocument/2006/relationships/tags" Target="../tags/tag371.xml"/><Relationship Id="rId17" Type="http://schemas.openxmlformats.org/officeDocument/2006/relationships/tags" Target="../tags/tag376.xml"/><Relationship Id="rId25" Type="http://schemas.openxmlformats.org/officeDocument/2006/relationships/tags" Target="../tags/tag384.xml"/><Relationship Id="rId2" Type="http://schemas.openxmlformats.org/officeDocument/2006/relationships/tags" Target="../tags/tag361.xml"/><Relationship Id="rId16" Type="http://schemas.openxmlformats.org/officeDocument/2006/relationships/tags" Target="../tags/tag375.xml"/><Relationship Id="rId20" Type="http://schemas.openxmlformats.org/officeDocument/2006/relationships/tags" Target="../tags/tag379.xml"/><Relationship Id="rId29" Type="http://schemas.openxmlformats.org/officeDocument/2006/relationships/slideLayout" Target="../slideLayouts/slideLayout36.xm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tags" Target="../tags/tag370.xml"/><Relationship Id="rId24" Type="http://schemas.openxmlformats.org/officeDocument/2006/relationships/tags" Target="../tags/tag383.xml"/><Relationship Id="rId5" Type="http://schemas.openxmlformats.org/officeDocument/2006/relationships/tags" Target="../tags/tag364.xml"/><Relationship Id="rId15" Type="http://schemas.openxmlformats.org/officeDocument/2006/relationships/tags" Target="../tags/tag374.xml"/><Relationship Id="rId23" Type="http://schemas.openxmlformats.org/officeDocument/2006/relationships/tags" Target="../tags/tag382.xml"/><Relationship Id="rId28" Type="http://schemas.openxmlformats.org/officeDocument/2006/relationships/tags" Target="../tags/tag387.xml"/><Relationship Id="rId10" Type="http://schemas.openxmlformats.org/officeDocument/2006/relationships/tags" Target="../tags/tag369.xml"/><Relationship Id="rId19" Type="http://schemas.openxmlformats.org/officeDocument/2006/relationships/tags" Target="../tags/tag378.xml"/><Relationship Id="rId31" Type="http://schemas.openxmlformats.org/officeDocument/2006/relationships/image" Target="../media/image18.jpg"/><Relationship Id="rId4" Type="http://schemas.openxmlformats.org/officeDocument/2006/relationships/tags" Target="../tags/tag363.xml"/><Relationship Id="rId9" Type="http://schemas.openxmlformats.org/officeDocument/2006/relationships/tags" Target="../tags/tag368.xml"/><Relationship Id="rId14" Type="http://schemas.openxmlformats.org/officeDocument/2006/relationships/tags" Target="../tags/tag373.xml"/><Relationship Id="rId22" Type="http://schemas.openxmlformats.org/officeDocument/2006/relationships/tags" Target="../tags/tag381.xml"/><Relationship Id="rId27" Type="http://schemas.openxmlformats.org/officeDocument/2006/relationships/tags" Target="../tags/tag386.xml"/><Relationship Id="rId30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400.xml"/><Relationship Id="rId18" Type="http://schemas.openxmlformats.org/officeDocument/2006/relationships/tags" Target="../tags/tag405.xml"/><Relationship Id="rId26" Type="http://schemas.openxmlformats.org/officeDocument/2006/relationships/tags" Target="../tags/tag413.xml"/><Relationship Id="rId39" Type="http://schemas.openxmlformats.org/officeDocument/2006/relationships/image" Target="../media/image19.png"/><Relationship Id="rId21" Type="http://schemas.openxmlformats.org/officeDocument/2006/relationships/tags" Target="../tags/tag408.xml"/><Relationship Id="rId34" Type="http://schemas.openxmlformats.org/officeDocument/2006/relationships/tags" Target="../tags/tag421.xml"/><Relationship Id="rId42" Type="http://schemas.openxmlformats.org/officeDocument/2006/relationships/image" Target="../media/image21.png"/><Relationship Id="rId47" Type="http://schemas.openxmlformats.org/officeDocument/2006/relationships/image" Target="../media/image26.png"/><Relationship Id="rId50" Type="http://schemas.openxmlformats.org/officeDocument/2006/relationships/image" Target="../media/image29.png"/><Relationship Id="rId55" Type="http://schemas.openxmlformats.org/officeDocument/2006/relationships/image" Target="../media/image34.svg"/><Relationship Id="rId63" Type="http://schemas.openxmlformats.org/officeDocument/2006/relationships/image" Target="../media/image42.png"/><Relationship Id="rId68" Type="http://schemas.openxmlformats.org/officeDocument/2006/relationships/image" Target="../media/image47.png"/><Relationship Id="rId7" Type="http://schemas.openxmlformats.org/officeDocument/2006/relationships/tags" Target="../tags/tag394.xml"/><Relationship Id="rId71" Type="http://schemas.openxmlformats.org/officeDocument/2006/relationships/image" Target="../media/image50.png"/><Relationship Id="rId2" Type="http://schemas.openxmlformats.org/officeDocument/2006/relationships/tags" Target="../tags/tag389.xml"/><Relationship Id="rId16" Type="http://schemas.openxmlformats.org/officeDocument/2006/relationships/tags" Target="../tags/tag403.xml"/><Relationship Id="rId29" Type="http://schemas.openxmlformats.org/officeDocument/2006/relationships/tags" Target="../tags/tag416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tags" Target="../tags/tag398.xml"/><Relationship Id="rId24" Type="http://schemas.openxmlformats.org/officeDocument/2006/relationships/tags" Target="../tags/tag411.xml"/><Relationship Id="rId32" Type="http://schemas.openxmlformats.org/officeDocument/2006/relationships/tags" Target="../tags/tag419.xml"/><Relationship Id="rId37" Type="http://schemas.openxmlformats.org/officeDocument/2006/relationships/notesSlide" Target="../notesSlides/notesSlide15.xml"/><Relationship Id="rId40" Type="http://schemas.openxmlformats.org/officeDocument/2006/relationships/image" Target="../media/image20.png"/><Relationship Id="rId45" Type="http://schemas.openxmlformats.org/officeDocument/2006/relationships/image" Target="../media/image24.png"/><Relationship Id="rId53" Type="http://schemas.openxmlformats.org/officeDocument/2006/relationships/image" Target="../media/image32.svg"/><Relationship Id="rId58" Type="http://schemas.openxmlformats.org/officeDocument/2006/relationships/image" Target="../media/image37.png"/><Relationship Id="rId66" Type="http://schemas.openxmlformats.org/officeDocument/2006/relationships/image" Target="../media/image45.png"/><Relationship Id="rId5" Type="http://schemas.openxmlformats.org/officeDocument/2006/relationships/tags" Target="../tags/tag392.xml"/><Relationship Id="rId15" Type="http://schemas.openxmlformats.org/officeDocument/2006/relationships/tags" Target="../tags/tag402.xml"/><Relationship Id="rId23" Type="http://schemas.openxmlformats.org/officeDocument/2006/relationships/tags" Target="../tags/tag410.xml"/><Relationship Id="rId28" Type="http://schemas.openxmlformats.org/officeDocument/2006/relationships/tags" Target="../tags/tag415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8.png"/><Relationship Id="rId57" Type="http://schemas.openxmlformats.org/officeDocument/2006/relationships/image" Target="../media/image36.svg"/><Relationship Id="rId61" Type="http://schemas.openxmlformats.org/officeDocument/2006/relationships/image" Target="../media/image40.svg"/><Relationship Id="rId10" Type="http://schemas.openxmlformats.org/officeDocument/2006/relationships/tags" Target="../tags/tag397.xml"/><Relationship Id="rId19" Type="http://schemas.openxmlformats.org/officeDocument/2006/relationships/tags" Target="../tags/tag406.xml"/><Relationship Id="rId31" Type="http://schemas.openxmlformats.org/officeDocument/2006/relationships/tags" Target="../tags/tag418.xml"/><Relationship Id="rId44" Type="http://schemas.openxmlformats.org/officeDocument/2006/relationships/image" Target="../media/image23.png"/><Relationship Id="rId52" Type="http://schemas.openxmlformats.org/officeDocument/2006/relationships/image" Target="../media/image31.png"/><Relationship Id="rId60" Type="http://schemas.openxmlformats.org/officeDocument/2006/relationships/image" Target="../media/image39.png"/><Relationship Id="rId65" Type="http://schemas.openxmlformats.org/officeDocument/2006/relationships/image" Target="../media/image44.png"/><Relationship Id="rId4" Type="http://schemas.openxmlformats.org/officeDocument/2006/relationships/tags" Target="../tags/tag391.xml"/><Relationship Id="rId9" Type="http://schemas.openxmlformats.org/officeDocument/2006/relationships/tags" Target="../tags/tag396.xml"/><Relationship Id="rId14" Type="http://schemas.openxmlformats.org/officeDocument/2006/relationships/tags" Target="../tags/tag401.xml"/><Relationship Id="rId22" Type="http://schemas.openxmlformats.org/officeDocument/2006/relationships/tags" Target="../tags/tag409.xml"/><Relationship Id="rId27" Type="http://schemas.openxmlformats.org/officeDocument/2006/relationships/tags" Target="../tags/tag414.xml"/><Relationship Id="rId30" Type="http://schemas.openxmlformats.org/officeDocument/2006/relationships/tags" Target="../tags/tag417.xml"/><Relationship Id="rId35" Type="http://schemas.openxmlformats.org/officeDocument/2006/relationships/tags" Target="../tags/tag422.xml"/><Relationship Id="rId43" Type="http://schemas.openxmlformats.org/officeDocument/2006/relationships/image" Target="../media/image22.png"/><Relationship Id="rId48" Type="http://schemas.openxmlformats.org/officeDocument/2006/relationships/image" Target="../media/image27.png"/><Relationship Id="rId56" Type="http://schemas.openxmlformats.org/officeDocument/2006/relationships/image" Target="../media/image35.png"/><Relationship Id="rId64" Type="http://schemas.openxmlformats.org/officeDocument/2006/relationships/image" Target="../media/image43.png"/><Relationship Id="rId69" Type="http://schemas.openxmlformats.org/officeDocument/2006/relationships/image" Target="../media/image48.svg"/><Relationship Id="rId8" Type="http://schemas.openxmlformats.org/officeDocument/2006/relationships/tags" Target="../tags/tag395.xml"/><Relationship Id="rId51" Type="http://schemas.openxmlformats.org/officeDocument/2006/relationships/image" Target="../media/image30.png"/><Relationship Id="rId72" Type="http://schemas.openxmlformats.org/officeDocument/2006/relationships/image" Target="../media/image51.png"/><Relationship Id="rId3" Type="http://schemas.openxmlformats.org/officeDocument/2006/relationships/tags" Target="../tags/tag390.xml"/><Relationship Id="rId12" Type="http://schemas.openxmlformats.org/officeDocument/2006/relationships/tags" Target="../tags/tag399.xml"/><Relationship Id="rId17" Type="http://schemas.openxmlformats.org/officeDocument/2006/relationships/tags" Target="../tags/tag404.xml"/><Relationship Id="rId25" Type="http://schemas.openxmlformats.org/officeDocument/2006/relationships/tags" Target="../tags/tag412.xml"/><Relationship Id="rId33" Type="http://schemas.openxmlformats.org/officeDocument/2006/relationships/tags" Target="../tags/tag420.xml"/><Relationship Id="rId38" Type="http://schemas.openxmlformats.org/officeDocument/2006/relationships/image" Target="../media/image18.jpg"/><Relationship Id="rId46" Type="http://schemas.openxmlformats.org/officeDocument/2006/relationships/image" Target="../media/image25.png"/><Relationship Id="rId59" Type="http://schemas.openxmlformats.org/officeDocument/2006/relationships/image" Target="../media/image38.svg"/><Relationship Id="rId67" Type="http://schemas.openxmlformats.org/officeDocument/2006/relationships/image" Target="../media/image46.svg"/><Relationship Id="rId20" Type="http://schemas.openxmlformats.org/officeDocument/2006/relationships/tags" Target="../tags/tag407.xml"/><Relationship Id="rId41" Type="http://schemas.microsoft.com/office/2007/relationships/hdphoto" Target="../media/hdphoto1.wdp"/><Relationship Id="rId54" Type="http://schemas.openxmlformats.org/officeDocument/2006/relationships/image" Target="../media/image33.png"/><Relationship Id="rId62" Type="http://schemas.openxmlformats.org/officeDocument/2006/relationships/image" Target="../media/image41.png"/><Relationship Id="rId70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448.xml"/><Relationship Id="rId21" Type="http://schemas.openxmlformats.org/officeDocument/2006/relationships/tags" Target="../tags/tag443.xml"/><Relationship Id="rId42" Type="http://schemas.openxmlformats.org/officeDocument/2006/relationships/tags" Target="../tags/tag464.xml"/><Relationship Id="rId47" Type="http://schemas.openxmlformats.org/officeDocument/2006/relationships/tags" Target="../tags/tag469.xml"/><Relationship Id="rId63" Type="http://schemas.openxmlformats.org/officeDocument/2006/relationships/tags" Target="../tags/tag485.xml"/><Relationship Id="rId68" Type="http://schemas.openxmlformats.org/officeDocument/2006/relationships/tags" Target="../tags/tag490.xml"/><Relationship Id="rId84" Type="http://schemas.openxmlformats.org/officeDocument/2006/relationships/image" Target="../media/image24.png"/><Relationship Id="rId89" Type="http://schemas.openxmlformats.org/officeDocument/2006/relationships/image" Target="../media/image29.png"/><Relationship Id="rId112" Type="http://schemas.openxmlformats.org/officeDocument/2006/relationships/image" Target="../media/image52.png"/><Relationship Id="rId2" Type="http://schemas.openxmlformats.org/officeDocument/2006/relationships/tags" Target="../tags/tag424.xml"/><Relationship Id="rId16" Type="http://schemas.openxmlformats.org/officeDocument/2006/relationships/tags" Target="../tags/tag438.xml"/><Relationship Id="rId29" Type="http://schemas.openxmlformats.org/officeDocument/2006/relationships/tags" Target="../tags/tag451.xml"/><Relationship Id="rId107" Type="http://schemas.openxmlformats.org/officeDocument/2006/relationships/image" Target="../media/image47.png"/><Relationship Id="rId11" Type="http://schemas.openxmlformats.org/officeDocument/2006/relationships/tags" Target="../tags/tag433.xml"/><Relationship Id="rId24" Type="http://schemas.openxmlformats.org/officeDocument/2006/relationships/tags" Target="../tags/tag446.xml"/><Relationship Id="rId32" Type="http://schemas.openxmlformats.org/officeDocument/2006/relationships/tags" Target="../tags/tag454.xml"/><Relationship Id="rId37" Type="http://schemas.openxmlformats.org/officeDocument/2006/relationships/tags" Target="../tags/tag459.xml"/><Relationship Id="rId40" Type="http://schemas.openxmlformats.org/officeDocument/2006/relationships/tags" Target="../tags/tag462.xml"/><Relationship Id="rId45" Type="http://schemas.openxmlformats.org/officeDocument/2006/relationships/tags" Target="../tags/tag467.xml"/><Relationship Id="rId53" Type="http://schemas.openxmlformats.org/officeDocument/2006/relationships/tags" Target="../tags/tag475.xml"/><Relationship Id="rId58" Type="http://schemas.openxmlformats.org/officeDocument/2006/relationships/tags" Target="../tags/tag480.xml"/><Relationship Id="rId66" Type="http://schemas.openxmlformats.org/officeDocument/2006/relationships/tags" Target="../tags/tag488.xml"/><Relationship Id="rId74" Type="http://schemas.openxmlformats.org/officeDocument/2006/relationships/tags" Target="../tags/tag496.xml"/><Relationship Id="rId79" Type="http://schemas.openxmlformats.org/officeDocument/2006/relationships/image" Target="../media/image20.png"/><Relationship Id="rId87" Type="http://schemas.openxmlformats.org/officeDocument/2006/relationships/image" Target="../media/image27.png"/><Relationship Id="rId102" Type="http://schemas.openxmlformats.org/officeDocument/2006/relationships/image" Target="../media/image42.png"/><Relationship Id="rId110" Type="http://schemas.openxmlformats.org/officeDocument/2006/relationships/image" Target="../media/image50.png"/><Relationship Id="rId5" Type="http://schemas.openxmlformats.org/officeDocument/2006/relationships/tags" Target="../tags/tag427.xml"/><Relationship Id="rId61" Type="http://schemas.openxmlformats.org/officeDocument/2006/relationships/tags" Target="../tags/tag483.xml"/><Relationship Id="rId82" Type="http://schemas.openxmlformats.org/officeDocument/2006/relationships/image" Target="../media/image22.png"/><Relationship Id="rId90" Type="http://schemas.openxmlformats.org/officeDocument/2006/relationships/image" Target="../media/image30.png"/><Relationship Id="rId95" Type="http://schemas.openxmlformats.org/officeDocument/2006/relationships/image" Target="../media/image35.png"/><Relationship Id="rId19" Type="http://schemas.openxmlformats.org/officeDocument/2006/relationships/tags" Target="../tags/tag441.xml"/><Relationship Id="rId14" Type="http://schemas.openxmlformats.org/officeDocument/2006/relationships/tags" Target="../tags/tag436.xml"/><Relationship Id="rId22" Type="http://schemas.openxmlformats.org/officeDocument/2006/relationships/tags" Target="../tags/tag444.xml"/><Relationship Id="rId27" Type="http://schemas.openxmlformats.org/officeDocument/2006/relationships/tags" Target="../tags/tag449.xml"/><Relationship Id="rId30" Type="http://schemas.openxmlformats.org/officeDocument/2006/relationships/tags" Target="../tags/tag452.xml"/><Relationship Id="rId35" Type="http://schemas.openxmlformats.org/officeDocument/2006/relationships/tags" Target="../tags/tag457.xml"/><Relationship Id="rId43" Type="http://schemas.openxmlformats.org/officeDocument/2006/relationships/tags" Target="../tags/tag465.xml"/><Relationship Id="rId48" Type="http://schemas.openxmlformats.org/officeDocument/2006/relationships/tags" Target="../tags/tag470.xml"/><Relationship Id="rId56" Type="http://schemas.openxmlformats.org/officeDocument/2006/relationships/tags" Target="../tags/tag478.xml"/><Relationship Id="rId64" Type="http://schemas.openxmlformats.org/officeDocument/2006/relationships/tags" Target="../tags/tag486.xml"/><Relationship Id="rId69" Type="http://schemas.openxmlformats.org/officeDocument/2006/relationships/tags" Target="../tags/tag491.xml"/><Relationship Id="rId77" Type="http://schemas.openxmlformats.org/officeDocument/2006/relationships/image" Target="../media/image18.jpg"/><Relationship Id="rId100" Type="http://schemas.openxmlformats.org/officeDocument/2006/relationships/image" Target="../media/image40.svg"/><Relationship Id="rId105" Type="http://schemas.openxmlformats.org/officeDocument/2006/relationships/image" Target="../media/image45.png"/><Relationship Id="rId118" Type="http://schemas.openxmlformats.org/officeDocument/2006/relationships/slide" Target="slide17.xml"/><Relationship Id="rId8" Type="http://schemas.openxmlformats.org/officeDocument/2006/relationships/tags" Target="../tags/tag430.xml"/><Relationship Id="rId51" Type="http://schemas.openxmlformats.org/officeDocument/2006/relationships/tags" Target="../tags/tag473.xml"/><Relationship Id="rId72" Type="http://schemas.openxmlformats.org/officeDocument/2006/relationships/tags" Target="../tags/tag494.xml"/><Relationship Id="rId80" Type="http://schemas.microsoft.com/office/2007/relationships/hdphoto" Target="../media/hdphoto1.wdp"/><Relationship Id="rId85" Type="http://schemas.openxmlformats.org/officeDocument/2006/relationships/image" Target="../media/image25.png"/><Relationship Id="rId93" Type="http://schemas.openxmlformats.org/officeDocument/2006/relationships/image" Target="../media/image33.png"/><Relationship Id="rId98" Type="http://schemas.openxmlformats.org/officeDocument/2006/relationships/image" Target="../media/image38.svg"/><Relationship Id="rId3" Type="http://schemas.openxmlformats.org/officeDocument/2006/relationships/tags" Target="../tags/tag425.xml"/><Relationship Id="rId12" Type="http://schemas.openxmlformats.org/officeDocument/2006/relationships/tags" Target="../tags/tag434.xml"/><Relationship Id="rId17" Type="http://schemas.openxmlformats.org/officeDocument/2006/relationships/tags" Target="../tags/tag439.xml"/><Relationship Id="rId25" Type="http://schemas.openxmlformats.org/officeDocument/2006/relationships/tags" Target="../tags/tag447.xml"/><Relationship Id="rId33" Type="http://schemas.openxmlformats.org/officeDocument/2006/relationships/tags" Target="../tags/tag455.xml"/><Relationship Id="rId38" Type="http://schemas.openxmlformats.org/officeDocument/2006/relationships/tags" Target="../tags/tag460.xml"/><Relationship Id="rId46" Type="http://schemas.openxmlformats.org/officeDocument/2006/relationships/tags" Target="../tags/tag468.xml"/><Relationship Id="rId59" Type="http://schemas.openxmlformats.org/officeDocument/2006/relationships/tags" Target="../tags/tag481.xml"/><Relationship Id="rId67" Type="http://schemas.openxmlformats.org/officeDocument/2006/relationships/tags" Target="../tags/tag489.xml"/><Relationship Id="rId103" Type="http://schemas.openxmlformats.org/officeDocument/2006/relationships/image" Target="../media/image43.png"/><Relationship Id="rId108" Type="http://schemas.openxmlformats.org/officeDocument/2006/relationships/image" Target="../media/image48.svg"/><Relationship Id="rId20" Type="http://schemas.openxmlformats.org/officeDocument/2006/relationships/tags" Target="../tags/tag442.xml"/><Relationship Id="rId41" Type="http://schemas.openxmlformats.org/officeDocument/2006/relationships/tags" Target="../tags/tag463.xml"/><Relationship Id="rId54" Type="http://schemas.openxmlformats.org/officeDocument/2006/relationships/tags" Target="../tags/tag476.xml"/><Relationship Id="rId62" Type="http://schemas.openxmlformats.org/officeDocument/2006/relationships/tags" Target="../tags/tag484.xml"/><Relationship Id="rId70" Type="http://schemas.openxmlformats.org/officeDocument/2006/relationships/tags" Target="../tags/tag492.xml"/><Relationship Id="rId75" Type="http://schemas.openxmlformats.org/officeDocument/2006/relationships/slideLayout" Target="../slideLayouts/slideLayout36.xml"/><Relationship Id="rId83" Type="http://schemas.openxmlformats.org/officeDocument/2006/relationships/image" Target="../media/image23.png"/><Relationship Id="rId88" Type="http://schemas.openxmlformats.org/officeDocument/2006/relationships/image" Target="../media/image28.png"/><Relationship Id="rId91" Type="http://schemas.openxmlformats.org/officeDocument/2006/relationships/image" Target="../media/image31.png"/><Relationship Id="rId96" Type="http://schemas.openxmlformats.org/officeDocument/2006/relationships/image" Target="../media/image36.svg"/><Relationship Id="rId111" Type="http://schemas.openxmlformats.org/officeDocument/2006/relationships/image" Target="../media/image51.png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15" Type="http://schemas.openxmlformats.org/officeDocument/2006/relationships/tags" Target="../tags/tag437.xml"/><Relationship Id="rId23" Type="http://schemas.openxmlformats.org/officeDocument/2006/relationships/tags" Target="../tags/tag445.xml"/><Relationship Id="rId28" Type="http://schemas.openxmlformats.org/officeDocument/2006/relationships/tags" Target="../tags/tag450.xml"/><Relationship Id="rId36" Type="http://schemas.openxmlformats.org/officeDocument/2006/relationships/tags" Target="../tags/tag458.xml"/><Relationship Id="rId49" Type="http://schemas.openxmlformats.org/officeDocument/2006/relationships/tags" Target="../tags/tag471.xml"/><Relationship Id="rId57" Type="http://schemas.openxmlformats.org/officeDocument/2006/relationships/tags" Target="../tags/tag479.xml"/><Relationship Id="rId106" Type="http://schemas.openxmlformats.org/officeDocument/2006/relationships/image" Target="../media/image46.svg"/><Relationship Id="rId119" Type="http://schemas.openxmlformats.org/officeDocument/2006/relationships/image" Target="../media/image52.png"/><Relationship Id="rId10" Type="http://schemas.openxmlformats.org/officeDocument/2006/relationships/tags" Target="../tags/tag432.xml"/><Relationship Id="rId31" Type="http://schemas.openxmlformats.org/officeDocument/2006/relationships/tags" Target="../tags/tag453.xml"/><Relationship Id="rId44" Type="http://schemas.openxmlformats.org/officeDocument/2006/relationships/tags" Target="../tags/tag466.xml"/><Relationship Id="rId52" Type="http://schemas.openxmlformats.org/officeDocument/2006/relationships/tags" Target="../tags/tag474.xml"/><Relationship Id="rId60" Type="http://schemas.openxmlformats.org/officeDocument/2006/relationships/tags" Target="../tags/tag482.xml"/><Relationship Id="rId65" Type="http://schemas.openxmlformats.org/officeDocument/2006/relationships/tags" Target="../tags/tag487.xml"/><Relationship Id="rId73" Type="http://schemas.openxmlformats.org/officeDocument/2006/relationships/tags" Target="../tags/tag495.xml"/><Relationship Id="rId78" Type="http://schemas.openxmlformats.org/officeDocument/2006/relationships/image" Target="../media/image19.png"/><Relationship Id="rId81" Type="http://schemas.openxmlformats.org/officeDocument/2006/relationships/image" Target="../media/image21.png"/><Relationship Id="rId86" Type="http://schemas.openxmlformats.org/officeDocument/2006/relationships/image" Target="../media/image26.png"/><Relationship Id="rId94" Type="http://schemas.openxmlformats.org/officeDocument/2006/relationships/image" Target="../media/image34.svg"/><Relationship Id="rId99" Type="http://schemas.openxmlformats.org/officeDocument/2006/relationships/image" Target="../media/image39.png"/><Relationship Id="rId101" Type="http://schemas.openxmlformats.org/officeDocument/2006/relationships/image" Target="../media/image41.png"/><Relationship Id="rId4" Type="http://schemas.openxmlformats.org/officeDocument/2006/relationships/tags" Target="../tags/tag426.xml"/><Relationship Id="rId9" Type="http://schemas.openxmlformats.org/officeDocument/2006/relationships/tags" Target="../tags/tag431.xml"/><Relationship Id="rId13" Type="http://schemas.openxmlformats.org/officeDocument/2006/relationships/tags" Target="../tags/tag435.xml"/><Relationship Id="rId18" Type="http://schemas.openxmlformats.org/officeDocument/2006/relationships/tags" Target="../tags/tag440.xml"/><Relationship Id="rId39" Type="http://schemas.openxmlformats.org/officeDocument/2006/relationships/tags" Target="../tags/tag461.xml"/><Relationship Id="rId109" Type="http://schemas.openxmlformats.org/officeDocument/2006/relationships/image" Target="../media/image49.png"/><Relationship Id="rId34" Type="http://schemas.openxmlformats.org/officeDocument/2006/relationships/tags" Target="../tags/tag456.xml"/><Relationship Id="rId50" Type="http://schemas.openxmlformats.org/officeDocument/2006/relationships/tags" Target="../tags/tag472.xml"/><Relationship Id="rId55" Type="http://schemas.openxmlformats.org/officeDocument/2006/relationships/tags" Target="../tags/tag477.xml"/><Relationship Id="rId76" Type="http://schemas.openxmlformats.org/officeDocument/2006/relationships/notesSlide" Target="../notesSlides/notesSlide16.xml"/><Relationship Id="rId97" Type="http://schemas.openxmlformats.org/officeDocument/2006/relationships/image" Target="../media/image37.png"/><Relationship Id="rId104" Type="http://schemas.openxmlformats.org/officeDocument/2006/relationships/image" Target="../media/image44.png"/><Relationship Id="rId7" Type="http://schemas.openxmlformats.org/officeDocument/2006/relationships/tags" Target="../tags/tag429.xml"/><Relationship Id="rId71" Type="http://schemas.openxmlformats.org/officeDocument/2006/relationships/tags" Target="../tags/tag493.xml"/><Relationship Id="rId92" Type="http://schemas.openxmlformats.org/officeDocument/2006/relationships/image" Target="../media/image32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04.xml"/><Relationship Id="rId13" Type="http://schemas.openxmlformats.org/officeDocument/2006/relationships/tags" Target="../tags/tag509.xml"/><Relationship Id="rId18" Type="http://schemas.openxmlformats.org/officeDocument/2006/relationships/tags" Target="../tags/tag514.xml"/><Relationship Id="rId26" Type="http://schemas.openxmlformats.org/officeDocument/2006/relationships/tags" Target="../tags/tag522.xml"/><Relationship Id="rId3" Type="http://schemas.openxmlformats.org/officeDocument/2006/relationships/tags" Target="../tags/tag499.xml"/><Relationship Id="rId21" Type="http://schemas.openxmlformats.org/officeDocument/2006/relationships/tags" Target="../tags/tag517.xml"/><Relationship Id="rId34" Type="http://schemas.openxmlformats.org/officeDocument/2006/relationships/image" Target="../media/image53.jpg"/><Relationship Id="rId7" Type="http://schemas.openxmlformats.org/officeDocument/2006/relationships/tags" Target="../tags/tag503.xml"/><Relationship Id="rId12" Type="http://schemas.openxmlformats.org/officeDocument/2006/relationships/tags" Target="../tags/tag508.xml"/><Relationship Id="rId17" Type="http://schemas.openxmlformats.org/officeDocument/2006/relationships/tags" Target="../tags/tag513.xml"/><Relationship Id="rId25" Type="http://schemas.openxmlformats.org/officeDocument/2006/relationships/tags" Target="../tags/tag521.xml"/><Relationship Id="rId33" Type="http://schemas.openxmlformats.org/officeDocument/2006/relationships/image" Target="../media/image6.jpg"/><Relationship Id="rId2" Type="http://schemas.openxmlformats.org/officeDocument/2006/relationships/tags" Target="../tags/tag498.xml"/><Relationship Id="rId16" Type="http://schemas.openxmlformats.org/officeDocument/2006/relationships/tags" Target="../tags/tag512.xml"/><Relationship Id="rId20" Type="http://schemas.openxmlformats.org/officeDocument/2006/relationships/tags" Target="../tags/tag516.xml"/><Relationship Id="rId29" Type="http://schemas.openxmlformats.org/officeDocument/2006/relationships/tags" Target="../tags/tag525.xml"/><Relationship Id="rId1" Type="http://schemas.openxmlformats.org/officeDocument/2006/relationships/tags" Target="../tags/tag497.xml"/><Relationship Id="rId6" Type="http://schemas.openxmlformats.org/officeDocument/2006/relationships/tags" Target="../tags/tag502.xml"/><Relationship Id="rId11" Type="http://schemas.openxmlformats.org/officeDocument/2006/relationships/tags" Target="../tags/tag507.xml"/><Relationship Id="rId24" Type="http://schemas.openxmlformats.org/officeDocument/2006/relationships/tags" Target="../tags/tag520.xml"/><Relationship Id="rId32" Type="http://schemas.openxmlformats.org/officeDocument/2006/relationships/notesSlide" Target="../notesSlides/notesSlide17.xml"/><Relationship Id="rId5" Type="http://schemas.openxmlformats.org/officeDocument/2006/relationships/tags" Target="../tags/tag501.xml"/><Relationship Id="rId15" Type="http://schemas.openxmlformats.org/officeDocument/2006/relationships/tags" Target="../tags/tag511.xml"/><Relationship Id="rId23" Type="http://schemas.openxmlformats.org/officeDocument/2006/relationships/tags" Target="../tags/tag519.xml"/><Relationship Id="rId28" Type="http://schemas.openxmlformats.org/officeDocument/2006/relationships/tags" Target="../tags/tag524.xml"/><Relationship Id="rId10" Type="http://schemas.openxmlformats.org/officeDocument/2006/relationships/tags" Target="../tags/tag506.xml"/><Relationship Id="rId19" Type="http://schemas.openxmlformats.org/officeDocument/2006/relationships/tags" Target="../tags/tag515.xml"/><Relationship Id="rId31" Type="http://schemas.openxmlformats.org/officeDocument/2006/relationships/slideLayout" Target="../slideLayouts/slideLayout35.xml"/><Relationship Id="rId4" Type="http://schemas.openxmlformats.org/officeDocument/2006/relationships/tags" Target="../tags/tag500.xml"/><Relationship Id="rId9" Type="http://schemas.openxmlformats.org/officeDocument/2006/relationships/tags" Target="../tags/tag505.xml"/><Relationship Id="rId14" Type="http://schemas.openxmlformats.org/officeDocument/2006/relationships/tags" Target="../tags/tag510.xml"/><Relationship Id="rId22" Type="http://schemas.openxmlformats.org/officeDocument/2006/relationships/tags" Target="../tags/tag518.xml"/><Relationship Id="rId27" Type="http://schemas.openxmlformats.org/officeDocument/2006/relationships/tags" Target="../tags/tag523.xml"/><Relationship Id="rId30" Type="http://schemas.openxmlformats.org/officeDocument/2006/relationships/tags" Target="../tags/tag52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539.xml"/><Relationship Id="rId18" Type="http://schemas.openxmlformats.org/officeDocument/2006/relationships/tags" Target="../tags/tag544.xml"/><Relationship Id="rId26" Type="http://schemas.openxmlformats.org/officeDocument/2006/relationships/tags" Target="../tags/tag552.xml"/><Relationship Id="rId39" Type="http://schemas.openxmlformats.org/officeDocument/2006/relationships/tags" Target="../tags/tag565.xml"/><Relationship Id="rId3" Type="http://schemas.openxmlformats.org/officeDocument/2006/relationships/tags" Target="../tags/tag529.xml"/><Relationship Id="rId21" Type="http://schemas.openxmlformats.org/officeDocument/2006/relationships/tags" Target="../tags/tag547.xml"/><Relationship Id="rId34" Type="http://schemas.openxmlformats.org/officeDocument/2006/relationships/tags" Target="../tags/tag560.xml"/><Relationship Id="rId42" Type="http://schemas.openxmlformats.org/officeDocument/2006/relationships/tags" Target="../tags/tag568.xml"/><Relationship Id="rId47" Type="http://schemas.openxmlformats.org/officeDocument/2006/relationships/image" Target="../media/image55.svg"/><Relationship Id="rId50" Type="http://schemas.openxmlformats.org/officeDocument/2006/relationships/image" Target="../media/image58.png"/><Relationship Id="rId7" Type="http://schemas.openxmlformats.org/officeDocument/2006/relationships/tags" Target="../tags/tag533.xml"/><Relationship Id="rId12" Type="http://schemas.openxmlformats.org/officeDocument/2006/relationships/tags" Target="../tags/tag538.xml"/><Relationship Id="rId17" Type="http://schemas.openxmlformats.org/officeDocument/2006/relationships/tags" Target="../tags/tag543.xml"/><Relationship Id="rId25" Type="http://schemas.openxmlformats.org/officeDocument/2006/relationships/tags" Target="../tags/tag551.xml"/><Relationship Id="rId33" Type="http://schemas.openxmlformats.org/officeDocument/2006/relationships/tags" Target="../tags/tag559.xml"/><Relationship Id="rId38" Type="http://schemas.openxmlformats.org/officeDocument/2006/relationships/tags" Target="../tags/tag564.xml"/><Relationship Id="rId46" Type="http://schemas.openxmlformats.org/officeDocument/2006/relationships/image" Target="../media/image54.png"/><Relationship Id="rId2" Type="http://schemas.openxmlformats.org/officeDocument/2006/relationships/tags" Target="../tags/tag528.xml"/><Relationship Id="rId16" Type="http://schemas.openxmlformats.org/officeDocument/2006/relationships/tags" Target="../tags/tag542.xml"/><Relationship Id="rId20" Type="http://schemas.openxmlformats.org/officeDocument/2006/relationships/tags" Target="../tags/tag546.xml"/><Relationship Id="rId29" Type="http://schemas.openxmlformats.org/officeDocument/2006/relationships/tags" Target="../tags/tag555.xml"/><Relationship Id="rId41" Type="http://schemas.openxmlformats.org/officeDocument/2006/relationships/tags" Target="../tags/tag567.xml"/><Relationship Id="rId1" Type="http://schemas.openxmlformats.org/officeDocument/2006/relationships/tags" Target="../tags/tag527.xml"/><Relationship Id="rId6" Type="http://schemas.openxmlformats.org/officeDocument/2006/relationships/tags" Target="../tags/tag532.xml"/><Relationship Id="rId11" Type="http://schemas.openxmlformats.org/officeDocument/2006/relationships/tags" Target="../tags/tag537.xml"/><Relationship Id="rId24" Type="http://schemas.openxmlformats.org/officeDocument/2006/relationships/tags" Target="../tags/tag550.xml"/><Relationship Id="rId32" Type="http://schemas.openxmlformats.org/officeDocument/2006/relationships/tags" Target="../tags/tag558.xml"/><Relationship Id="rId37" Type="http://schemas.openxmlformats.org/officeDocument/2006/relationships/tags" Target="../tags/tag563.xml"/><Relationship Id="rId40" Type="http://schemas.openxmlformats.org/officeDocument/2006/relationships/tags" Target="../tags/tag566.xml"/><Relationship Id="rId45" Type="http://schemas.openxmlformats.org/officeDocument/2006/relationships/image" Target="../media/image6.jpg"/><Relationship Id="rId5" Type="http://schemas.openxmlformats.org/officeDocument/2006/relationships/tags" Target="../tags/tag531.xml"/><Relationship Id="rId15" Type="http://schemas.openxmlformats.org/officeDocument/2006/relationships/tags" Target="../tags/tag541.xml"/><Relationship Id="rId23" Type="http://schemas.openxmlformats.org/officeDocument/2006/relationships/tags" Target="../tags/tag549.xml"/><Relationship Id="rId28" Type="http://schemas.openxmlformats.org/officeDocument/2006/relationships/tags" Target="../tags/tag554.xml"/><Relationship Id="rId36" Type="http://schemas.openxmlformats.org/officeDocument/2006/relationships/tags" Target="../tags/tag562.xml"/><Relationship Id="rId49" Type="http://schemas.openxmlformats.org/officeDocument/2006/relationships/image" Target="../media/image57.svg"/><Relationship Id="rId10" Type="http://schemas.openxmlformats.org/officeDocument/2006/relationships/tags" Target="../tags/tag536.xml"/><Relationship Id="rId19" Type="http://schemas.openxmlformats.org/officeDocument/2006/relationships/tags" Target="../tags/tag545.xml"/><Relationship Id="rId31" Type="http://schemas.openxmlformats.org/officeDocument/2006/relationships/tags" Target="../tags/tag557.xml"/><Relationship Id="rId44" Type="http://schemas.openxmlformats.org/officeDocument/2006/relationships/notesSlide" Target="../notesSlides/notesSlide18.xml"/><Relationship Id="rId52" Type="http://schemas.openxmlformats.org/officeDocument/2006/relationships/image" Target="../media/image53.jpg"/><Relationship Id="rId4" Type="http://schemas.openxmlformats.org/officeDocument/2006/relationships/tags" Target="../tags/tag530.xml"/><Relationship Id="rId9" Type="http://schemas.openxmlformats.org/officeDocument/2006/relationships/tags" Target="../tags/tag535.xml"/><Relationship Id="rId14" Type="http://schemas.openxmlformats.org/officeDocument/2006/relationships/tags" Target="../tags/tag540.xml"/><Relationship Id="rId22" Type="http://schemas.openxmlformats.org/officeDocument/2006/relationships/tags" Target="../tags/tag548.xml"/><Relationship Id="rId27" Type="http://schemas.openxmlformats.org/officeDocument/2006/relationships/tags" Target="../tags/tag553.xml"/><Relationship Id="rId30" Type="http://schemas.openxmlformats.org/officeDocument/2006/relationships/tags" Target="../tags/tag556.xml"/><Relationship Id="rId35" Type="http://schemas.openxmlformats.org/officeDocument/2006/relationships/tags" Target="../tags/tag561.xml"/><Relationship Id="rId43" Type="http://schemas.openxmlformats.org/officeDocument/2006/relationships/slideLayout" Target="../slideLayouts/slideLayout36.xml"/><Relationship Id="rId48" Type="http://schemas.openxmlformats.org/officeDocument/2006/relationships/image" Target="../media/image56.png"/><Relationship Id="rId8" Type="http://schemas.openxmlformats.org/officeDocument/2006/relationships/tags" Target="../tags/tag534.xml"/><Relationship Id="rId51" Type="http://schemas.openxmlformats.org/officeDocument/2006/relationships/image" Target="../media/image59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76.xml"/><Relationship Id="rId13" Type="http://schemas.openxmlformats.org/officeDocument/2006/relationships/tags" Target="../tags/tag581.xml"/><Relationship Id="rId18" Type="http://schemas.openxmlformats.org/officeDocument/2006/relationships/image" Target="../media/image60.jpg"/><Relationship Id="rId3" Type="http://schemas.openxmlformats.org/officeDocument/2006/relationships/tags" Target="../tags/tag571.xml"/><Relationship Id="rId21" Type="http://schemas.openxmlformats.org/officeDocument/2006/relationships/image" Target="../media/image62.jpeg"/><Relationship Id="rId7" Type="http://schemas.openxmlformats.org/officeDocument/2006/relationships/tags" Target="../tags/tag575.xml"/><Relationship Id="rId12" Type="http://schemas.openxmlformats.org/officeDocument/2006/relationships/tags" Target="../tags/tag580.xml"/><Relationship Id="rId17" Type="http://schemas.openxmlformats.org/officeDocument/2006/relationships/notesSlide" Target="../notesSlides/notesSlide19.xml"/><Relationship Id="rId2" Type="http://schemas.openxmlformats.org/officeDocument/2006/relationships/tags" Target="../tags/tag570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61.png"/><Relationship Id="rId1" Type="http://schemas.openxmlformats.org/officeDocument/2006/relationships/tags" Target="../tags/tag569.xml"/><Relationship Id="rId6" Type="http://schemas.openxmlformats.org/officeDocument/2006/relationships/tags" Target="../tags/tag574.xml"/><Relationship Id="rId11" Type="http://schemas.openxmlformats.org/officeDocument/2006/relationships/tags" Target="../tags/tag579.xml"/><Relationship Id="rId5" Type="http://schemas.openxmlformats.org/officeDocument/2006/relationships/tags" Target="../tags/tag573.xml"/><Relationship Id="rId15" Type="http://schemas.openxmlformats.org/officeDocument/2006/relationships/tags" Target="../tags/tag583.xml"/><Relationship Id="rId23" Type="http://schemas.openxmlformats.org/officeDocument/2006/relationships/image" Target="../media/image64.png"/><Relationship Id="rId10" Type="http://schemas.openxmlformats.org/officeDocument/2006/relationships/tags" Target="../tags/tag578.xml"/><Relationship Id="rId19" Type="http://schemas.openxmlformats.org/officeDocument/2006/relationships/image" Target="../media/image8.png"/><Relationship Id="rId4" Type="http://schemas.openxmlformats.org/officeDocument/2006/relationships/tags" Target="../tags/tag572.xml"/><Relationship Id="rId9" Type="http://schemas.openxmlformats.org/officeDocument/2006/relationships/tags" Target="../tags/tag577.xml"/><Relationship Id="rId14" Type="http://schemas.openxmlformats.org/officeDocument/2006/relationships/tags" Target="../tags/tag582.xml"/><Relationship Id="rId22" Type="http://schemas.openxmlformats.org/officeDocument/2006/relationships/image" Target="../media/image63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image" Target="../media/image12.png"/><Relationship Id="rId3" Type="http://schemas.openxmlformats.org/officeDocument/2006/relationships/tags" Target="../tags/tag48.xml"/><Relationship Id="rId21" Type="http://schemas.openxmlformats.org/officeDocument/2006/relationships/slideLayout" Target="../slideLayouts/slideLayout3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11.jpe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8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image" Target="../media/image10.jpeg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91.xml"/><Relationship Id="rId13" Type="http://schemas.openxmlformats.org/officeDocument/2006/relationships/tags" Target="../tags/tag596.xml"/><Relationship Id="rId18" Type="http://schemas.openxmlformats.org/officeDocument/2006/relationships/tags" Target="../tags/tag601.xml"/><Relationship Id="rId26" Type="http://schemas.openxmlformats.org/officeDocument/2006/relationships/tags" Target="../tags/tag609.xml"/><Relationship Id="rId3" Type="http://schemas.openxmlformats.org/officeDocument/2006/relationships/tags" Target="../tags/tag586.xml"/><Relationship Id="rId21" Type="http://schemas.openxmlformats.org/officeDocument/2006/relationships/tags" Target="../tags/tag604.xml"/><Relationship Id="rId34" Type="http://schemas.openxmlformats.org/officeDocument/2006/relationships/image" Target="../media/image64.png"/><Relationship Id="rId7" Type="http://schemas.openxmlformats.org/officeDocument/2006/relationships/tags" Target="../tags/tag590.xml"/><Relationship Id="rId12" Type="http://schemas.openxmlformats.org/officeDocument/2006/relationships/tags" Target="../tags/tag595.xml"/><Relationship Id="rId17" Type="http://schemas.openxmlformats.org/officeDocument/2006/relationships/tags" Target="../tags/tag600.xml"/><Relationship Id="rId25" Type="http://schemas.openxmlformats.org/officeDocument/2006/relationships/tags" Target="../tags/tag608.xml"/><Relationship Id="rId33" Type="http://schemas.openxmlformats.org/officeDocument/2006/relationships/image" Target="../media/image63.jpg"/><Relationship Id="rId2" Type="http://schemas.openxmlformats.org/officeDocument/2006/relationships/tags" Target="../tags/tag585.xml"/><Relationship Id="rId16" Type="http://schemas.openxmlformats.org/officeDocument/2006/relationships/tags" Target="../tags/tag599.xml"/><Relationship Id="rId20" Type="http://schemas.openxmlformats.org/officeDocument/2006/relationships/tags" Target="../tags/tag603.xml"/><Relationship Id="rId29" Type="http://schemas.openxmlformats.org/officeDocument/2006/relationships/image" Target="../media/image60.jpg"/><Relationship Id="rId1" Type="http://schemas.openxmlformats.org/officeDocument/2006/relationships/tags" Target="../tags/tag584.xml"/><Relationship Id="rId6" Type="http://schemas.openxmlformats.org/officeDocument/2006/relationships/tags" Target="../tags/tag589.xml"/><Relationship Id="rId11" Type="http://schemas.openxmlformats.org/officeDocument/2006/relationships/tags" Target="../tags/tag594.xml"/><Relationship Id="rId24" Type="http://schemas.openxmlformats.org/officeDocument/2006/relationships/tags" Target="../tags/tag607.xml"/><Relationship Id="rId32" Type="http://schemas.openxmlformats.org/officeDocument/2006/relationships/image" Target="../media/image62.jpeg"/><Relationship Id="rId5" Type="http://schemas.openxmlformats.org/officeDocument/2006/relationships/tags" Target="../tags/tag588.xml"/><Relationship Id="rId15" Type="http://schemas.openxmlformats.org/officeDocument/2006/relationships/tags" Target="../tags/tag598.xml"/><Relationship Id="rId23" Type="http://schemas.openxmlformats.org/officeDocument/2006/relationships/tags" Target="../tags/tag606.xml"/><Relationship Id="rId28" Type="http://schemas.openxmlformats.org/officeDocument/2006/relationships/notesSlide" Target="../notesSlides/notesSlide20.xml"/><Relationship Id="rId10" Type="http://schemas.openxmlformats.org/officeDocument/2006/relationships/tags" Target="../tags/tag593.xml"/><Relationship Id="rId19" Type="http://schemas.openxmlformats.org/officeDocument/2006/relationships/tags" Target="../tags/tag602.xml"/><Relationship Id="rId31" Type="http://schemas.openxmlformats.org/officeDocument/2006/relationships/image" Target="../media/image61.png"/><Relationship Id="rId4" Type="http://schemas.openxmlformats.org/officeDocument/2006/relationships/tags" Target="../tags/tag587.xml"/><Relationship Id="rId9" Type="http://schemas.openxmlformats.org/officeDocument/2006/relationships/tags" Target="../tags/tag592.xml"/><Relationship Id="rId14" Type="http://schemas.openxmlformats.org/officeDocument/2006/relationships/tags" Target="../tags/tag597.xml"/><Relationship Id="rId22" Type="http://schemas.openxmlformats.org/officeDocument/2006/relationships/tags" Target="../tags/tag605.xml"/><Relationship Id="rId27" Type="http://schemas.openxmlformats.org/officeDocument/2006/relationships/slideLayout" Target="../slideLayouts/slideLayout36.xml"/><Relationship Id="rId30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617.xml"/><Relationship Id="rId13" Type="http://schemas.openxmlformats.org/officeDocument/2006/relationships/tags" Target="../tags/tag622.xml"/><Relationship Id="rId18" Type="http://schemas.openxmlformats.org/officeDocument/2006/relationships/tags" Target="../tags/tag627.xml"/><Relationship Id="rId26" Type="http://schemas.openxmlformats.org/officeDocument/2006/relationships/tags" Target="../tags/tag635.xml"/><Relationship Id="rId39" Type="http://schemas.openxmlformats.org/officeDocument/2006/relationships/slideLayout" Target="../slideLayouts/slideLayout36.xml"/><Relationship Id="rId3" Type="http://schemas.openxmlformats.org/officeDocument/2006/relationships/tags" Target="../tags/tag612.xml"/><Relationship Id="rId21" Type="http://schemas.openxmlformats.org/officeDocument/2006/relationships/tags" Target="../tags/tag630.xml"/><Relationship Id="rId34" Type="http://schemas.openxmlformats.org/officeDocument/2006/relationships/tags" Target="../tags/tag643.xml"/><Relationship Id="rId42" Type="http://schemas.openxmlformats.org/officeDocument/2006/relationships/image" Target="../media/image5.png"/><Relationship Id="rId7" Type="http://schemas.openxmlformats.org/officeDocument/2006/relationships/tags" Target="../tags/tag616.xml"/><Relationship Id="rId12" Type="http://schemas.openxmlformats.org/officeDocument/2006/relationships/tags" Target="../tags/tag621.xml"/><Relationship Id="rId17" Type="http://schemas.openxmlformats.org/officeDocument/2006/relationships/tags" Target="../tags/tag626.xml"/><Relationship Id="rId25" Type="http://schemas.openxmlformats.org/officeDocument/2006/relationships/tags" Target="../tags/tag634.xml"/><Relationship Id="rId33" Type="http://schemas.openxmlformats.org/officeDocument/2006/relationships/tags" Target="../tags/tag642.xml"/><Relationship Id="rId38" Type="http://schemas.openxmlformats.org/officeDocument/2006/relationships/tags" Target="../tags/tag647.xml"/><Relationship Id="rId2" Type="http://schemas.openxmlformats.org/officeDocument/2006/relationships/tags" Target="../tags/tag611.xml"/><Relationship Id="rId16" Type="http://schemas.openxmlformats.org/officeDocument/2006/relationships/tags" Target="../tags/tag625.xml"/><Relationship Id="rId20" Type="http://schemas.openxmlformats.org/officeDocument/2006/relationships/tags" Target="../tags/tag629.xml"/><Relationship Id="rId29" Type="http://schemas.openxmlformats.org/officeDocument/2006/relationships/tags" Target="../tags/tag638.xml"/><Relationship Id="rId41" Type="http://schemas.openxmlformats.org/officeDocument/2006/relationships/image" Target="../media/image4.jpg"/><Relationship Id="rId1" Type="http://schemas.openxmlformats.org/officeDocument/2006/relationships/tags" Target="../tags/tag610.xml"/><Relationship Id="rId6" Type="http://schemas.openxmlformats.org/officeDocument/2006/relationships/tags" Target="../tags/tag615.xml"/><Relationship Id="rId11" Type="http://schemas.openxmlformats.org/officeDocument/2006/relationships/tags" Target="../tags/tag620.xml"/><Relationship Id="rId24" Type="http://schemas.openxmlformats.org/officeDocument/2006/relationships/tags" Target="../tags/tag633.xml"/><Relationship Id="rId32" Type="http://schemas.openxmlformats.org/officeDocument/2006/relationships/tags" Target="../tags/tag641.xml"/><Relationship Id="rId37" Type="http://schemas.openxmlformats.org/officeDocument/2006/relationships/tags" Target="../tags/tag646.xml"/><Relationship Id="rId40" Type="http://schemas.openxmlformats.org/officeDocument/2006/relationships/notesSlide" Target="../notesSlides/notesSlide21.xml"/><Relationship Id="rId45" Type="http://schemas.openxmlformats.org/officeDocument/2006/relationships/image" Target="../media/image67.jpeg"/><Relationship Id="rId5" Type="http://schemas.openxmlformats.org/officeDocument/2006/relationships/tags" Target="../tags/tag614.xml"/><Relationship Id="rId15" Type="http://schemas.openxmlformats.org/officeDocument/2006/relationships/tags" Target="../tags/tag624.xml"/><Relationship Id="rId23" Type="http://schemas.openxmlformats.org/officeDocument/2006/relationships/tags" Target="../tags/tag632.xml"/><Relationship Id="rId28" Type="http://schemas.openxmlformats.org/officeDocument/2006/relationships/tags" Target="../tags/tag637.xml"/><Relationship Id="rId36" Type="http://schemas.openxmlformats.org/officeDocument/2006/relationships/tags" Target="../tags/tag645.xml"/><Relationship Id="rId10" Type="http://schemas.openxmlformats.org/officeDocument/2006/relationships/tags" Target="../tags/tag619.xml"/><Relationship Id="rId19" Type="http://schemas.openxmlformats.org/officeDocument/2006/relationships/tags" Target="../tags/tag628.xml"/><Relationship Id="rId31" Type="http://schemas.openxmlformats.org/officeDocument/2006/relationships/tags" Target="../tags/tag640.xml"/><Relationship Id="rId44" Type="http://schemas.openxmlformats.org/officeDocument/2006/relationships/image" Target="../media/image66.jpeg"/><Relationship Id="rId4" Type="http://schemas.openxmlformats.org/officeDocument/2006/relationships/tags" Target="../tags/tag613.xml"/><Relationship Id="rId9" Type="http://schemas.openxmlformats.org/officeDocument/2006/relationships/tags" Target="../tags/tag618.xml"/><Relationship Id="rId14" Type="http://schemas.openxmlformats.org/officeDocument/2006/relationships/tags" Target="../tags/tag623.xml"/><Relationship Id="rId22" Type="http://schemas.openxmlformats.org/officeDocument/2006/relationships/tags" Target="../tags/tag631.xml"/><Relationship Id="rId27" Type="http://schemas.openxmlformats.org/officeDocument/2006/relationships/tags" Target="../tags/tag636.xml"/><Relationship Id="rId30" Type="http://schemas.openxmlformats.org/officeDocument/2006/relationships/tags" Target="../tags/tag639.xml"/><Relationship Id="rId35" Type="http://schemas.openxmlformats.org/officeDocument/2006/relationships/tags" Target="../tags/tag644.xml"/><Relationship Id="rId43" Type="http://schemas.openxmlformats.org/officeDocument/2006/relationships/image" Target="../media/image65.jp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660.xml"/><Relationship Id="rId18" Type="http://schemas.openxmlformats.org/officeDocument/2006/relationships/tags" Target="../tags/tag665.xml"/><Relationship Id="rId26" Type="http://schemas.openxmlformats.org/officeDocument/2006/relationships/tags" Target="../tags/tag673.xml"/><Relationship Id="rId39" Type="http://schemas.openxmlformats.org/officeDocument/2006/relationships/tags" Target="../tags/tag686.xml"/><Relationship Id="rId21" Type="http://schemas.openxmlformats.org/officeDocument/2006/relationships/tags" Target="../tags/tag668.xml"/><Relationship Id="rId34" Type="http://schemas.openxmlformats.org/officeDocument/2006/relationships/tags" Target="../tags/tag681.xml"/><Relationship Id="rId42" Type="http://schemas.openxmlformats.org/officeDocument/2006/relationships/tags" Target="../tags/tag689.xml"/><Relationship Id="rId47" Type="http://schemas.openxmlformats.org/officeDocument/2006/relationships/tags" Target="../tags/tag694.xml"/><Relationship Id="rId50" Type="http://schemas.openxmlformats.org/officeDocument/2006/relationships/tags" Target="../tags/tag697.xml"/><Relationship Id="rId55" Type="http://schemas.openxmlformats.org/officeDocument/2006/relationships/tags" Target="../tags/tag702.xml"/><Relationship Id="rId63" Type="http://schemas.openxmlformats.org/officeDocument/2006/relationships/image" Target="../media/image65.jpg"/><Relationship Id="rId7" Type="http://schemas.openxmlformats.org/officeDocument/2006/relationships/tags" Target="../tags/tag654.xml"/><Relationship Id="rId2" Type="http://schemas.openxmlformats.org/officeDocument/2006/relationships/tags" Target="../tags/tag649.xml"/><Relationship Id="rId16" Type="http://schemas.openxmlformats.org/officeDocument/2006/relationships/tags" Target="../tags/tag663.xml"/><Relationship Id="rId20" Type="http://schemas.openxmlformats.org/officeDocument/2006/relationships/tags" Target="../tags/tag667.xml"/><Relationship Id="rId29" Type="http://schemas.openxmlformats.org/officeDocument/2006/relationships/tags" Target="../tags/tag676.xml"/><Relationship Id="rId41" Type="http://schemas.openxmlformats.org/officeDocument/2006/relationships/tags" Target="../tags/tag688.xml"/><Relationship Id="rId54" Type="http://schemas.openxmlformats.org/officeDocument/2006/relationships/tags" Target="../tags/tag701.xml"/><Relationship Id="rId62" Type="http://schemas.openxmlformats.org/officeDocument/2006/relationships/image" Target="../media/image69.jpeg"/><Relationship Id="rId1" Type="http://schemas.openxmlformats.org/officeDocument/2006/relationships/tags" Target="../tags/tag648.xml"/><Relationship Id="rId6" Type="http://schemas.openxmlformats.org/officeDocument/2006/relationships/tags" Target="../tags/tag653.xml"/><Relationship Id="rId11" Type="http://schemas.openxmlformats.org/officeDocument/2006/relationships/tags" Target="../tags/tag658.xml"/><Relationship Id="rId24" Type="http://schemas.openxmlformats.org/officeDocument/2006/relationships/tags" Target="../tags/tag671.xml"/><Relationship Id="rId32" Type="http://schemas.openxmlformats.org/officeDocument/2006/relationships/tags" Target="../tags/tag679.xml"/><Relationship Id="rId37" Type="http://schemas.openxmlformats.org/officeDocument/2006/relationships/tags" Target="../tags/tag684.xml"/><Relationship Id="rId40" Type="http://schemas.openxmlformats.org/officeDocument/2006/relationships/tags" Target="../tags/tag687.xml"/><Relationship Id="rId45" Type="http://schemas.openxmlformats.org/officeDocument/2006/relationships/tags" Target="../tags/tag692.xml"/><Relationship Id="rId53" Type="http://schemas.openxmlformats.org/officeDocument/2006/relationships/tags" Target="../tags/tag700.xml"/><Relationship Id="rId58" Type="http://schemas.openxmlformats.org/officeDocument/2006/relationships/notesSlide" Target="../notesSlides/notesSlide22.xml"/><Relationship Id="rId66" Type="http://schemas.openxmlformats.org/officeDocument/2006/relationships/image" Target="../media/image67.jpeg"/><Relationship Id="rId5" Type="http://schemas.openxmlformats.org/officeDocument/2006/relationships/tags" Target="../tags/tag652.xml"/><Relationship Id="rId15" Type="http://schemas.openxmlformats.org/officeDocument/2006/relationships/tags" Target="../tags/tag662.xml"/><Relationship Id="rId23" Type="http://schemas.openxmlformats.org/officeDocument/2006/relationships/tags" Target="../tags/tag670.xml"/><Relationship Id="rId28" Type="http://schemas.openxmlformats.org/officeDocument/2006/relationships/tags" Target="../tags/tag675.xml"/><Relationship Id="rId36" Type="http://schemas.openxmlformats.org/officeDocument/2006/relationships/tags" Target="../tags/tag683.xml"/><Relationship Id="rId49" Type="http://schemas.openxmlformats.org/officeDocument/2006/relationships/tags" Target="../tags/tag696.xml"/><Relationship Id="rId57" Type="http://schemas.openxmlformats.org/officeDocument/2006/relationships/slideLayout" Target="../slideLayouts/slideLayout36.xml"/><Relationship Id="rId61" Type="http://schemas.openxmlformats.org/officeDocument/2006/relationships/image" Target="../media/image68.jpeg"/><Relationship Id="rId10" Type="http://schemas.openxmlformats.org/officeDocument/2006/relationships/tags" Target="../tags/tag657.xml"/><Relationship Id="rId19" Type="http://schemas.openxmlformats.org/officeDocument/2006/relationships/tags" Target="../tags/tag666.xml"/><Relationship Id="rId31" Type="http://schemas.openxmlformats.org/officeDocument/2006/relationships/tags" Target="../tags/tag678.xml"/><Relationship Id="rId44" Type="http://schemas.openxmlformats.org/officeDocument/2006/relationships/tags" Target="../tags/tag691.xml"/><Relationship Id="rId52" Type="http://schemas.openxmlformats.org/officeDocument/2006/relationships/tags" Target="../tags/tag699.xml"/><Relationship Id="rId60" Type="http://schemas.openxmlformats.org/officeDocument/2006/relationships/image" Target="../media/image5.png"/><Relationship Id="rId65" Type="http://schemas.openxmlformats.org/officeDocument/2006/relationships/image" Target="../media/image70.jpeg"/><Relationship Id="rId4" Type="http://schemas.openxmlformats.org/officeDocument/2006/relationships/tags" Target="../tags/tag651.xml"/><Relationship Id="rId9" Type="http://schemas.openxmlformats.org/officeDocument/2006/relationships/tags" Target="../tags/tag656.xml"/><Relationship Id="rId14" Type="http://schemas.openxmlformats.org/officeDocument/2006/relationships/tags" Target="../tags/tag661.xml"/><Relationship Id="rId22" Type="http://schemas.openxmlformats.org/officeDocument/2006/relationships/tags" Target="../tags/tag669.xml"/><Relationship Id="rId27" Type="http://schemas.openxmlformats.org/officeDocument/2006/relationships/tags" Target="../tags/tag674.xml"/><Relationship Id="rId30" Type="http://schemas.openxmlformats.org/officeDocument/2006/relationships/tags" Target="../tags/tag677.xml"/><Relationship Id="rId35" Type="http://schemas.openxmlformats.org/officeDocument/2006/relationships/tags" Target="../tags/tag682.xml"/><Relationship Id="rId43" Type="http://schemas.openxmlformats.org/officeDocument/2006/relationships/tags" Target="../tags/tag690.xml"/><Relationship Id="rId48" Type="http://schemas.openxmlformats.org/officeDocument/2006/relationships/tags" Target="../tags/tag695.xml"/><Relationship Id="rId56" Type="http://schemas.openxmlformats.org/officeDocument/2006/relationships/tags" Target="../tags/tag703.xml"/><Relationship Id="rId64" Type="http://schemas.openxmlformats.org/officeDocument/2006/relationships/image" Target="../media/image66.jpeg"/><Relationship Id="rId8" Type="http://schemas.openxmlformats.org/officeDocument/2006/relationships/tags" Target="../tags/tag655.xml"/><Relationship Id="rId51" Type="http://schemas.openxmlformats.org/officeDocument/2006/relationships/tags" Target="../tags/tag698.xml"/><Relationship Id="rId3" Type="http://schemas.openxmlformats.org/officeDocument/2006/relationships/tags" Target="../tags/tag650.xml"/><Relationship Id="rId12" Type="http://schemas.openxmlformats.org/officeDocument/2006/relationships/tags" Target="../tags/tag659.xml"/><Relationship Id="rId17" Type="http://schemas.openxmlformats.org/officeDocument/2006/relationships/tags" Target="../tags/tag664.xml"/><Relationship Id="rId25" Type="http://schemas.openxmlformats.org/officeDocument/2006/relationships/tags" Target="../tags/tag672.xml"/><Relationship Id="rId33" Type="http://schemas.openxmlformats.org/officeDocument/2006/relationships/tags" Target="../tags/tag680.xml"/><Relationship Id="rId38" Type="http://schemas.openxmlformats.org/officeDocument/2006/relationships/tags" Target="../tags/tag685.xml"/><Relationship Id="rId46" Type="http://schemas.openxmlformats.org/officeDocument/2006/relationships/tags" Target="../tags/tag693.xml"/><Relationship Id="rId59" Type="http://schemas.openxmlformats.org/officeDocument/2006/relationships/image" Target="../media/image4.jpg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716.xml"/><Relationship Id="rId18" Type="http://schemas.openxmlformats.org/officeDocument/2006/relationships/tags" Target="../tags/tag721.xml"/><Relationship Id="rId26" Type="http://schemas.openxmlformats.org/officeDocument/2006/relationships/tags" Target="../tags/tag729.xml"/><Relationship Id="rId39" Type="http://schemas.openxmlformats.org/officeDocument/2006/relationships/tags" Target="../tags/tag742.xml"/><Relationship Id="rId21" Type="http://schemas.openxmlformats.org/officeDocument/2006/relationships/tags" Target="../tags/tag724.xml"/><Relationship Id="rId34" Type="http://schemas.openxmlformats.org/officeDocument/2006/relationships/tags" Target="../tags/tag737.xml"/><Relationship Id="rId42" Type="http://schemas.openxmlformats.org/officeDocument/2006/relationships/tags" Target="../tags/tag745.xml"/><Relationship Id="rId47" Type="http://schemas.openxmlformats.org/officeDocument/2006/relationships/tags" Target="../tags/tag750.xml"/><Relationship Id="rId50" Type="http://schemas.openxmlformats.org/officeDocument/2006/relationships/tags" Target="../tags/tag753.xml"/><Relationship Id="rId55" Type="http://schemas.openxmlformats.org/officeDocument/2006/relationships/notesSlide" Target="../notesSlides/notesSlide23.xml"/><Relationship Id="rId63" Type="http://schemas.openxmlformats.org/officeDocument/2006/relationships/image" Target="../media/image70.jpeg"/><Relationship Id="rId7" Type="http://schemas.openxmlformats.org/officeDocument/2006/relationships/tags" Target="../tags/tag710.xml"/><Relationship Id="rId2" Type="http://schemas.openxmlformats.org/officeDocument/2006/relationships/tags" Target="../tags/tag705.xml"/><Relationship Id="rId16" Type="http://schemas.openxmlformats.org/officeDocument/2006/relationships/tags" Target="../tags/tag719.xml"/><Relationship Id="rId20" Type="http://schemas.openxmlformats.org/officeDocument/2006/relationships/tags" Target="../tags/tag723.xml"/><Relationship Id="rId29" Type="http://schemas.openxmlformats.org/officeDocument/2006/relationships/tags" Target="../tags/tag732.xml"/><Relationship Id="rId41" Type="http://schemas.openxmlformats.org/officeDocument/2006/relationships/tags" Target="../tags/tag744.xml"/><Relationship Id="rId54" Type="http://schemas.openxmlformats.org/officeDocument/2006/relationships/slideLayout" Target="../slideLayouts/slideLayout36.xml"/><Relationship Id="rId62" Type="http://schemas.openxmlformats.org/officeDocument/2006/relationships/image" Target="../media/image69.jpeg"/><Relationship Id="rId1" Type="http://schemas.openxmlformats.org/officeDocument/2006/relationships/tags" Target="../tags/tag704.xml"/><Relationship Id="rId6" Type="http://schemas.openxmlformats.org/officeDocument/2006/relationships/tags" Target="../tags/tag709.xml"/><Relationship Id="rId11" Type="http://schemas.openxmlformats.org/officeDocument/2006/relationships/tags" Target="../tags/tag714.xml"/><Relationship Id="rId24" Type="http://schemas.openxmlformats.org/officeDocument/2006/relationships/tags" Target="../tags/tag727.xml"/><Relationship Id="rId32" Type="http://schemas.openxmlformats.org/officeDocument/2006/relationships/tags" Target="../tags/tag735.xml"/><Relationship Id="rId37" Type="http://schemas.openxmlformats.org/officeDocument/2006/relationships/tags" Target="../tags/tag740.xml"/><Relationship Id="rId40" Type="http://schemas.openxmlformats.org/officeDocument/2006/relationships/tags" Target="../tags/tag743.xml"/><Relationship Id="rId45" Type="http://schemas.openxmlformats.org/officeDocument/2006/relationships/tags" Target="../tags/tag748.xml"/><Relationship Id="rId53" Type="http://schemas.openxmlformats.org/officeDocument/2006/relationships/tags" Target="../tags/tag756.xml"/><Relationship Id="rId58" Type="http://schemas.openxmlformats.org/officeDocument/2006/relationships/image" Target="../media/image71.jpeg"/><Relationship Id="rId5" Type="http://schemas.openxmlformats.org/officeDocument/2006/relationships/tags" Target="../tags/tag708.xml"/><Relationship Id="rId15" Type="http://schemas.openxmlformats.org/officeDocument/2006/relationships/tags" Target="../tags/tag718.xml"/><Relationship Id="rId23" Type="http://schemas.openxmlformats.org/officeDocument/2006/relationships/tags" Target="../tags/tag726.xml"/><Relationship Id="rId28" Type="http://schemas.openxmlformats.org/officeDocument/2006/relationships/tags" Target="../tags/tag731.xml"/><Relationship Id="rId36" Type="http://schemas.openxmlformats.org/officeDocument/2006/relationships/tags" Target="../tags/tag739.xml"/><Relationship Id="rId49" Type="http://schemas.openxmlformats.org/officeDocument/2006/relationships/tags" Target="../tags/tag752.xml"/><Relationship Id="rId57" Type="http://schemas.openxmlformats.org/officeDocument/2006/relationships/image" Target="../media/image5.png"/><Relationship Id="rId61" Type="http://schemas.openxmlformats.org/officeDocument/2006/relationships/image" Target="../media/image68.jpeg"/><Relationship Id="rId10" Type="http://schemas.openxmlformats.org/officeDocument/2006/relationships/tags" Target="../tags/tag713.xml"/><Relationship Id="rId19" Type="http://schemas.openxmlformats.org/officeDocument/2006/relationships/tags" Target="../tags/tag722.xml"/><Relationship Id="rId31" Type="http://schemas.openxmlformats.org/officeDocument/2006/relationships/tags" Target="../tags/tag734.xml"/><Relationship Id="rId44" Type="http://schemas.openxmlformats.org/officeDocument/2006/relationships/tags" Target="../tags/tag747.xml"/><Relationship Id="rId52" Type="http://schemas.openxmlformats.org/officeDocument/2006/relationships/tags" Target="../tags/tag755.xml"/><Relationship Id="rId60" Type="http://schemas.openxmlformats.org/officeDocument/2006/relationships/image" Target="../media/image73.jpeg"/><Relationship Id="rId4" Type="http://schemas.openxmlformats.org/officeDocument/2006/relationships/tags" Target="../tags/tag707.xml"/><Relationship Id="rId9" Type="http://schemas.openxmlformats.org/officeDocument/2006/relationships/tags" Target="../tags/tag712.xml"/><Relationship Id="rId14" Type="http://schemas.openxmlformats.org/officeDocument/2006/relationships/tags" Target="../tags/tag717.xml"/><Relationship Id="rId22" Type="http://schemas.openxmlformats.org/officeDocument/2006/relationships/tags" Target="../tags/tag725.xml"/><Relationship Id="rId27" Type="http://schemas.openxmlformats.org/officeDocument/2006/relationships/tags" Target="../tags/tag730.xml"/><Relationship Id="rId30" Type="http://schemas.openxmlformats.org/officeDocument/2006/relationships/tags" Target="../tags/tag733.xml"/><Relationship Id="rId35" Type="http://schemas.openxmlformats.org/officeDocument/2006/relationships/tags" Target="../tags/tag738.xml"/><Relationship Id="rId43" Type="http://schemas.openxmlformats.org/officeDocument/2006/relationships/tags" Target="../tags/tag746.xml"/><Relationship Id="rId48" Type="http://schemas.openxmlformats.org/officeDocument/2006/relationships/tags" Target="../tags/tag751.xml"/><Relationship Id="rId56" Type="http://schemas.openxmlformats.org/officeDocument/2006/relationships/image" Target="../media/image4.jpg"/><Relationship Id="rId8" Type="http://schemas.openxmlformats.org/officeDocument/2006/relationships/tags" Target="../tags/tag711.xml"/><Relationship Id="rId51" Type="http://schemas.openxmlformats.org/officeDocument/2006/relationships/tags" Target="../tags/tag754.xml"/><Relationship Id="rId3" Type="http://schemas.openxmlformats.org/officeDocument/2006/relationships/tags" Target="../tags/tag706.xml"/><Relationship Id="rId12" Type="http://schemas.openxmlformats.org/officeDocument/2006/relationships/tags" Target="../tags/tag715.xml"/><Relationship Id="rId17" Type="http://schemas.openxmlformats.org/officeDocument/2006/relationships/tags" Target="../tags/tag720.xml"/><Relationship Id="rId25" Type="http://schemas.openxmlformats.org/officeDocument/2006/relationships/tags" Target="../tags/tag728.xml"/><Relationship Id="rId33" Type="http://schemas.openxmlformats.org/officeDocument/2006/relationships/tags" Target="../tags/tag736.xml"/><Relationship Id="rId38" Type="http://schemas.openxmlformats.org/officeDocument/2006/relationships/tags" Target="../tags/tag741.xml"/><Relationship Id="rId46" Type="http://schemas.openxmlformats.org/officeDocument/2006/relationships/tags" Target="../tags/tag749.xml"/><Relationship Id="rId59" Type="http://schemas.openxmlformats.org/officeDocument/2006/relationships/image" Target="../media/image72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764.xml"/><Relationship Id="rId13" Type="http://schemas.openxmlformats.org/officeDocument/2006/relationships/tags" Target="../tags/tag769.xml"/><Relationship Id="rId18" Type="http://schemas.openxmlformats.org/officeDocument/2006/relationships/tags" Target="../tags/tag774.xml"/><Relationship Id="rId26" Type="http://schemas.openxmlformats.org/officeDocument/2006/relationships/tags" Target="../tags/tag782.xml"/><Relationship Id="rId39" Type="http://schemas.openxmlformats.org/officeDocument/2006/relationships/image" Target="../media/image75.jpeg"/><Relationship Id="rId3" Type="http://schemas.openxmlformats.org/officeDocument/2006/relationships/tags" Target="../tags/tag759.xml"/><Relationship Id="rId21" Type="http://schemas.openxmlformats.org/officeDocument/2006/relationships/tags" Target="../tags/tag777.xml"/><Relationship Id="rId34" Type="http://schemas.openxmlformats.org/officeDocument/2006/relationships/slideLayout" Target="../slideLayouts/slideLayout36.xml"/><Relationship Id="rId7" Type="http://schemas.openxmlformats.org/officeDocument/2006/relationships/tags" Target="../tags/tag763.xml"/><Relationship Id="rId12" Type="http://schemas.openxmlformats.org/officeDocument/2006/relationships/tags" Target="../tags/tag768.xml"/><Relationship Id="rId17" Type="http://schemas.openxmlformats.org/officeDocument/2006/relationships/tags" Target="../tags/tag773.xml"/><Relationship Id="rId25" Type="http://schemas.openxmlformats.org/officeDocument/2006/relationships/tags" Target="../tags/tag781.xml"/><Relationship Id="rId33" Type="http://schemas.openxmlformats.org/officeDocument/2006/relationships/tags" Target="../tags/tag789.xml"/><Relationship Id="rId38" Type="http://schemas.openxmlformats.org/officeDocument/2006/relationships/image" Target="../media/image74.jpeg"/><Relationship Id="rId2" Type="http://schemas.openxmlformats.org/officeDocument/2006/relationships/tags" Target="../tags/tag758.xml"/><Relationship Id="rId16" Type="http://schemas.openxmlformats.org/officeDocument/2006/relationships/tags" Target="../tags/tag772.xml"/><Relationship Id="rId20" Type="http://schemas.openxmlformats.org/officeDocument/2006/relationships/tags" Target="../tags/tag776.xml"/><Relationship Id="rId29" Type="http://schemas.openxmlformats.org/officeDocument/2006/relationships/tags" Target="../tags/tag785.xml"/><Relationship Id="rId41" Type="http://schemas.openxmlformats.org/officeDocument/2006/relationships/chart" Target="../charts/chart2.xml"/><Relationship Id="rId1" Type="http://schemas.openxmlformats.org/officeDocument/2006/relationships/tags" Target="../tags/tag757.xml"/><Relationship Id="rId6" Type="http://schemas.openxmlformats.org/officeDocument/2006/relationships/tags" Target="../tags/tag762.xml"/><Relationship Id="rId11" Type="http://schemas.openxmlformats.org/officeDocument/2006/relationships/tags" Target="../tags/tag767.xml"/><Relationship Id="rId24" Type="http://schemas.openxmlformats.org/officeDocument/2006/relationships/tags" Target="../tags/tag780.xml"/><Relationship Id="rId32" Type="http://schemas.openxmlformats.org/officeDocument/2006/relationships/tags" Target="../tags/tag788.xml"/><Relationship Id="rId37" Type="http://schemas.openxmlformats.org/officeDocument/2006/relationships/image" Target="../media/image5.png"/><Relationship Id="rId40" Type="http://schemas.openxmlformats.org/officeDocument/2006/relationships/chart" Target="../charts/chart1.xml"/><Relationship Id="rId5" Type="http://schemas.openxmlformats.org/officeDocument/2006/relationships/tags" Target="../tags/tag761.xml"/><Relationship Id="rId15" Type="http://schemas.openxmlformats.org/officeDocument/2006/relationships/tags" Target="../tags/tag771.xml"/><Relationship Id="rId23" Type="http://schemas.openxmlformats.org/officeDocument/2006/relationships/tags" Target="../tags/tag779.xml"/><Relationship Id="rId28" Type="http://schemas.openxmlformats.org/officeDocument/2006/relationships/tags" Target="../tags/tag784.xml"/><Relationship Id="rId36" Type="http://schemas.openxmlformats.org/officeDocument/2006/relationships/image" Target="../media/image4.jpg"/><Relationship Id="rId10" Type="http://schemas.openxmlformats.org/officeDocument/2006/relationships/tags" Target="../tags/tag766.xml"/><Relationship Id="rId19" Type="http://schemas.openxmlformats.org/officeDocument/2006/relationships/tags" Target="../tags/tag775.xml"/><Relationship Id="rId31" Type="http://schemas.openxmlformats.org/officeDocument/2006/relationships/tags" Target="../tags/tag787.xml"/><Relationship Id="rId4" Type="http://schemas.openxmlformats.org/officeDocument/2006/relationships/tags" Target="../tags/tag760.xml"/><Relationship Id="rId9" Type="http://schemas.openxmlformats.org/officeDocument/2006/relationships/tags" Target="../tags/tag765.xml"/><Relationship Id="rId14" Type="http://schemas.openxmlformats.org/officeDocument/2006/relationships/tags" Target="../tags/tag770.xml"/><Relationship Id="rId22" Type="http://schemas.openxmlformats.org/officeDocument/2006/relationships/tags" Target="../tags/tag778.xml"/><Relationship Id="rId27" Type="http://schemas.openxmlformats.org/officeDocument/2006/relationships/tags" Target="../tags/tag783.xml"/><Relationship Id="rId30" Type="http://schemas.openxmlformats.org/officeDocument/2006/relationships/tags" Target="../tags/tag786.xml"/><Relationship Id="rId35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797.xml"/><Relationship Id="rId13" Type="http://schemas.openxmlformats.org/officeDocument/2006/relationships/tags" Target="../tags/tag802.xml"/><Relationship Id="rId18" Type="http://schemas.openxmlformats.org/officeDocument/2006/relationships/slideLayout" Target="../slideLayouts/slideLayout35.xml"/><Relationship Id="rId3" Type="http://schemas.openxmlformats.org/officeDocument/2006/relationships/tags" Target="../tags/tag792.xml"/><Relationship Id="rId21" Type="http://schemas.openxmlformats.org/officeDocument/2006/relationships/image" Target="../media/image77.png"/><Relationship Id="rId7" Type="http://schemas.openxmlformats.org/officeDocument/2006/relationships/tags" Target="../tags/tag796.xml"/><Relationship Id="rId12" Type="http://schemas.openxmlformats.org/officeDocument/2006/relationships/tags" Target="../tags/tag801.xml"/><Relationship Id="rId17" Type="http://schemas.openxmlformats.org/officeDocument/2006/relationships/tags" Target="../tags/tag806.xml"/><Relationship Id="rId25" Type="http://schemas.openxmlformats.org/officeDocument/2006/relationships/image" Target="../media/image81.png"/><Relationship Id="rId2" Type="http://schemas.openxmlformats.org/officeDocument/2006/relationships/tags" Target="../tags/tag791.xml"/><Relationship Id="rId16" Type="http://schemas.openxmlformats.org/officeDocument/2006/relationships/tags" Target="../tags/tag805.xml"/><Relationship Id="rId20" Type="http://schemas.openxmlformats.org/officeDocument/2006/relationships/image" Target="../media/image76.jpg"/><Relationship Id="rId1" Type="http://schemas.openxmlformats.org/officeDocument/2006/relationships/tags" Target="../tags/tag790.xml"/><Relationship Id="rId6" Type="http://schemas.openxmlformats.org/officeDocument/2006/relationships/tags" Target="../tags/tag795.xml"/><Relationship Id="rId11" Type="http://schemas.openxmlformats.org/officeDocument/2006/relationships/tags" Target="../tags/tag800.xml"/><Relationship Id="rId24" Type="http://schemas.openxmlformats.org/officeDocument/2006/relationships/image" Target="../media/image80.svg"/><Relationship Id="rId5" Type="http://schemas.openxmlformats.org/officeDocument/2006/relationships/tags" Target="../tags/tag794.xml"/><Relationship Id="rId15" Type="http://schemas.openxmlformats.org/officeDocument/2006/relationships/tags" Target="../tags/tag804.xml"/><Relationship Id="rId23" Type="http://schemas.openxmlformats.org/officeDocument/2006/relationships/image" Target="../media/image79.png"/><Relationship Id="rId10" Type="http://schemas.openxmlformats.org/officeDocument/2006/relationships/tags" Target="../tags/tag799.xml"/><Relationship Id="rId19" Type="http://schemas.openxmlformats.org/officeDocument/2006/relationships/notesSlide" Target="../notesSlides/notesSlide25.xml"/><Relationship Id="rId4" Type="http://schemas.openxmlformats.org/officeDocument/2006/relationships/tags" Target="../tags/tag793.xml"/><Relationship Id="rId9" Type="http://schemas.openxmlformats.org/officeDocument/2006/relationships/tags" Target="../tags/tag798.xml"/><Relationship Id="rId14" Type="http://schemas.openxmlformats.org/officeDocument/2006/relationships/tags" Target="../tags/tag803.xml"/><Relationship Id="rId22" Type="http://schemas.openxmlformats.org/officeDocument/2006/relationships/image" Target="../media/image78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14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83.jpeg"/><Relationship Id="rId3" Type="http://schemas.openxmlformats.org/officeDocument/2006/relationships/tags" Target="../tags/tag809.xml"/><Relationship Id="rId7" Type="http://schemas.openxmlformats.org/officeDocument/2006/relationships/tags" Target="../tags/tag813.xml"/><Relationship Id="rId12" Type="http://schemas.openxmlformats.org/officeDocument/2006/relationships/tags" Target="../tags/tag818.xml"/><Relationship Id="rId17" Type="http://schemas.openxmlformats.org/officeDocument/2006/relationships/image" Target="../media/image82.jpeg"/><Relationship Id="rId2" Type="http://schemas.openxmlformats.org/officeDocument/2006/relationships/tags" Target="../tags/tag808.xml"/><Relationship Id="rId16" Type="http://schemas.openxmlformats.org/officeDocument/2006/relationships/image" Target="../media/image5.png"/><Relationship Id="rId1" Type="http://schemas.openxmlformats.org/officeDocument/2006/relationships/tags" Target="../tags/tag807.xml"/><Relationship Id="rId6" Type="http://schemas.openxmlformats.org/officeDocument/2006/relationships/tags" Target="../tags/tag812.xml"/><Relationship Id="rId11" Type="http://schemas.openxmlformats.org/officeDocument/2006/relationships/tags" Target="../tags/tag817.xml"/><Relationship Id="rId5" Type="http://schemas.openxmlformats.org/officeDocument/2006/relationships/tags" Target="../tags/tag811.xml"/><Relationship Id="rId15" Type="http://schemas.openxmlformats.org/officeDocument/2006/relationships/image" Target="../media/image4.jpg"/><Relationship Id="rId10" Type="http://schemas.openxmlformats.org/officeDocument/2006/relationships/tags" Target="../tags/tag816.xml"/><Relationship Id="rId4" Type="http://schemas.openxmlformats.org/officeDocument/2006/relationships/tags" Target="../tags/tag810.xml"/><Relationship Id="rId9" Type="http://schemas.openxmlformats.org/officeDocument/2006/relationships/tags" Target="../tags/tag815.xml"/><Relationship Id="rId1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tags" Target="../tags/tag821.xml"/><Relationship Id="rId7" Type="http://schemas.openxmlformats.org/officeDocument/2006/relationships/tags" Target="../tags/tag825.xml"/><Relationship Id="rId2" Type="http://schemas.openxmlformats.org/officeDocument/2006/relationships/tags" Target="../tags/tag820.xml"/><Relationship Id="rId1" Type="http://schemas.openxmlformats.org/officeDocument/2006/relationships/tags" Target="../tags/tag819.xml"/><Relationship Id="rId6" Type="http://schemas.openxmlformats.org/officeDocument/2006/relationships/tags" Target="../tags/tag824.xml"/><Relationship Id="rId5" Type="http://schemas.openxmlformats.org/officeDocument/2006/relationships/tags" Target="../tags/tag823.xml"/><Relationship Id="rId10" Type="http://schemas.openxmlformats.org/officeDocument/2006/relationships/image" Target="../media/image84.jpg"/><Relationship Id="rId4" Type="http://schemas.openxmlformats.org/officeDocument/2006/relationships/tags" Target="../tags/tag822.xml"/><Relationship Id="rId9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827.xml"/><Relationship Id="rId1" Type="http://schemas.openxmlformats.org/officeDocument/2006/relationships/tags" Target="../tags/tag826.xml"/><Relationship Id="rId5" Type="http://schemas.openxmlformats.org/officeDocument/2006/relationships/image" Target="../media/image85.jp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835.xml"/><Relationship Id="rId13" Type="http://schemas.openxmlformats.org/officeDocument/2006/relationships/slideLayout" Target="../slideLayouts/slideLayout38.xml"/><Relationship Id="rId3" Type="http://schemas.openxmlformats.org/officeDocument/2006/relationships/tags" Target="../tags/tag830.xml"/><Relationship Id="rId7" Type="http://schemas.openxmlformats.org/officeDocument/2006/relationships/tags" Target="../tags/tag834.xml"/><Relationship Id="rId12" Type="http://schemas.openxmlformats.org/officeDocument/2006/relationships/tags" Target="../tags/tag839.xml"/><Relationship Id="rId2" Type="http://schemas.openxmlformats.org/officeDocument/2006/relationships/tags" Target="../tags/tag829.xml"/><Relationship Id="rId1" Type="http://schemas.openxmlformats.org/officeDocument/2006/relationships/tags" Target="../tags/tag828.xml"/><Relationship Id="rId6" Type="http://schemas.openxmlformats.org/officeDocument/2006/relationships/tags" Target="../tags/tag833.xml"/><Relationship Id="rId11" Type="http://schemas.openxmlformats.org/officeDocument/2006/relationships/tags" Target="../tags/tag838.xml"/><Relationship Id="rId5" Type="http://schemas.openxmlformats.org/officeDocument/2006/relationships/tags" Target="../tags/tag832.xml"/><Relationship Id="rId10" Type="http://schemas.openxmlformats.org/officeDocument/2006/relationships/tags" Target="../tags/tag837.xml"/><Relationship Id="rId4" Type="http://schemas.openxmlformats.org/officeDocument/2006/relationships/tags" Target="../tags/tag831.xml"/><Relationship Id="rId9" Type="http://schemas.openxmlformats.org/officeDocument/2006/relationships/tags" Target="../tags/tag836.xml"/><Relationship Id="rId1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tags" Target="../tags/tag83.xml"/><Relationship Id="rId26" Type="http://schemas.openxmlformats.org/officeDocument/2006/relationships/tags" Target="../tags/tag91.xml"/><Relationship Id="rId39" Type="http://schemas.openxmlformats.org/officeDocument/2006/relationships/notesSlide" Target="../notesSlides/notesSlide3.xml"/><Relationship Id="rId3" Type="http://schemas.openxmlformats.org/officeDocument/2006/relationships/tags" Target="../tags/tag68.xml"/><Relationship Id="rId21" Type="http://schemas.openxmlformats.org/officeDocument/2006/relationships/tags" Target="../tags/tag86.xml"/><Relationship Id="rId34" Type="http://schemas.openxmlformats.org/officeDocument/2006/relationships/tags" Target="../tags/tag99.xml"/><Relationship Id="rId42" Type="http://schemas.openxmlformats.org/officeDocument/2006/relationships/image" Target="../media/image11.jpeg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tags" Target="../tags/tag82.xml"/><Relationship Id="rId25" Type="http://schemas.openxmlformats.org/officeDocument/2006/relationships/tags" Target="../tags/tag90.xml"/><Relationship Id="rId33" Type="http://schemas.openxmlformats.org/officeDocument/2006/relationships/tags" Target="../tags/tag98.xml"/><Relationship Id="rId38" Type="http://schemas.openxmlformats.org/officeDocument/2006/relationships/slideLayout" Target="../slideLayouts/slideLayout36.xml"/><Relationship Id="rId2" Type="http://schemas.openxmlformats.org/officeDocument/2006/relationships/tags" Target="../tags/tag67.xml"/><Relationship Id="rId16" Type="http://schemas.openxmlformats.org/officeDocument/2006/relationships/tags" Target="../tags/tag81.xml"/><Relationship Id="rId20" Type="http://schemas.openxmlformats.org/officeDocument/2006/relationships/tags" Target="../tags/tag85.xml"/><Relationship Id="rId29" Type="http://schemas.openxmlformats.org/officeDocument/2006/relationships/tags" Target="../tags/tag94.xml"/><Relationship Id="rId41" Type="http://schemas.openxmlformats.org/officeDocument/2006/relationships/image" Target="../media/image8.png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24" Type="http://schemas.openxmlformats.org/officeDocument/2006/relationships/tags" Target="../tags/tag89.xml"/><Relationship Id="rId32" Type="http://schemas.openxmlformats.org/officeDocument/2006/relationships/tags" Target="../tags/tag97.xml"/><Relationship Id="rId37" Type="http://schemas.openxmlformats.org/officeDocument/2006/relationships/tags" Target="../tags/tag102.xml"/><Relationship Id="rId40" Type="http://schemas.openxmlformats.org/officeDocument/2006/relationships/image" Target="../media/image10.jpeg"/><Relationship Id="rId45" Type="http://schemas.openxmlformats.org/officeDocument/2006/relationships/image" Target="../media/image14.png"/><Relationship Id="rId5" Type="http://schemas.openxmlformats.org/officeDocument/2006/relationships/tags" Target="../tags/tag70.xml"/><Relationship Id="rId15" Type="http://schemas.openxmlformats.org/officeDocument/2006/relationships/tags" Target="../tags/tag80.xml"/><Relationship Id="rId23" Type="http://schemas.openxmlformats.org/officeDocument/2006/relationships/tags" Target="../tags/tag88.xml"/><Relationship Id="rId28" Type="http://schemas.openxmlformats.org/officeDocument/2006/relationships/tags" Target="../tags/tag93.xml"/><Relationship Id="rId36" Type="http://schemas.openxmlformats.org/officeDocument/2006/relationships/tags" Target="../tags/tag101.xml"/><Relationship Id="rId10" Type="http://schemas.openxmlformats.org/officeDocument/2006/relationships/tags" Target="../tags/tag75.xml"/><Relationship Id="rId19" Type="http://schemas.openxmlformats.org/officeDocument/2006/relationships/tags" Target="../tags/tag84.xml"/><Relationship Id="rId31" Type="http://schemas.openxmlformats.org/officeDocument/2006/relationships/tags" Target="../tags/tag96.xml"/><Relationship Id="rId44" Type="http://schemas.openxmlformats.org/officeDocument/2006/relationships/image" Target="../media/image13.jpg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Relationship Id="rId22" Type="http://schemas.openxmlformats.org/officeDocument/2006/relationships/tags" Target="../tags/tag87.xml"/><Relationship Id="rId27" Type="http://schemas.openxmlformats.org/officeDocument/2006/relationships/tags" Target="../tags/tag92.xml"/><Relationship Id="rId30" Type="http://schemas.openxmlformats.org/officeDocument/2006/relationships/tags" Target="../tags/tag95.xml"/><Relationship Id="rId35" Type="http://schemas.openxmlformats.org/officeDocument/2006/relationships/tags" Target="../tags/tag100.xml"/><Relationship Id="rId43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847.xml"/><Relationship Id="rId3" Type="http://schemas.openxmlformats.org/officeDocument/2006/relationships/tags" Target="../tags/tag842.xml"/><Relationship Id="rId7" Type="http://schemas.openxmlformats.org/officeDocument/2006/relationships/tags" Target="../tags/tag846.xml"/><Relationship Id="rId2" Type="http://schemas.openxmlformats.org/officeDocument/2006/relationships/tags" Target="../tags/tag841.xml"/><Relationship Id="rId1" Type="http://schemas.openxmlformats.org/officeDocument/2006/relationships/tags" Target="../tags/tag840.xml"/><Relationship Id="rId6" Type="http://schemas.openxmlformats.org/officeDocument/2006/relationships/tags" Target="../tags/tag845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844.xml"/><Relationship Id="rId10" Type="http://schemas.openxmlformats.org/officeDocument/2006/relationships/slideLayout" Target="../slideLayouts/slideLayout39.xml"/><Relationship Id="rId4" Type="http://schemas.openxmlformats.org/officeDocument/2006/relationships/tags" Target="../tags/tag843.xml"/><Relationship Id="rId9" Type="http://schemas.openxmlformats.org/officeDocument/2006/relationships/tags" Target="../tags/tag84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851.xml"/><Relationship Id="rId7" Type="http://schemas.openxmlformats.org/officeDocument/2006/relationships/image" Target="../media/image86.jpeg"/><Relationship Id="rId2" Type="http://schemas.openxmlformats.org/officeDocument/2006/relationships/tags" Target="../tags/tag850.xml"/><Relationship Id="rId1" Type="http://schemas.openxmlformats.org/officeDocument/2006/relationships/tags" Target="../tags/tag849.x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37.xml"/><Relationship Id="rId4" Type="http://schemas.openxmlformats.org/officeDocument/2006/relationships/tags" Target="../tags/tag8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9" Type="http://schemas.openxmlformats.org/officeDocument/2006/relationships/image" Target="../media/image14.png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34" Type="http://schemas.openxmlformats.org/officeDocument/2006/relationships/notesSlide" Target="../notesSlides/notesSlide4.xml"/><Relationship Id="rId42" Type="http://schemas.openxmlformats.org/officeDocument/2006/relationships/image" Target="../media/image15.png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slideLayout" Target="../slideLayouts/slideLayout35.xml"/><Relationship Id="rId38" Type="http://schemas.openxmlformats.org/officeDocument/2006/relationships/image" Target="../media/image13.jpg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41" Type="http://schemas.openxmlformats.org/officeDocument/2006/relationships/slide" Target="slide5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image" Target="../media/image12.png"/><Relationship Id="rId40" Type="http://schemas.openxmlformats.org/officeDocument/2006/relationships/image" Target="../media/image15.png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image" Target="../media/image8.png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image" Target="../media/image8.png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image" Target="../media/image16.jpeg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image" Target="../media/image17.png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notesSlide" Target="../notesSlides/notesSlide5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12.png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image" Target="../media/image8.png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image" Target="../media/image16.jpeg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29" Type="http://schemas.openxmlformats.org/officeDocument/2006/relationships/image" Target="../media/image17.png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slideLayout" Target="../slideLayouts/slideLayout36.xml"/><Relationship Id="rId28" Type="http://schemas.openxmlformats.org/officeDocument/2006/relationships/image" Target="../media/image12.png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image" Target="../media/image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slideLayout" Target="../slideLayouts/slideLayout3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2" Type="http://schemas.openxmlformats.org/officeDocument/2006/relationships/tags" Target="../tags/tag180.xml"/><Relationship Id="rId16" Type="http://schemas.openxmlformats.org/officeDocument/2006/relationships/image" Target="../media/image8.png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5" Type="http://schemas.openxmlformats.org/officeDocument/2006/relationships/tags" Target="../tags/tag183.xml"/><Relationship Id="rId15" Type="http://schemas.openxmlformats.org/officeDocument/2006/relationships/image" Target="../media/image16.jpeg"/><Relationship Id="rId10" Type="http://schemas.openxmlformats.org/officeDocument/2006/relationships/tags" Target="../tags/tag188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26" Type="http://schemas.openxmlformats.org/officeDocument/2006/relationships/tags" Target="../tags/tag216.xml"/><Relationship Id="rId3" Type="http://schemas.openxmlformats.org/officeDocument/2006/relationships/tags" Target="../tags/tag193.xml"/><Relationship Id="rId21" Type="http://schemas.openxmlformats.org/officeDocument/2006/relationships/tags" Target="../tags/tag211.xml"/><Relationship Id="rId34" Type="http://schemas.openxmlformats.org/officeDocument/2006/relationships/image" Target="../media/image18.jpg"/><Relationship Id="rId7" Type="http://schemas.openxmlformats.org/officeDocument/2006/relationships/tags" Target="../tags/tag197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tags" Target="../tags/tag215.xml"/><Relationship Id="rId33" Type="http://schemas.openxmlformats.org/officeDocument/2006/relationships/notesSlide" Target="../notesSlides/notesSlide8.xml"/><Relationship Id="rId2" Type="http://schemas.openxmlformats.org/officeDocument/2006/relationships/tags" Target="../tags/tag192.xml"/><Relationship Id="rId16" Type="http://schemas.openxmlformats.org/officeDocument/2006/relationships/tags" Target="../tags/tag206.xml"/><Relationship Id="rId20" Type="http://schemas.openxmlformats.org/officeDocument/2006/relationships/tags" Target="../tags/tag210.xml"/><Relationship Id="rId29" Type="http://schemas.openxmlformats.org/officeDocument/2006/relationships/tags" Target="../tags/tag219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tags" Target="../tags/tag201.xml"/><Relationship Id="rId24" Type="http://schemas.openxmlformats.org/officeDocument/2006/relationships/tags" Target="../tags/tag214.xml"/><Relationship Id="rId32" Type="http://schemas.openxmlformats.org/officeDocument/2006/relationships/slideLayout" Target="../slideLayouts/slideLayout36.xml"/><Relationship Id="rId5" Type="http://schemas.openxmlformats.org/officeDocument/2006/relationships/tags" Target="../tags/tag195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28" Type="http://schemas.openxmlformats.org/officeDocument/2006/relationships/tags" Target="../tags/tag218.xml"/><Relationship Id="rId36" Type="http://schemas.openxmlformats.org/officeDocument/2006/relationships/image" Target="../media/image7.jpeg"/><Relationship Id="rId10" Type="http://schemas.openxmlformats.org/officeDocument/2006/relationships/tags" Target="../tags/tag200.xml"/><Relationship Id="rId19" Type="http://schemas.openxmlformats.org/officeDocument/2006/relationships/tags" Target="../tags/tag209.xml"/><Relationship Id="rId31" Type="http://schemas.openxmlformats.org/officeDocument/2006/relationships/tags" Target="../tags/tag221.xml"/><Relationship Id="rId4" Type="http://schemas.openxmlformats.org/officeDocument/2006/relationships/tags" Target="../tags/tag194.xml"/><Relationship Id="rId9" Type="http://schemas.openxmlformats.org/officeDocument/2006/relationships/tags" Target="../tags/tag199.xml"/><Relationship Id="rId14" Type="http://schemas.openxmlformats.org/officeDocument/2006/relationships/tags" Target="../tags/tag204.xml"/><Relationship Id="rId22" Type="http://schemas.openxmlformats.org/officeDocument/2006/relationships/tags" Target="../tags/tag212.xml"/><Relationship Id="rId27" Type="http://schemas.openxmlformats.org/officeDocument/2006/relationships/tags" Target="../tags/tag217.xml"/><Relationship Id="rId30" Type="http://schemas.openxmlformats.org/officeDocument/2006/relationships/tags" Target="../tags/tag220.xml"/><Relationship Id="rId35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tags" Target="../tags/tag247.xml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34" Type="http://schemas.openxmlformats.org/officeDocument/2006/relationships/slideLayout" Target="../slideLayouts/slideLayout36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tags" Target="../tags/tag246.xml"/><Relationship Id="rId33" Type="http://schemas.openxmlformats.org/officeDocument/2006/relationships/tags" Target="../tags/tag254.xml"/><Relationship Id="rId38" Type="http://schemas.openxmlformats.org/officeDocument/2006/relationships/image" Target="../media/image7.jpeg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tags" Target="../tags/tag250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32" Type="http://schemas.openxmlformats.org/officeDocument/2006/relationships/tags" Target="../tags/tag253.xml"/><Relationship Id="rId37" Type="http://schemas.openxmlformats.org/officeDocument/2006/relationships/image" Target="../media/image8.png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28" Type="http://schemas.openxmlformats.org/officeDocument/2006/relationships/tags" Target="../tags/tag249.xml"/><Relationship Id="rId36" Type="http://schemas.openxmlformats.org/officeDocument/2006/relationships/image" Target="../media/image18.jpg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31" Type="http://schemas.openxmlformats.org/officeDocument/2006/relationships/tags" Target="../tags/tag252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tags" Target="../tags/tag248.xml"/><Relationship Id="rId30" Type="http://schemas.openxmlformats.org/officeDocument/2006/relationships/tags" Target="../tags/tag251.xml"/><Relationship Id="rId35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88383CEE-1BA3-4174-8FE8-7F009F5B106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0"/>
          <a:stretch/>
        </p:blipFill>
        <p:spPr bwMode="gray">
          <a:xfrm>
            <a:off x="-1764704" y="-1"/>
            <a:ext cx="14523764" cy="5166359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6228B25-519F-4E17-82DA-EF84AB8EDDFA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552B377C-D2BB-4500-9F46-B4B0CD617A03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4">
              <a:biLevel thresh="50000"/>
              <a:alphaModFix amt="6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FF54FD76-96F1-4A6B-87DA-A74B3CD8AD7C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98F8C406-C479-4C3F-BE39-15C67683C1B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rot="10800000">
            <a:off x="-18892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82000"/>
                </a:schemeClr>
              </a:gs>
              <a:gs pos="79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Rectangle 20">
            <a:extLst>
              <a:ext uri="{FF2B5EF4-FFF2-40B4-BE49-F238E27FC236}">
                <a16:creationId xmlns:a16="http://schemas.microsoft.com/office/drawing/2014/main" id="{1D3C26DE-46E9-4DDF-8791-59DA79A23B3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9080" y="648932"/>
            <a:ext cx="6695208" cy="4106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2800" b="1" dirty="0">
                <a:solidFill>
                  <a:schemeClr val="accent1"/>
                </a:solidFill>
              </a:rPr>
              <a:t>TECHEM – THE SERVICE PARTNER FOR GREEN AND SMART BUILDINGS</a:t>
            </a:r>
          </a:p>
        </p:txBody>
      </p:sp>
      <p:sp>
        <p:nvSpPr>
          <p:cNvPr id="37" name="Rectangle 21">
            <a:extLst>
              <a:ext uri="{FF2B5EF4-FFF2-40B4-BE49-F238E27FC236}">
                <a16:creationId xmlns:a16="http://schemas.microsoft.com/office/drawing/2014/main" id="{59D3F33C-A7CE-4A40-8E7A-37CFAE3E8973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69080" y="2233108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400" dirty="0">
                <a:solidFill>
                  <a:schemeClr val="tx1"/>
                </a:solidFill>
              </a:rPr>
              <a:t>September 2019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5230C9-A6B9-43A9-975F-F94659879F96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0" y="4195344"/>
            <a:ext cx="9144000" cy="410650"/>
            <a:chOff x="0" y="169186"/>
            <a:chExt cx="9144000" cy="410650"/>
          </a:xfrm>
        </p:grpSpPr>
        <p:sp>
          <p:nvSpPr>
            <p:cNvPr id="23" name="Rechteck 12">
              <a:extLst>
                <a:ext uri="{FF2B5EF4-FFF2-40B4-BE49-F238E27FC236}">
                  <a16:creationId xmlns:a16="http://schemas.microsoft.com/office/drawing/2014/main" id="{3DCD5749-C5F7-42E6-BC4E-A0B238DC8041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78CD7B3-0C82-46F7-8993-058F5D4841B0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ECE38FDB-F2E6-46BE-9A4E-3A8D7AA7A841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655370F7-9832-4DFD-9DC1-070592E5571E}"/>
                  </a:ext>
                </a:extLst>
              </p:cNvPr>
              <p:cNvGrpSpPr/>
              <p:nvPr userDrawn="1">
                <p:custDataLst>
                  <p:tags r:id="rId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27" name="Freeform 6">
                  <a:extLst>
                    <a:ext uri="{FF2B5EF4-FFF2-40B4-BE49-F238E27FC236}">
                      <a16:creationId xmlns:a16="http://schemas.microsoft.com/office/drawing/2014/main" id="{4E8B0FFA-7BE5-455A-8E7A-1AD368B8B07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" name="Freeform 7">
                  <a:extLst>
                    <a:ext uri="{FF2B5EF4-FFF2-40B4-BE49-F238E27FC236}">
                      <a16:creationId xmlns:a16="http://schemas.microsoft.com/office/drawing/2014/main" id="{0A965185-67D3-4ED9-A7AC-8B9F73DCEB6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8">
                  <a:extLst>
                    <a:ext uri="{FF2B5EF4-FFF2-40B4-BE49-F238E27FC236}">
                      <a16:creationId xmlns:a16="http://schemas.microsoft.com/office/drawing/2014/main" id="{6C8166B4-0531-468E-8A52-27C04C0686A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9">
                  <a:extLst>
                    <a:ext uri="{FF2B5EF4-FFF2-40B4-BE49-F238E27FC236}">
                      <a16:creationId xmlns:a16="http://schemas.microsoft.com/office/drawing/2014/main" id="{06EB86F5-3D94-4B25-A3D8-A5F841CBCCE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10">
                  <a:extLst>
                    <a:ext uri="{FF2B5EF4-FFF2-40B4-BE49-F238E27FC236}">
                      <a16:creationId xmlns:a16="http://schemas.microsoft.com/office/drawing/2014/main" id="{BB040373-F2D8-413D-86FB-FCCD6720582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11">
                  <a:extLst>
                    <a:ext uri="{FF2B5EF4-FFF2-40B4-BE49-F238E27FC236}">
                      <a16:creationId xmlns:a16="http://schemas.microsoft.com/office/drawing/2014/main" id="{1DDA697B-0637-4628-AC52-9E6459754AC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12">
                  <a:extLst>
                    <a:ext uri="{FF2B5EF4-FFF2-40B4-BE49-F238E27FC236}">
                      <a16:creationId xmlns:a16="http://schemas.microsoft.com/office/drawing/2014/main" id="{723554F0-ED3C-44E0-9305-2F5422837AC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13">
                  <a:extLst>
                    <a:ext uri="{FF2B5EF4-FFF2-40B4-BE49-F238E27FC236}">
                      <a16:creationId xmlns:a16="http://schemas.microsoft.com/office/drawing/2014/main" id="{03B04637-BCDF-4608-B5AC-55A3E49770A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3370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4.93827E-7 L -0.05781 -4.93827E-7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0" name="Picture 239">
            <a:extLst>
              <a:ext uri="{FF2B5EF4-FFF2-40B4-BE49-F238E27FC236}">
                <a16:creationId xmlns:a16="http://schemas.microsoft.com/office/drawing/2014/main" id="{0C84585E-AC9E-468B-9D9F-3CE69497F74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41" name="Rectangle 240">
            <a:extLst>
              <a:ext uri="{FF2B5EF4-FFF2-40B4-BE49-F238E27FC236}">
                <a16:creationId xmlns:a16="http://schemas.microsoft.com/office/drawing/2014/main" id="{330B2AA2-41BA-454F-AA29-ED27670FAD0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0E01F8F3-5055-4669-892D-517ED275958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227481" y="2618066"/>
            <a:ext cx="608620" cy="601263"/>
          </a:xfrm>
          <a:custGeom>
            <a:avLst/>
            <a:gdLst>
              <a:gd name="connsiteX0" fmla="*/ 297134 w 608620"/>
              <a:gd name="connsiteY0" fmla="*/ 0 h 601263"/>
              <a:gd name="connsiteX1" fmla="*/ 306176 w 608620"/>
              <a:gd name="connsiteY1" fmla="*/ 8218 h 601263"/>
              <a:gd name="connsiteX2" fmla="*/ 586537 w 608620"/>
              <a:gd name="connsiteY2" fmla="*/ 471542 h 601263"/>
              <a:gd name="connsiteX3" fmla="*/ 608620 w 608620"/>
              <a:gd name="connsiteY3" fmla="*/ 557423 h 601263"/>
              <a:gd name="connsiteX4" fmla="*/ 590116 w 608620"/>
              <a:gd name="connsiteY4" fmla="*/ 563302 h 601263"/>
              <a:gd name="connsiteX5" fmla="*/ 303116 w 608620"/>
              <a:gd name="connsiteY5" fmla="*/ 601263 h 601263"/>
              <a:gd name="connsiteX6" fmla="*/ 82240 w 608620"/>
              <a:gd name="connsiteY6" fmla="*/ 578997 h 601263"/>
              <a:gd name="connsiteX7" fmla="*/ 0 w 608620"/>
              <a:gd name="connsiteY7" fmla="*/ 557851 h 601263"/>
              <a:gd name="connsiteX8" fmla="*/ 25281 w 608620"/>
              <a:gd name="connsiteY8" fmla="*/ 459528 h 601263"/>
              <a:gd name="connsiteX9" fmla="*/ 188705 w 608620"/>
              <a:gd name="connsiteY9" fmla="*/ 129818 h 60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8620" h="601263">
                <a:moveTo>
                  <a:pt x="297134" y="0"/>
                </a:moveTo>
                <a:lnTo>
                  <a:pt x="306176" y="8218"/>
                </a:lnTo>
                <a:cubicBezTo>
                  <a:pt x="434071" y="136113"/>
                  <a:pt x="531472" y="294501"/>
                  <a:pt x="586537" y="471542"/>
                </a:cubicBezTo>
                <a:lnTo>
                  <a:pt x="608620" y="557423"/>
                </a:lnTo>
                <a:lnTo>
                  <a:pt x="590116" y="563302"/>
                </a:lnTo>
                <a:cubicBezTo>
                  <a:pt x="498642" y="588056"/>
                  <a:pt x="402421" y="601263"/>
                  <a:pt x="303116" y="601263"/>
                </a:cubicBezTo>
                <a:cubicBezTo>
                  <a:pt x="227455" y="601263"/>
                  <a:pt x="153585" y="593596"/>
                  <a:pt x="82240" y="578997"/>
                </a:cubicBezTo>
                <a:lnTo>
                  <a:pt x="0" y="557851"/>
                </a:lnTo>
                <a:lnTo>
                  <a:pt x="25281" y="459528"/>
                </a:lnTo>
                <a:cubicBezTo>
                  <a:pt x="62353" y="340340"/>
                  <a:pt x="117950" y="229314"/>
                  <a:pt x="188705" y="129818"/>
                </a:cubicBezTo>
                <a:close/>
              </a:path>
            </a:pathLst>
          </a:custGeom>
          <a:pattFill prst="wdDnDiag">
            <a:fgClr>
              <a:schemeClr val="tx1"/>
            </a:fgClr>
            <a:bgClr>
              <a:srgbClr val="C0EDF4"/>
            </a:bgClr>
          </a:pattFill>
          <a:ln w="158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49A12F0-7CB8-4CBC-8FAD-DB61ECBB565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754784" y="3687862"/>
            <a:ext cx="5975896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2800" b="1">
                <a:solidFill>
                  <a:schemeClr val="tx1"/>
                </a:solidFill>
              </a:rPr>
              <a:t>TECHEM’S</a:t>
            </a:r>
            <a:br>
              <a:rPr lang="en-GB" sz="2800" b="1">
                <a:solidFill>
                  <a:schemeClr val="tx1"/>
                </a:solidFill>
              </a:rPr>
            </a:br>
            <a:r>
              <a:rPr lang="en-GB" sz="2800" b="1">
                <a:solidFill>
                  <a:schemeClr val="tx1"/>
                </a:solidFill>
              </a:rPr>
              <a:t>HOLISTIC APPROACH</a:t>
            </a:r>
            <a:endParaRPr lang="en-GB" sz="2800" b="1" dirty="0">
              <a:solidFill>
                <a:schemeClr val="tx1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F429201-F1FD-428F-B15B-61185E550AE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6217206" y="2936856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7200" b="1">
                <a:solidFill>
                  <a:schemeClr val="tx1"/>
                </a:solidFill>
              </a:rPr>
              <a:t>02</a:t>
            </a:r>
            <a:endParaRPr lang="en-GB" sz="7200" b="1" dirty="0">
              <a:solidFill>
                <a:schemeClr val="tx1"/>
              </a:solidFill>
            </a:endParaRPr>
          </a:p>
        </p:txBody>
      </p: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6941C61-060F-492F-9749-6F9E041B1914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435820" y="1027389"/>
            <a:ext cx="2191942" cy="2191939"/>
          </a:xfrm>
          <a:prstGeom prst="ellipse">
            <a:avLst/>
          </a:prstGeom>
          <a:noFill/>
          <a:ln w="158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0AF1D37-8900-4C42-A4E4-6F5D08F66744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4158974" y="1297488"/>
            <a:ext cx="754044" cy="638110"/>
            <a:chOff x="9583738" y="150813"/>
            <a:chExt cx="3686175" cy="3119438"/>
          </a:xfrm>
          <a:solidFill>
            <a:schemeClr val="accent2"/>
          </a:solidFill>
        </p:grpSpPr>
        <p:sp>
          <p:nvSpPr>
            <p:cNvPr id="91" name="Freeform 5">
              <a:extLst>
                <a:ext uri="{FF2B5EF4-FFF2-40B4-BE49-F238E27FC236}">
                  <a16:creationId xmlns:a16="http://schemas.microsoft.com/office/drawing/2014/main" id="{193EBCCE-400D-4AC5-8F16-E5A94396B36D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C3D4287A-E59A-4095-87B7-8509A4669E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E1328353-4078-4876-9ACE-DA02B5E263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37DF5651-4055-4973-8ECE-1D3FB80B313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5C1B7368-83AC-4C55-8EB3-5ACB885FEF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74BA95BD-D5E4-46A4-865A-414843F42F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11">
              <a:extLst>
                <a:ext uri="{FF2B5EF4-FFF2-40B4-BE49-F238E27FC236}">
                  <a16:creationId xmlns:a16="http://schemas.microsoft.com/office/drawing/2014/main" id="{7DCC3764-8D3C-46C2-866A-BA9509A68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12">
              <a:extLst>
                <a:ext uri="{FF2B5EF4-FFF2-40B4-BE49-F238E27FC236}">
                  <a16:creationId xmlns:a16="http://schemas.microsoft.com/office/drawing/2014/main" id="{4EBEE185-812B-415E-AF4F-AA4F5B5C9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13">
              <a:extLst>
                <a:ext uri="{FF2B5EF4-FFF2-40B4-BE49-F238E27FC236}">
                  <a16:creationId xmlns:a16="http://schemas.microsoft.com/office/drawing/2014/main" id="{11B524E9-C409-4B25-90B5-88A071E694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14">
              <a:extLst>
                <a:ext uri="{FF2B5EF4-FFF2-40B4-BE49-F238E27FC236}">
                  <a16:creationId xmlns:a16="http://schemas.microsoft.com/office/drawing/2014/main" id="{DCD3C3AA-BE33-4124-B9FA-E96AAF837F8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Freeform 15">
              <a:extLst>
                <a:ext uri="{FF2B5EF4-FFF2-40B4-BE49-F238E27FC236}">
                  <a16:creationId xmlns:a16="http://schemas.microsoft.com/office/drawing/2014/main" id="{E62DD72F-155F-4F3B-BEAC-588A9F50629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16">
              <a:extLst>
                <a:ext uri="{FF2B5EF4-FFF2-40B4-BE49-F238E27FC236}">
                  <a16:creationId xmlns:a16="http://schemas.microsoft.com/office/drawing/2014/main" id="{D03E2C1D-4561-4113-BEF4-CE47EE412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id="{5F97948E-F55A-4A22-BC60-2BB79BA989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DFA5A57C-A7F9-409E-B12E-C6BB81E3140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19">
              <a:extLst>
                <a:ext uri="{FF2B5EF4-FFF2-40B4-BE49-F238E27FC236}">
                  <a16:creationId xmlns:a16="http://schemas.microsoft.com/office/drawing/2014/main" id="{4CCCE58E-6E40-478C-89BC-ACACAA8A85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20">
              <a:extLst>
                <a:ext uri="{FF2B5EF4-FFF2-40B4-BE49-F238E27FC236}">
                  <a16:creationId xmlns:a16="http://schemas.microsoft.com/office/drawing/2014/main" id="{6A29C5A3-1677-4160-9FB4-A60F0C475E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21">
              <a:extLst>
                <a:ext uri="{FF2B5EF4-FFF2-40B4-BE49-F238E27FC236}">
                  <a16:creationId xmlns:a16="http://schemas.microsoft.com/office/drawing/2014/main" id="{7045F594-1D49-4BDD-9194-9C8D9527FD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Freeform 22">
              <a:extLst>
                <a:ext uri="{FF2B5EF4-FFF2-40B4-BE49-F238E27FC236}">
                  <a16:creationId xmlns:a16="http://schemas.microsoft.com/office/drawing/2014/main" id="{F9926E99-9EAB-49FB-B023-00282827B6A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23">
              <a:extLst>
                <a:ext uri="{FF2B5EF4-FFF2-40B4-BE49-F238E27FC236}">
                  <a16:creationId xmlns:a16="http://schemas.microsoft.com/office/drawing/2014/main" id="{CE3BC85D-CE31-47B7-B3E2-1DC73B0EAF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Oval 24">
              <a:extLst>
                <a:ext uri="{FF2B5EF4-FFF2-40B4-BE49-F238E27FC236}">
                  <a16:creationId xmlns:a16="http://schemas.microsoft.com/office/drawing/2014/main" id="{7FD8CF12-F271-496D-9B93-89E8B38FF82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Oval 25">
              <a:extLst>
                <a:ext uri="{FF2B5EF4-FFF2-40B4-BE49-F238E27FC236}">
                  <a16:creationId xmlns:a16="http://schemas.microsoft.com/office/drawing/2014/main" id="{A9F8741E-EA8D-40B7-9A8E-F95FE50BC9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61" name="TextBox 16">
            <a:extLst>
              <a:ext uri="{FF2B5EF4-FFF2-40B4-BE49-F238E27FC236}">
                <a16:creationId xmlns:a16="http://schemas.microsoft.com/office/drawing/2014/main" id="{2D695ED2-0F56-4F5A-94AF-30FC4E7EC6B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635996" y="2067694"/>
            <a:ext cx="1800000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 dirty="0">
                <a:solidFill>
                  <a:schemeClr val="accent2"/>
                </a:solidFill>
                <a:cs typeface="Calibri" panose="020F0502020204030204" pitchFamily="34" charset="0"/>
              </a:rPr>
              <a:t>HEALTHY HOUSING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Lucida Sans Techem"/>
              <a:cs typeface="Calibri" panose="020F0502020204030204" pitchFamily="34" charset="0"/>
            </a:endParaRPr>
          </a:p>
        </p:txBody>
      </p:sp>
      <p:sp>
        <p:nvSpPr>
          <p:cNvPr id="236" name="Rectangle 23">
            <a:extLst>
              <a:ext uri="{FF2B5EF4-FFF2-40B4-BE49-F238E27FC236}">
                <a16:creationId xmlns:a16="http://schemas.microsoft.com/office/drawing/2014/main" id="{F024EC4C-68CA-462C-B394-561BEECBD7BE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967580" y="1995686"/>
            <a:ext cx="3359857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800" b="1">
                <a:solidFill>
                  <a:schemeClr val="tx1"/>
                </a:solidFill>
              </a:rPr>
              <a:t>Energy services</a:t>
            </a:r>
            <a:br>
              <a:rPr lang="en-GB" sz="1800" b="1">
                <a:solidFill>
                  <a:schemeClr val="tx1"/>
                </a:solidFill>
              </a:rPr>
            </a:br>
            <a:r>
              <a:rPr lang="en-GB" sz="1800" b="1">
                <a:solidFill>
                  <a:schemeClr val="tx1"/>
                </a:solidFill>
              </a:rPr>
              <a:t>are multifaceted.</a:t>
            </a:r>
            <a:endParaRPr lang="en-GB" sz="1800" b="1" dirty="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6334A34-3776-4037-B685-6A4AEB38FDB2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2604482" y="2295085"/>
            <a:ext cx="2261567" cy="2261566"/>
            <a:chOff x="2604482" y="2295085"/>
            <a:chExt cx="2261567" cy="2261566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DA20A62-A1F8-45C2-85CA-94ECC4311CE8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2604482" y="2295085"/>
              <a:ext cx="2261567" cy="2261566"/>
            </a:xfrm>
            <a:prstGeom prst="ellipse">
              <a:avLst/>
            </a:prstGeom>
            <a:noFill/>
            <a:ln w="1587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8" name="Star: 5 Points 237">
              <a:extLst>
                <a:ext uri="{FF2B5EF4-FFF2-40B4-BE49-F238E27FC236}">
                  <a16:creationId xmlns:a16="http://schemas.microsoft.com/office/drawing/2014/main" id="{CB0BFE44-D94F-4415-A836-3B364E506D90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3159235" y="2571750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B799A3C-A916-4DA1-BF89-65E5B02B9C0A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4201302" y="2254683"/>
            <a:ext cx="2342374" cy="2342372"/>
            <a:chOff x="4201302" y="2254683"/>
            <a:chExt cx="2342374" cy="2342372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787F073-188B-40B0-BAB8-5E4EF56E3DA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4201302" y="2254683"/>
              <a:ext cx="2342374" cy="2342372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39" name="Arrow: Right 238">
              <a:extLst>
                <a:ext uri="{FF2B5EF4-FFF2-40B4-BE49-F238E27FC236}">
                  <a16:creationId xmlns:a16="http://schemas.microsoft.com/office/drawing/2014/main" id="{C41603BF-DF6B-4CD7-A7BD-80EC542728D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514871" y="2656900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DDFEBC3-37BA-43AD-ABE0-B4C7C4EB7CA4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5" name="Rechteck 12">
              <a:extLst>
                <a:ext uri="{FF2B5EF4-FFF2-40B4-BE49-F238E27FC236}">
                  <a16:creationId xmlns:a16="http://schemas.microsoft.com/office/drawing/2014/main" id="{38E58495-3B0E-4B19-AEE4-B6382DECF87A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FF5D532E-C6E1-4AA2-B107-1383A21D1DF2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7" name="Rectangle 5">
                <a:extLst>
                  <a:ext uri="{FF2B5EF4-FFF2-40B4-BE49-F238E27FC236}">
                    <a16:creationId xmlns:a16="http://schemas.microsoft.com/office/drawing/2014/main" id="{688D2964-7E4A-492A-89FD-CFD2D9C04D37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0921CABA-023D-4A5B-ACF4-2C8C85A65999}"/>
                  </a:ext>
                </a:extLst>
              </p:cNvPr>
              <p:cNvGrpSpPr/>
              <p:nvPr userDrawn="1">
                <p:custDataLst>
                  <p:tags r:id="rId21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9" name="Freeform 6">
                  <a:extLst>
                    <a:ext uri="{FF2B5EF4-FFF2-40B4-BE49-F238E27FC236}">
                      <a16:creationId xmlns:a16="http://schemas.microsoft.com/office/drawing/2014/main" id="{4A46F47F-E30A-456F-89A3-DACC368A9E4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7">
                  <a:extLst>
                    <a:ext uri="{FF2B5EF4-FFF2-40B4-BE49-F238E27FC236}">
                      <a16:creationId xmlns:a16="http://schemas.microsoft.com/office/drawing/2014/main" id="{0BE041CF-ED5C-4459-979E-9A433CC2E25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8">
                  <a:extLst>
                    <a:ext uri="{FF2B5EF4-FFF2-40B4-BE49-F238E27FC236}">
                      <a16:creationId xmlns:a16="http://schemas.microsoft.com/office/drawing/2014/main" id="{1D801CA9-6F87-4C13-B925-FEA6FAD4F6D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9">
                  <a:extLst>
                    <a:ext uri="{FF2B5EF4-FFF2-40B4-BE49-F238E27FC236}">
                      <a16:creationId xmlns:a16="http://schemas.microsoft.com/office/drawing/2014/main" id="{47A68160-3FE9-40ED-BDD8-7231AF856CF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10">
                  <a:extLst>
                    <a:ext uri="{FF2B5EF4-FFF2-40B4-BE49-F238E27FC236}">
                      <a16:creationId xmlns:a16="http://schemas.microsoft.com/office/drawing/2014/main" id="{4CCA2047-4905-42F7-B03F-98696408A72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11">
                  <a:extLst>
                    <a:ext uri="{FF2B5EF4-FFF2-40B4-BE49-F238E27FC236}">
                      <a16:creationId xmlns:a16="http://schemas.microsoft.com/office/drawing/2014/main" id="{A591A3D3-98F5-44D1-AA30-6EF56B0FFC6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12">
                  <a:extLst>
                    <a:ext uri="{FF2B5EF4-FFF2-40B4-BE49-F238E27FC236}">
                      <a16:creationId xmlns:a16="http://schemas.microsoft.com/office/drawing/2014/main" id="{19160D98-7FC4-435A-B5D7-A491A63871E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13">
                  <a:extLst>
                    <a:ext uri="{FF2B5EF4-FFF2-40B4-BE49-F238E27FC236}">
                      <a16:creationId xmlns:a16="http://schemas.microsoft.com/office/drawing/2014/main" id="{1534005F-043B-4F36-8EC6-57A59C4194C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89" name="Rectangle 23">
            <a:extLst>
              <a:ext uri="{FF2B5EF4-FFF2-40B4-BE49-F238E27FC236}">
                <a16:creationId xmlns:a16="http://schemas.microsoft.com/office/drawing/2014/main" id="{788DE85D-9188-4FBB-87A1-A189F243093C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1715707" y="2310647"/>
            <a:ext cx="3864506" cy="1701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In order to develop modern solutions that are tailored to our customers’ needs, we need to start by looking at the protection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of our “climate-relevant resources”,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“healthy housing” and “process efficiency” as a whole.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74" name="Textplatzhalter 6">
            <a:extLst>
              <a:ext uri="{FF2B5EF4-FFF2-40B4-BE49-F238E27FC236}">
                <a16:creationId xmlns:a16="http://schemas.microsoft.com/office/drawing/2014/main" id="{B5DFA589-A27C-4441-8801-5612B5EAD86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50" kern="600" dirty="0"/>
          </a:p>
        </p:txBody>
      </p:sp>
      <p:sp>
        <p:nvSpPr>
          <p:cNvPr id="88" name="Textplatzhalter 6">
            <a:extLst>
              <a:ext uri="{FF2B5EF4-FFF2-40B4-BE49-F238E27FC236}">
                <a16:creationId xmlns:a16="http://schemas.microsoft.com/office/drawing/2014/main" id="{8CF5EA0D-86ED-42FB-A569-664AF1F00CC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68000" y="118800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904D70C-E42A-41E3-B8DA-147A7774D97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3144843" y="3101506"/>
            <a:ext cx="653492" cy="642922"/>
            <a:chOff x="10330395" y="176211"/>
            <a:chExt cx="4867275" cy="4788553"/>
          </a:xfrm>
          <a:solidFill>
            <a:schemeClr val="accent4"/>
          </a:solidFill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6D12F41-2B6B-4CEA-BECC-6E5888B89A94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C2ED913F-CE94-40A8-B684-1867D50C8F53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A734E8BB-DCDC-47A8-90D7-AEB238787B54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A47A9484-D176-49AD-A52D-E1BFEDF23FEA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5393636" y="3093954"/>
            <a:ext cx="648772" cy="649660"/>
            <a:chOff x="13986666" y="290454"/>
            <a:chExt cx="4555522" cy="4561771"/>
          </a:xfrm>
          <a:solidFill>
            <a:schemeClr val="accent1"/>
          </a:solidFill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8568138-63F9-4B9F-A103-0319EECD6DE0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A14138F7-623F-45E1-BED0-BB90FAD38AD9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48EA851-8B17-4130-B706-5C541E10CC09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60C78D90-576C-46BA-BA25-1D4160AA96E4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79B3A811-AA67-4E63-8E77-3D452D5AEBAE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10521D94-4D93-4A11-8E5C-87EB02AA77B3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E8D97632-94A8-4674-9F82-FDAC232093EB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A27BC5F6-98E2-4318-98EB-261B750F5712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0351091D-B674-4E1C-B5C8-E95D2545AF97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37" name="TextBox 16">
            <a:extLst>
              <a:ext uri="{FF2B5EF4-FFF2-40B4-BE49-F238E27FC236}">
                <a16:creationId xmlns:a16="http://schemas.microsoft.com/office/drawing/2014/main" id="{67F18B6D-5BCD-4AEF-8D68-BBB8A0BCD697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144843" y="3884840"/>
            <a:ext cx="1321943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>
              <a:buClr>
                <a:srgbClr val="B2B2B2"/>
              </a:buClr>
              <a:defRPr/>
            </a:pPr>
            <a:r>
              <a:rPr lang="en-GB" sz="900" b="1" dirty="0">
                <a:solidFill>
                  <a:schemeClr val="accent4"/>
                </a:solidFill>
                <a:cs typeface="Calibri" panose="020F0502020204030204" pitchFamily="34" charset="0"/>
              </a:rPr>
              <a:t>CLIMATE-</a:t>
            </a:r>
            <a:br>
              <a:rPr lang="en-GB" sz="900" b="1" dirty="0">
                <a:solidFill>
                  <a:schemeClr val="accent4"/>
                </a:solidFill>
                <a:cs typeface="Calibri" panose="020F0502020204030204" pitchFamily="34" charset="0"/>
              </a:rPr>
            </a:br>
            <a:r>
              <a:rPr lang="en-GB" sz="900" b="1" dirty="0">
                <a:solidFill>
                  <a:schemeClr val="accent4"/>
                </a:solidFill>
                <a:cs typeface="Calibri" panose="020F0502020204030204" pitchFamily="34" charset="0"/>
              </a:rPr>
              <a:t>RELEVANT RESOURCES</a:t>
            </a:r>
          </a:p>
        </p:txBody>
      </p:sp>
      <p:sp>
        <p:nvSpPr>
          <p:cNvPr id="138" name="TextBox 16">
            <a:extLst>
              <a:ext uri="{FF2B5EF4-FFF2-40B4-BE49-F238E27FC236}">
                <a16:creationId xmlns:a16="http://schemas.microsoft.com/office/drawing/2014/main" id="{6404FA57-5BED-41C8-8A0F-71BCE86E2AB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826826" y="3884840"/>
            <a:ext cx="1215581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r">
              <a:buClr>
                <a:srgbClr val="B2B2B2"/>
              </a:buClr>
              <a:defRPr/>
            </a:pPr>
            <a:r>
              <a:rPr lang="en-GB" sz="900" b="1" dirty="0">
                <a:solidFill>
                  <a:schemeClr val="accent1"/>
                </a:solidFill>
                <a:cs typeface="Calibri" panose="020F0502020204030204" pitchFamily="34" charset="0"/>
              </a:rPr>
              <a:t>PROCESS EFFICIENCY IN REAL EST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3E4458-A485-4623-8F0C-4ACCCBCD7E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1245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0">
        <p159:morph option="byObject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8" grpId="0" animBg="1"/>
      <p:bldP spid="70" grpId="0" animBg="1"/>
      <p:bldP spid="161" grpId="0"/>
      <p:bldP spid="137" grpId="0"/>
      <p:bldP spid="13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82">
            <a:extLst>
              <a:ext uri="{FF2B5EF4-FFF2-40B4-BE49-F238E27FC236}">
                <a16:creationId xmlns:a16="http://schemas.microsoft.com/office/drawing/2014/main" id="{0241D9B4-E90F-4788-AABF-58ADDDC1144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7" name="Rectangle 240">
            <a:extLst>
              <a:ext uri="{FF2B5EF4-FFF2-40B4-BE49-F238E27FC236}">
                <a16:creationId xmlns:a16="http://schemas.microsoft.com/office/drawing/2014/main" id="{2B1788CE-31E9-42F3-8162-0C4DBE0AD8A3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0E01F8F3-5055-4669-892D-517ED275958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2100250" y="2618066"/>
            <a:ext cx="608620" cy="601263"/>
          </a:xfrm>
          <a:custGeom>
            <a:avLst/>
            <a:gdLst>
              <a:gd name="connsiteX0" fmla="*/ 297134 w 608620"/>
              <a:gd name="connsiteY0" fmla="*/ 0 h 601263"/>
              <a:gd name="connsiteX1" fmla="*/ 306176 w 608620"/>
              <a:gd name="connsiteY1" fmla="*/ 8218 h 601263"/>
              <a:gd name="connsiteX2" fmla="*/ 586537 w 608620"/>
              <a:gd name="connsiteY2" fmla="*/ 471542 h 601263"/>
              <a:gd name="connsiteX3" fmla="*/ 608620 w 608620"/>
              <a:gd name="connsiteY3" fmla="*/ 557423 h 601263"/>
              <a:gd name="connsiteX4" fmla="*/ 590116 w 608620"/>
              <a:gd name="connsiteY4" fmla="*/ 563302 h 601263"/>
              <a:gd name="connsiteX5" fmla="*/ 303116 w 608620"/>
              <a:gd name="connsiteY5" fmla="*/ 601263 h 601263"/>
              <a:gd name="connsiteX6" fmla="*/ 82240 w 608620"/>
              <a:gd name="connsiteY6" fmla="*/ 578997 h 601263"/>
              <a:gd name="connsiteX7" fmla="*/ 0 w 608620"/>
              <a:gd name="connsiteY7" fmla="*/ 557851 h 601263"/>
              <a:gd name="connsiteX8" fmla="*/ 25281 w 608620"/>
              <a:gd name="connsiteY8" fmla="*/ 459528 h 601263"/>
              <a:gd name="connsiteX9" fmla="*/ 188705 w 608620"/>
              <a:gd name="connsiteY9" fmla="*/ 129818 h 60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8620" h="601263">
                <a:moveTo>
                  <a:pt x="297134" y="0"/>
                </a:moveTo>
                <a:lnTo>
                  <a:pt x="306176" y="8218"/>
                </a:lnTo>
                <a:cubicBezTo>
                  <a:pt x="434071" y="136113"/>
                  <a:pt x="531472" y="294501"/>
                  <a:pt x="586537" y="471542"/>
                </a:cubicBezTo>
                <a:lnTo>
                  <a:pt x="608620" y="557423"/>
                </a:lnTo>
                <a:lnTo>
                  <a:pt x="590116" y="563302"/>
                </a:lnTo>
                <a:cubicBezTo>
                  <a:pt x="498642" y="588056"/>
                  <a:pt x="402421" y="601263"/>
                  <a:pt x="303116" y="601263"/>
                </a:cubicBezTo>
                <a:cubicBezTo>
                  <a:pt x="227455" y="601263"/>
                  <a:pt x="153585" y="593596"/>
                  <a:pt x="82240" y="578997"/>
                </a:cubicBezTo>
                <a:lnTo>
                  <a:pt x="0" y="557851"/>
                </a:lnTo>
                <a:lnTo>
                  <a:pt x="25281" y="459528"/>
                </a:lnTo>
                <a:cubicBezTo>
                  <a:pt x="62353" y="340340"/>
                  <a:pt x="117950" y="229314"/>
                  <a:pt x="188705" y="129818"/>
                </a:cubicBezTo>
                <a:close/>
              </a:path>
            </a:pathLst>
          </a:custGeom>
          <a:pattFill prst="wdDnDiag">
            <a:fgClr>
              <a:schemeClr val="tx1"/>
            </a:fgClr>
            <a:bgClr>
              <a:srgbClr val="C0EDF4"/>
            </a:bgClr>
          </a:pattFill>
          <a:ln w="158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6941C61-060F-492F-9749-6F9E041B191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308589" y="1027389"/>
            <a:ext cx="2191942" cy="2191939"/>
          </a:xfrm>
          <a:prstGeom prst="ellipse">
            <a:avLst/>
          </a:prstGeom>
          <a:noFill/>
          <a:ln w="158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0AF1D37-8900-4C42-A4E4-6F5D08F66744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2031743" y="1297488"/>
            <a:ext cx="754044" cy="638110"/>
            <a:chOff x="9583738" y="150813"/>
            <a:chExt cx="3686175" cy="3119438"/>
          </a:xfrm>
          <a:solidFill>
            <a:schemeClr val="accent2"/>
          </a:solidFill>
        </p:grpSpPr>
        <p:sp>
          <p:nvSpPr>
            <p:cNvPr id="91" name="Freeform 5">
              <a:extLst>
                <a:ext uri="{FF2B5EF4-FFF2-40B4-BE49-F238E27FC236}">
                  <a16:creationId xmlns:a16="http://schemas.microsoft.com/office/drawing/2014/main" id="{193EBCCE-400D-4AC5-8F16-E5A94396B36D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C3D4287A-E59A-4095-87B7-8509A4669EE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E1328353-4078-4876-9ACE-DA02B5E263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37DF5651-4055-4973-8ECE-1D3FB80B313E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5C1B7368-83AC-4C55-8EB3-5ACB885FEF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74BA95BD-D5E4-46A4-865A-414843F42F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11">
              <a:extLst>
                <a:ext uri="{FF2B5EF4-FFF2-40B4-BE49-F238E27FC236}">
                  <a16:creationId xmlns:a16="http://schemas.microsoft.com/office/drawing/2014/main" id="{7DCC3764-8D3C-46C2-866A-BA9509A68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12">
              <a:extLst>
                <a:ext uri="{FF2B5EF4-FFF2-40B4-BE49-F238E27FC236}">
                  <a16:creationId xmlns:a16="http://schemas.microsoft.com/office/drawing/2014/main" id="{4EBEE185-812B-415E-AF4F-AA4F5B5C9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13">
              <a:extLst>
                <a:ext uri="{FF2B5EF4-FFF2-40B4-BE49-F238E27FC236}">
                  <a16:creationId xmlns:a16="http://schemas.microsoft.com/office/drawing/2014/main" id="{11B524E9-C409-4B25-90B5-88A071E694D5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14">
              <a:extLst>
                <a:ext uri="{FF2B5EF4-FFF2-40B4-BE49-F238E27FC236}">
                  <a16:creationId xmlns:a16="http://schemas.microsoft.com/office/drawing/2014/main" id="{DCD3C3AA-BE33-4124-B9FA-E96AAF837F8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Freeform 15">
              <a:extLst>
                <a:ext uri="{FF2B5EF4-FFF2-40B4-BE49-F238E27FC236}">
                  <a16:creationId xmlns:a16="http://schemas.microsoft.com/office/drawing/2014/main" id="{E62DD72F-155F-4F3B-BEAC-588A9F50629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16">
              <a:extLst>
                <a:ext uri="{FF2B5EF4-FFF2-40B4-BE49-F238E27FC236}">
                  <a16:creationId xmlns:a16="http://schemas.microsoft.com/office/drawing/2014/main" id="{D03E2C1D-4561-4113-BEF4-CE47EE412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id="{5F97948E-F55A-4A22-BC60-2BB79BA989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DFA5A57C-A7F9-409E-B12E-C6BB81E3140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19">
              <a:extLst>
                <a:ext uri="{FF2B5EF4-FFF2-40B4-BE49-F238E27FC236}">
                  <a16:creationId xmlns:a16="http://schemas.microsoft.com/office/drawing/2014/main" id="{4CCCE58E-6E40-478C-89BC-ACACAA8A856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20">
              <a:extLst>
                <a:ext uri="{FF2B5EF4-FFF2-40B4-BE49-F238E27FC236}">
                  <a16:creationId xmlns:a16="http://schemas.microsoft.com/office/drawing/2014/main" id="{6A29C5A3-1677-4160-9FB4-A60F0C475E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21">
              <a:extLst>
                <a:ext uri="{FF2B5EF4-FFF2-40B4-BE49-F238E27FC236}">
                  <a16:creationId xmlns:a16="http://schemas.microsoft.com/office/drawing/2014/main" id="{7045F594-1D49-4BDD-9194-9C8D9527FD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Freeform 22">
              <a:extLst>
                <a:ext uri="{FF2B5EF4-FFF2-40B4-BE49-F238E27FC236}">
                  <a16:creationId xmlns:a16="http://schemas.microsoft.com/office/drawing/2014/main" id="{F9926E99-9EAB-49FB-B023-00282827B6A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23">
              <a:extLst>
                <a:ext uri="{FF2B5EF4-FFF2-40B4-BE49-F238E27FC236}">
                  <a16:creationId xmlns:a16="http://schemas.microsoft.com/office/drawing/2014/main" id="{CE3BC85D-CE31-47B7-B3E2-1DC73B0EAF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Oval 24">
              <a:extLst>
                <a:ext uri="{FF2B5EF4-FFF2-40B4-BE49-F238E27FC236}">
                  <a16:creationId xmlns:a16="http://schemas.microsoft.com/office/drawing/2014/main" id="{7FD8CF12-F271-496D-9B93-89E8B38FF82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Oval 25">
              <a:extLst>
                <a:ext uri="{FF2B5EF4-FFF2-40B4-BE49-F238E27FC236}">
                  <a16:creationId xmlns:a16="http://schemas.microsoft.com/office/drawing/2014/main" id="{A9F8741E-EA8D-40B7-9A8E-F95FE50BC9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7B7217C-C21B-4BDE-9EBC-89A8D40C306D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1017809" y="3101506"/>
            <a:ext cx="653492" cy="642922"/>
            <a:chOff x="10330395" y="176211"/>
            <a:chExt cx="4867275" cy="4788553"/>
          </a:xfrm>
          <a:solidFill>
            <a:schemeClr val="accent4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B624557-9C1D-40BE-A50D-985F05781D76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A39A2269-B5BC-44D3-B2E8-E11696F9F516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C631F090-122D-426C-8C71-04CF71DF59C2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3FA94E58-D961-4F19-A171-5A8312C39542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3266602" y="3093954"/>
            <a:ext cx="648772" cy="649660"/>
            <a:chOff x="13986666" y="290454"/>
            <a:chExt cx="4555522" cy="4561771"/>
          </a:xfrm>
          <a:solidFill>
            <a:schemeClr val="accent1"/>
          </a:solidFill>
        </p:grpSpPr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D685320F-DC59-4FAE-B3A9-508DA6AB96ED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C5EFDA00-1EA4-4E84-A5C7-CAAC36AC2BAB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0072B2F5-B319-437C-87D9-730CD1A5261D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3A3786E-6A70-4B3C-99AE-2AA72E45EF31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19A2F57E-4A97-432C-B164-76D14F7598A3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C9C3DD07-5BCE-4EF5-8D75-CE66F7526F6B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C4FEFC3C-41BB-466F-8026-87DCF45A1350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4C6FE4BB-4B45-41F2-8817-8819E923985A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F7EFBCA5-0EAF-47B6-BF41-FCB0968AAB3E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61" name="TextBox 16">
            <a:extLst>
              <a:ext uri="{FF2B5EF4-FFF2-40B4-BE49-F238E27FC236}">
                <a16:creationId xmlns:a16="http://schemas.microsoft.com/office/drawing/2014/main" id="{2D695ED2-0F56-4F5A-94AF-30FC4E7EC6B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1508765" y="2067694"/>
            <a:ext cx="1800000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>
                <a:solidFill>
                  <a:schemeClr val="accent2"/>
                </a:solidFill>
                <a:cs typeface="Calibri" panose="020F0502020204030204" pitchFamily="34" charset="0"/>
              </a:rPr>
              <a:t>HEALTHY HOUSING</a:t>
            </a:r>
            <a:endParaRPr lang="en-GB" sz="900" b="1" dirty="0">
              <a:solidFill>
                <a:schemeClr val="accent2"/>
              </a:solidFill>
              <a:cs typeface="Calibri" panose="020F0502020204030204" pitchFamily="34" charset="0"/>
            </a:endParaRPr>
          </a:p>
        </p:txBody>
      </p:sp>
      <p:sp>
        <p:nvSpPr>
          <p:cNvPr id="162" name="TextBox 16">
            <a:extLst>
              <a:ext uri="{FF2B5EF4-FFF2-40B4-BE49-F238E27FC236}">
                <a16:creationId xmlns:a16="http://schemas.microsoft.com/office/drawing/2014/main" id="{6271B29F-F61D-4151-A48F-841E2142A62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017809" y="3884840"/>
            <a:ext cx="1321943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>
              <a:buClr>
                <a:srgbClr val="B2B2B2"/>
              </a:buClr>
              <a:defRPr/>
            </a:pPr>
            <a:r>
              <a:rPr lang="en-GB" sz="900" b="1">
                <a:solidFill>
                  <a:schemeClr val="accent4"/>
                </a:solidFill>
                <a:cs typeface="Calibri" panose="020F0502020204030204" pitchFamily="34" charset="0"/>
              </a:rPr>
              <a:t>CLIMATE-</a:t>
            </a:r>
            <a:br>
              <a:rPr lang="en-GB" sz="900" b="1">
                <a:solidFill>
                  <a:schemeClr val="accent4"/>
                </a:solidFill>
                <a:cs typeface="Calibri" panose="020F0502020204030204" pitchFamily="34" charset="0"/>
              </a:rPr>
            </a:br>
            <a:r>
              <a:rPr lang="en-GB" sz="900" b="1">
                <a:solidFill>
                  <a:schemeClr val="accent4"/>
                </a:solidFill>
                <a:cs typeface="Calibri" panose="020F0502020204030204" pitchFamily="34" charset="0"/>
              </a:rPr>
              <a:t>RELEVANT RESOURCES</a:t>
            </a:r>
            <a:endParaRPr lang="en-GB" sz="900" b="1" dirty="0">
              <a:solidFill>
                <a:schemeClr val="accent4"/>
              </a:solidFill>
              <a:cs typeface="Calibri" panose="020F0502020204030204" pitchFamily="34" charset="0"/>
            </a:endParaRPr>
          </a:p>
        </p:txBody>
      </p:sp>
      <p:sp>
        <p:nvSpPr>
          <p:cNvPr id="164" name="TextBox 16">
            <a:extLst>
              <a:ext uri="{FF2B5EF4-FFF2-40B4-BE49-F238E27FC236}">
                <a16:creationId xmlns:a16="http://schemas.microsoft.com/office/drawing/2014/main" id="{F61E5AB8-E631-4C0C-A428-DF978483AD0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699792" y="3884840"/>
            <a:ext cx="1215581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r">
              <a:buClr>
                <a:srgbClr val="B2B2B2"/>
              </a:buClr>
              <a:defRPr/>
            </a:pPr>
            <a:r>
              <a:rPr lang="en-GB" sz="900" b="1">
                <a:solidFill>
                  <a:schemeClr val="accent1"/>
                </a:solidFill>
                <a:cs typeface="Calibri" panose="020F0502020204030204" pitchFamily="34" charset="0"/>
              </a:rPr>
              <a:t>PROCESS EFFICIENCY IN REAL ESTATE</a:t>
            </a:r>
            <a:endParaRPr lang="en-GB" sz="900" b="1" dirty="0">
              <a:solidFill>
                <a:schemeClr val="accent1"/>
              </a:solidFill>
              <a:cs typeface="Calibri" panose="020F0502020204030204" pitchFamily="34" charset="0"/>
            </a:endParaRPr>
          </a:p>
        </p:txBody>
      </p:sp>
      <p:sp>
        <p:nvSpPr>
          <p:cNvPr id="66" name="Rectangle 23">
            <a:extLst>
              <a:ext uri="{FF2B5EF4-FFF2-40B4-BE49-F238E27FC236}">
                <a16:creationId xmlns:a16="http://schemas.microsoft.com/office/drawing/2014/main" id="{35523285-911A-4DCA-B2EC-386A674E84D6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643438" y="1995686"/>
            <a:ext cx="3359857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800" b="1" dirty="0">
                <a:solidFill>
                  <a:schemeClr val="tx1"/>
                </a:solidFill>
              </a:rPr>
              <a:t>Energy services</a:t>
            </a:r>
            <a:br>
              <a:rPr lang="en-GB" sz="1800" b="1" dirty="0">
                <a:solidFill>
                  <a:schemeClr val="tx1"/>
                </a:solidFill>
              </a:rPr>
            </a:br>
            <a:r>
              <a:rPr lang="en-GB" sz="1800" b="1" dirty="0">
                <a:solidFill>
                  <a:schemeClr val="tx1"/>
                </a:solidFill>
              </a:rPr>
              <a:t>are multifaceted</a:t>
            </a:r>
          </a:p>
        </p:txBody>
      </p:sp>
      <p:sp>
        <p:nvSpPr>
          <p:cNvPr id="68" name="Rectangle 23">
            <a:extLst>
              <a:ext uri="{FF2B5EF4-FFF2-40B4-BE49-F238E27FC236}">
                <a16:creationId xmlns:a16="http://schemas.microsoft.com/office/drawing/2014/main" id="{A09DFE12-0175-44C7-B359-384218BF40B6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643439" y="2310647"/>
            <a:ext cx="3864506" cy="1701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1"/>
                </a:solidFill>
              </a:rPr>
              <a:t>If we want to develop modern tailored solutions which meet our customers’ needs, we should look at ways to protect our “climate-relevant resources”, as well as the role played by “healthy housing” and “process efficiency”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C71BC8F-D006-4B6B-9699-4043D6DFBB29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477251" y="2295085"/>
            <a:ext cx="2261567" cy="2261566"/>
            <a:chOff x="477251" y="2295085"/>
            <a:chExt cx="2261567" cy="2261566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DA20A62-A1F8-45C2-85CA-94ECC4311CE8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477251" y="2295085"/>
              <a:ext cx="2261567" cy="2261566"/>
            </a:xfrm>
            <a:prstGeom prst="ellipse">
              <a:avLst/>
            </a:prstGeom>
            <a:noFill/>
            <a:ln w="1587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79" name="Star: 5 Points 78">
              <a:extLst>
                <a:ext uri="{FF2B5EF4-FFF2-40B4-BE49-F238E27FC236}">
                  <a16:creationId xmlns:a16="http://schemas.microsoft.com/office/drawing/2014/main" id="{E593E615-FF51-43F7-9622-1D1852F99F44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1040637" y="2571750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2D7D715-2533-4BB1-AF11-ECD16F9BE37B}"/>
              </a:ext>
            </a:extLst>
          </p:cNvPr>
          <p:cNvGrpSpPr/>
          <p:nvPr/>
        </p:nvGrpSpPr>
        <p:grpSpPr bwMode="gray">
          <a:xfrm>
            <a:off x="2074071" y="2254683"/>
            <a:ext cx="2342374" cy="2342372"/>
            <a:chOff x="2074071" y="2254683"/>
            <a:chExt cx="2342374" cy="2342372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787F073-188B-40B0-BAB8-5E4EF56E3DA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2074071" y="2254683"/>
              <a:ext cx="2342374" cy="2342372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0" name="Arrow: Right 79">
              <a:extLst>
                <a:ext uri="{FF2B5EF4-FFF2-40B4-BE49-F238E27FC236}">
                  <a16:creationId xmlns:a16="http://schemas.microsoft.com/office/drawing/2014/main" id="{D13DB09D-E162-4FE5-AED0-C377F79C892C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3374788" y="2641205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59C7FD9-8B4A-4322-A681-9BE40A75681D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2" name="Rechteck 12">
              <a:extLst>
                <a:ext uri="{FF2B5EF4-FFF2-40B4-BE49-F238E27FC236}">
                  <a16:creationId xmlns:a16="http://schemas.microsoft.com/office/drawing/2014/main" id="{7EF1AC81-8AA9-4DC4-A7B6-5DEF71486455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6A26EE4B-F243-4B2D-BE95-0D4E6F4F6A81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5" name="Rectangle 5">
                <a:extLst>
                  <a:ext uri="{FF2B5EF4-FFF2-40B4-BE49-F238E27FC236}">
                    <a16:creationId xmlns:a16="http://schemas.microsoft.com/office/drawing/2014/main" id="{FBD8B5FB-F782-458B-A293-07DBCBEAB435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8E17700F-7186-461B-A8E1-7791A9F3AB2F}"/>
                  </a:ext>
                </a:extLst>
              </p:cNvPr>
              <p:cNvGrpSpPr/>
              <p:nvPr userDrawn="1">
                <p:custDataLst>
                  <p:tags r:id="rId21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85" name="Freeform 6">
                  <a:extLst>
                    <a:ext uri="{FF2B5EF4-FFF2-40B4-BE49-F238E27FC236}">
                      <a16:creationId xmlns:a16="http://schemas.microsoft.com/office/drawing/2014/main" id="{88D0460A-BF04-4A8D-A99D-EA74178E184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7">
                  <a:extLst>
                    <a:ext uri="{FF2B5EF4-FFF2-40B4-BE49-F238E27FC236}">
                      <a16:creationId xmlns:a16="http://schemas.microsoft.com/office/drawing/2014/main" id="{FD540045-858F-452D-99F2-AEB90EB729AA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8">
                  <a:extLst>
                    <a:ext uri="{FF2B5EF4-FFF2-40B4-BE49-F238E27FC236}">
                      <a16:creationId xmlns:a16="http://schemas.microsoft.com/office/drawing/2014/main" id="{622A9950-3125-41EA-8BFF-AEE083C1B3E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9">
                  <a:extLst>
                    <a:ext uri="{FF2B5EF4-FFF2-40B4-BE49-F238E27FC236}">
                      <a16:creationId xmlns:a16="http://schemas.microsoft.com/office/drawing/2014/main" id="{8DEAB4DE-0DB6-4C86-A3CA-06AB2C0B022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10">
                  <a:extLst>
                    <a:ext uri="{FF2B5EF4-FFF2-40B4-BE49-F238E27FC236}">
                      <a16:creationId xmlns:a16="http://schemas.microsoft.com/office/drawing/2014/main" id="{A184ECF6-FD36-4343-AF6D-BECB1003C63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3" name="Freeform 11">
                  <a:extLst>
                    <a:ext uri="{FF2B5EF4-FFF2-40B4-BE49-F238E27FC236}">
                      <a16:creationId xmlns:a16="http://schemas.microsoft.com/office/drawing/2014/main" id="{50128F50-224E-4AD0-ACBC-2F9C577AC0C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12">
                  <a:extLst>
                    <a:ext uri="{FF2B5EF4-FFF2-40B4-BE49-F238E27FC236}">
                      <a16:creationId xmlns:a16="http://schemas.microsoft.com/office/drawing/2014/main" id="{FF44ACE0-40E5-4F69-ADA6-C6FB674DF9D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13">
                  <a:extLst>
                    <a:ext uri="{FF2B5EF4-FFF2-40B4-BE49-F238E27FC236}">
                      <a16:creationId xmlns:a16="http://schemas.microsoft.com/office/drawing/2014/main" id="{090C1B5F-8823-4EFF-ADA0-BFEEC2AE081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76" name="Textplatzhalter 6">
            <a:extLst>
              <a:ext uri="{FF2B5EF4-FFF2-40B4-BE49-F238E27FC236}">
                <a16:creationId xmlns:a16="http://schemas.microsoft.com/office/drawing/2014/main" id="{6C87E661-4F76-4244-845E-9DE2FD07014C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50" kern="600" dirty="0"/>
          </a:p>
        </p:txBody>
      </p:sp>
      <p:sp>
        <p:nvSpPr>
          <p:cNvPr id="78" name="Textplatzhalter 6">
            <a:extLst>
              <a:ext uri="{FF2B5EF4-FFF2-40B4-BE49-F238E27FC236}">
                <a16:creationId xmlns:a16="http://schemas.microsoft.com/office/drawing/2014/main" id="{EBEBAD61-C764-44A2-AD2E-67BC76EA4A77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68000" y="118800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sp>
        <p:nvSpPr>
          <p:cNvPr id="84" name="Rectangle 23">
            <a:extLst>
              <a:ext uri="{FF2B5EF4-FFF2-40B4-BE49-F238E27FC236}">
                <a16:creationId xmlns:a16="http://schemas.microsoft.com/office/drawing/2014/main" id="{F50736DB-9CE3-4924-B82A-081E694AB0C0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1205372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CLIMATE-RELEVANT RESOURC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09" name="Rectangle 23">
            <a:extLst>
              <a:ext uri="{FF2B5EF4-FFF2-40B4-BE49-F238E27FC236}">
                <a16:creationId xmlns:a16="http://schemas.microsoft.com/office/drawing/2014/main" id="{EF721082-C1D6-4D1B-A221-58FD8746CAB3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3861032" y="2470192"/>
            <a:ext cx="3604362" cy="1253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building heating is responsible for around 35%</a:t>
            </a:r>
            <a:b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</a:b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f total energy consumption in Germany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 the average household, 85% of energy is used for heating and warm water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im of the EU Energy Efficiency Directive is to reduce energy consumption in the EU by 32.5% by 2030 compared to 2007</a:t>
            </a:r>
          </a:p>
        </p:txBody>
      </p:sp>
      <p:sp>
        <p:nvSpPr>
          <p:cNvPr id="110" name="Rectangle 23">
            <a:extLst>
              <a:ext uri="{FF2B5EF4-FFF2-40B4-BE49-F238E27FC236}">
                <a16:creationId xmlns:a16="http://schemas.microsoft.com/office/drawing/2014/main" id="{3656F04E-998E-4638-A1A8-6246F35567AE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2821161" y="2012305"/>
            <a:ext cx="4036133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need to be protected with energy efficiency.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Here’s why: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7B78FC8-63DE-4C31-A492-EF12DEC4FE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909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Picture 188">
            <a:extLst>
              <a:ext uri="{FF2B5EF4-FFF2-40B4-BE49-F238E27FC236}">
                <a16:creationId xmlns:a16="http://schemas.microsoft.com/office/drawing/2014/main" id="{D83612A3-2164-4860-ADFD-7CC1B613B79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0" name="Rectangle 189">
            <a:extLst>
              <a:ext uri="{FF2B5EF4-FFF2-40B4-BE49-F238E27FC236}">
                <a16:creationId xmlns:a16="http://schemas.microsoft.com/office/drawing/2014/main" id="{C3068E38-1F07-4F1C-B3F7-ED08445D539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c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E6551FBE-1D44-482F-8FB3-0C9AA389B80E}"/>
              </a:ext>
            </a:extLst>
          </p:cNvPr>
          <p:cNvGrpSpPr/>
          <p:nvPr>
            <p:custDataLst>
              <p:tags r:id="rId3"/>
            </p:custDataLst>
          </p:nvPr>
        </p:nvGrpSpPr>
        <p:grpSpPr bwMode="gray">
          <a:xfrm>
            <a:off x="2188976" y="2664963"/>
            <a:ext cx="1778996" cy="1778995"/>
            <a:chOff x="2072924" y="2443991"/>
            <a:chExt cx="1778996" cy="1778995"/>
          </a:xfrm>
        </p:grpSpPr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17F96C60-DE0C-4512-A280-B67C5F446DE7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2072924" y="2443991"/>
              <a:ext cx="1778996" cy="1778995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7" name="Arrow: Right 176">
              <a:extLst>
                <a:ext uri="{FF2B5EF4-FFF2-40B4-BE49-F238E27FC236}">
                  <a16:creationId xmlns:a16="http://schemas.microsoft.com/office/drawing/2014/main" id="{AFB906E7-D28E-4E4A-A9C7-7601130BDF8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3026471" y="2704490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23">
            <a:extLst>
              <a:ext uri="{FF2B5EF4-FFF2-40B4-BE49-F238E27FC236}">
                <a16:creationId xmlns:a16="http://schemas.microsoft.com/office/drawing/2014/main" id="{79FF076E-786B-4EF4-BC59-88DAC6F6A9F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43438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CLIMATE-RELEVANT RESOURC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9" name="Rectangle 23">
            <a:extLst>
              <a:ext uri="{FF2B5EF4-FFF2-40B4-BE49-F238E27FC236}">
                <a16:creationId xmlns:a16="http://schemas.microsoft.com/office/drawing/2014/main" id="{4E790D8F-B401-4044-B688-31DBB93D7180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643438" y="2470192"/>
            <a:ext cx="3604362" cy="1253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building heating is responsible for around 35%</a:t>
            </a:r>
            <a:b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</a:b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f total energy consumption in Germany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 the average household, 85% of energy is used for heating and warm water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im of the EU Energy Efficiency Directive is to reduce energy consumption in the EU by 32.5% by 2030 compared to 2007</a:t>
            </a:r>
          </a:p>
        </p:txBody>
      </p:sp>
      <p:sp>
        <p:nvSpPr>
          <p:cNvPr id="74" name="Rectangle 23">
            <a:extLst>
              <a:ext uri="{FF2B5EF4-FFF2-40B4-BE49-F238E27FC236}">
                <a16:creationId xmlns:a16="http://schemas.microsoft.com/office/drawing/2014/main" id="{2746F257-7E69-42CF-8F5D-8BE25C8A6D6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643437" y="2012305"/>
            <a:ext cx="4036133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need to be protected with energy efficiency.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Here’s why: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2C90CB12-C125-4A6D-A300-DACCD64B9CC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496059" y="1511880"/>
            <a:ext cx="1778400" cy="1778400"/>
          </a:xfrm>
          <a:prstGeom prst="ellipse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6B08FED-5937-4B25-96ED-F8D4EF1A70BC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2098916" y="1707654"/>
            <a:ext cx="572685" cy="484634"/>
            <a:chOff x="9583738" y="150813"/>
            <a:chExt cx="3686175" cy="3119438"/>
          </a:xfrm>
          <a:solidFill>
            <a:schemeClr val="tx2"/>
          </a:solidFill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D687C651-8615-4766-8F4E-A715C632937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14C75B53-80FA-4164-B741-09DA898DB7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">
              <a:extLst>
                <a:ext uri="{FF2B5EF4-FFF2-40B4-BE49-F238E27FC236}">
                  <a16:creationId xmlns:a16="http://schemas.microsoft.com/office/drawing/2014/main" id="{E9A8F4C7-CDAC-4028-8C42-16E449324895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8">
              <a:extLst>
                <a:ext uri="{FF2B5EF4-FFF2-40B4-BE49-F238E27FC236}">
                  <a16:creationId xmlns:a16="http://schemas.microsoft.com/office/drawing/2014/main" id="{C5E16A97-F95D-49B1-B393-49DBCF5B794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9">
              <a:extLst>
                <a:ext uri="{FF2B5EF4-FFF2-40B4-BE49-F238E27FC236}">
                  <a16:creationId xmlns:a16="http://schemas.microsoft.com/office/drawing/2014/main" id="{ED2823DB-7840-4FE0-86A2-992057E1AFF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0">
              <a:extLst>
                <a:ext uri="{FF2B5EF4-FFF2-40B4-BE49-F238E27FC236}">
                  <a16:creationId xmlns:a16="http://schemas.microsoft.com/office/drawing/2014/main" id="{C8373C06-79AF-4B42-9BF9-4105C6393EE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1">
              <a:extLst>
                <a:ext uri="{FF2B5EF4-FFF2-40B4-BE49-F238E27FC236}">
                  <a16:creationId xmlns:a16="http://schemas.microsoft.com/office/drawing/2014/main" id="{C570A589-C087-4726-BAC2-6F6BCCA68E50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2">
              <a:extLst>
                <a:ext uri="{FF2B5EF4-FFF2-40B4-BE49-F238E27FC236}">
                  <a16:creationId xmlns:a16="http://schemas.microsoft.com/office/drawing/2014/main" id="{730D8D37-6C16-4BF6-B16A-AC713B30924A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3">
              <a:extLst>
                <a:ext uri="{FF2B5EF4-FFF2-40B4-BE49-F238E27FC236}">
                  <a16:creationId xmlns:a16="http://schemas.microsoft.com/office/drawing/2014/main" id="{A24BFF51-9B3B-490B-9F70-F910EBF1386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Freeform 14">
              <a:extLst>
                <a:ext uri="{FF2B5EF4-FFF2-40B4-BE49-F238E27FC236}">
                  <a16:creationId xmlns:a16="http://schemas.microsoft.com/office/drawing/2014/main" id="{E416B4D4-04B0-4DA7-A6BF-2A2B9C8BC8BC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Freeform 15">
              <a:extLst>
                <a:ext uri="{FF2B5EF4-FFF2-40B4-BE49-F238E27FC236}">
                  <a16:creationId xmlns:a16="http://schemas.microsoft.com/office/drawing/2014/main" id="{C6A00764-FE21-467D-B6D0-B885D1D1F10F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Freeform 16">
              <a:extLst>
                <a:ext uri="{FF2B5EF4-FFF2-40B4-BE49-F238E27FC236}">
                  <a16:creationId xmlns:a16="http://schemas.microsoft.com/office/drawing/2014/main" id="{03745859-6658-40D9-98AD-20467F8BD5D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" name="Freeform 17">
              <a:extLst>
                <a:ext uri="{FF2B5EF4-FFF2-40B4-BE49-F238E27FC236}">
                  <a16:creationId xmlns:a16="http://schemas.microsoft.com/office/drawing/2014/main" id="{AEA5DD49-8329-4A52-85B0-B3C0C803D9A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Freeform 18">
              <a:extLst>
                <a:ext uri="{FF2B5EF4-FFF2-40B4-BE49-F238E27FC236}">
                  <a16:creationId xmlns:a16="http://schemas.microsoft.com/office/drawing/2014/main" id="{94D14F7B-B95C-4964-931D-F08A9DCB6DA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Freeform 19">
              <a:extLst>
                <a:ext uri="{FF2B5EF4-FFF2-40B4-BE49-F238E27FC236}">
                  <a16:creationId xmlns:a16="http://schemas.microsoft.com/office/drawing/2014/main" id="{C7822EF2-F9D4-4938-91A7-DBBC2D10424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Freeform 20">
              <a:extLst>
                <a:ext uri="{FF2B5EF4-FFF2-40B4-BE49-F238E27FC236}">
                  <a16:creationId xmlns:a16="http://schemas.microsoft.com/office/drawing/2014/main" id="{457CBD61-1476-4F55-B5D7-99CAB047FBE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" name="Freeform 21">
              <a:extLst>
                <a:ext uri="{FF2B5EF4-FFF2-40B4-BE49-F238E27FC236}">
                  <a16:creationId xmlns:a16="http://schemas.microsoft.com/office/drawing/2014/main" id="{50F3E300-938C-4ACD-8E75-BA98FA4B75E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Freeform 22">
              <a:extLst>
                <a:ext uri="{FF2B5EF4-FFF2-40B4-BE49-F238E27FC236}">
                  <a16:creationId xmlns:a16="http://schemas.microsoft.com/office/drawing/2014/main" id="{F7B76839-6AA1-41AE-8B89-30404680BF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Freeform 23">
              <a:extLst>
                <a:ext uri="{FF2B5EF4-FFF2-40B4-BE49-F238E27FC236}">
                  <a16:creationId xmlns:a16="http://schemas.microsoft.com/office/drawing/2014/main" id="{5956B35F-9395-43A0-B9EE-37140FD369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" name="Oval 24">
              <a:extLst>
                <a:ext uri="{FF2B5EF4-FFF2-40B4-BE49-F238E27FC236}">
                  <a16:creationId xmlns:a16="http://schemas.microsoft.com/office/drawing/2014/main" id="{B6DA1BE7-A81E-42C3-836A-F3E2427F93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Oval 25">
              <a:extLst>
                <a:ext uri="{FF2B5EF4-FFF2-40B4-BE49-F238E27FC236}">
                  <a16:creationId xmlns:a16="http://schemas.microsoft.com/office/drawing/2014/main" id="{710FC430-CE0A-45A5-A807-91EB29FD82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33" name="TextBox 16">
            <a:extLst>
              <a:ext uri="{FF2B5EF4-FFF2-40B4-BE49-F238E27FC236}">
                <a16:creationId xmlns:a16="http://schemas.microsoft.com/office/drawing/2014/main" id="{82D7C44F-9854-4A70-BD3D-93E7198BF4B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701723" y="2242190"/>
            <a:ext cx="1367072" cy="19139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HEALTHY HOUSING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B224DDE-0E2E-41F4-9779-423D7E14F9E8}"/>
              </a:ext>
            </a:extLst>
          </p:cNvPr>
          <p:cNvGrpSpPr/>
          <p:nvPr/>
        </p:nvGrpSpPr>
        <p:grpSpPr bwMode="gray">
          <a:xfrm>
            <a:off x="477251" y="2295085"/>
            <a:ext cx="2261567" cy="2261566"/>
            <a:chOff x="477251" y="2295085"/>
            <a:chExt cx="2261567" cy="2261566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502E9040-EB99-47C0-9DEA-3AC079937E0E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477251" y="2295085"/>
              <a:ext cx="2261567" cy="2261566"/>
            </a:xfrm>
            <a:prstGeom prst="ellipse">
              <a:avLst/>
            </a:prstGeom>
            <a:solidFill>
              <a:schemeClr val="accent4"/>
            </a:solidFill>
            <a:ln w="15875">
              <a:solidFill>
                <a:schemeClr val="accent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Star: 5 Points 4">
              <a:extLst>
                <a:ext uri="{FF2B5EF4-FFF2-40B4-BE49-F238E27FC236}">
                  <a16:creationId xmlns:a16="http://schemas.microsoft.com/office/drawing/2014/main" id="{F06FE927-4660-4144-A669-9238F7FCDFA4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1040637" y="2571750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134" name="TextBox 16">
            <a:extLst>
              <a:ext uri="{FF2B5EF4-FFF2-40B4-BE49-F238E27FC236}">
                <a16:creationId xmlns:a16="http://schemas.microsoft.com/office/drawing/2014/main" id="{5162DBD6-071F-4D9E-9D5A-69A28F9F02C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040637" y="3759910"/>
            <a:ext cx="1134794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CLIMATE-RELEVANT RESOURCES</a:t>
            </a:r>
            <a:endParaRPr lang="en-GB" sz="900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D00F35F7-BB46-4E65-8E4F-B448790DE5D5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1281288" y="2884018"/>
            <a:ext cx="653492" cy="642922"/>
            <a:chOff x="10330395" y="176211"/>
            <a:chExt cx="4867275" cy="4788553"/>
          </a:xfrm>
          <a:solidFill>
            <a:schemeClr val="bg1"/>
          </a:solidFill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A82291AD-00BA-4B57-8FFE-FE96F30EC2FE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4D79BB3-2D4A-4819-BBE9-C7009268AAB8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061F3337-1B85-40D4-97B1-BC3A1931F4FD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/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34F1385D-C448-4A72-8582-C0F1A0C36A94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3130275" y="3302377"/>
            <a:ext cx="492732" cy="493407"/>
            <a:chOff x="13986666" y="290454"/>
            <a:chExt cx="4555522" cy="4561771"/>
          </a:xfrm>
          <a:solidFill>
            <a:schemeClr val="tx2"/>
          </a:solidFill>
        </p:grpSpPr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C6EF88DA-32DB-407F-9B41-57F19388DCE4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6C7E1D84-55C4-4016-B4A9-6EE5CD682909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AB570672-8069-44BF-B6E4-8A0FAD81B710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5E6BA97-82A8-44C6-8E3B-ACE1376531FB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F7242C96-DEF4-4809-9D92-433C02C69B69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C6FA2660-6179-4035-B5F6-8D418179BE7E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A29D8E53-B723-4C85-8374-9E8897F7CF09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79931D70-503D-42F3-B6EF-130FB32D3CBD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DB452F8-62AA-4EAC-A5EC-3AD4A59227DA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88" name="TextBox 16">
            <a:extLst>
              <a:ext uri="{FF2B5EF4-FFF2-40B4-BE49-F238E27FC236}">
                <a16:creationId xmlns:a16="http://schemas.microsoft.com/office/drawing/2014/main" id="{809335CA-0B27-49E8-9A30-9505E473359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699792" y="3903042"/>
            <a:ext cx="923215" cy="19139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r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PROCESS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EFFICIENCY IN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REAL ESTATE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564E6256-163D-48BA-B9B4-46C280C7F516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643438" y="5938916"/>
            <a:ext cx="3359857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800" b="1">
                <a:solidFill>
                  <a:schemeClr val="tx1"/>
                </a:solidFill>
              </a:rPr>
              <a:t>Energy services</a:t>
            </a:r>
            <a:br>
              <a:rPr lang="en-GB" sz="1800" b="1">
                <a:solidFill>
                  <a:schemeClr val="tx1"/>
                </a:solidFill>
              </a:rPr>
            </a:br>
            <a:r>
              <a:rPr lang="en-GB" sz="1800" b="1">
                <a:solidFill>
                  <a:schemeClr val="tx1"/>
                </a:solidFill>
              </a:rPr>
              <a:t>are multifaceted.</a:t>
            </a:r>
            <a:endParaRPr lang="en-GB" sz="1800" b="1" dirty="0">
              <a:solidFill>
                <a:schemeClr val="tx1"/>
              </a:solidFill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FA66559-D8F7-4236-9098-699B52E48A74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3" name="Rechteck 12">
              <a:extLst>
                <a:ext uri="{FF2B5EF4-FFF2-40B4-BE49-F238E27FC236}">
                  <a16:creationId xmlns:a16="http://schemas.microsoft.com/office/drawing/2014/main" id="{26D34FE7-8505-465C-A927-22089FA7AD51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88206F42-169F-40F8-9CE0-B876FD611694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93" name="Rectangle 5">
                <a:extLst>
                  <a:ext uri="{FF2B5EF4-FFF2-40B4-BE49-F238E27FC236}">
                    <a16:creationId xmlns:a16="http://schemas.microsoft.com/office/drawing/2014/main" id="{2650784B-EEB4-4D45-9450-1ACC1D1E7B62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E74CB7DA-9DC9-4295-8498-8D4B18C8FBCD}"/>
                  </a:ext>
                </a:extLst>
              </p:cNvPr>
              <p:cNvGrpSpPr/>
              <p:nvPr userDrawn="1">
                <p:custDataLst>
                  <p:tags r:id="rId2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95" name="Freeform 6">
                  <a:extLst>
                    <a:ext uri="{FF2B5EF4-FFF2-40B4-BE49-F238E27FC236}">
                      <a16:creationId xmlns:a16="http://schemas.microsoft.com/office/drawing/2014/main" id="{30D49C66-8E76-40D3-A689-14CD1EF31F9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7">
                  <a:extLst>
                    <a:ext uri="{FF2B5EF4-FFF2-40B4-BE49-F238E27FC236}">
                      <a16:creationId xmlns:a16="http://schemas.microsoft.com/office/drawing/2014/main" id="{2C8680F9-3A62-4279-9622-C18570442C0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8">
                  <a:extLst>
                    <a:ext uri="{FF2B5EF4-FFF2-40B4-BE49-F238E27FC236}">
                      <a16:creationId xmlns:a16="http://schemas.microsoft.com/office/drawing/2014/main" id="{DC8AE0CD-8BD4-4EDB-A39C-6D229BC4C30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8" name="Freeform 9">
                  <a:extLst>
                    <a:ext uri="{FF2B5EF4-FFF2-40B4-BE49-F238E27FC236}">
                      <a16:creationId xmlns:a16="http://schemas.microsoft.com/office/drawing/2014/main" id="{451ECDCB-269E-4932-AED1-318AB1A33BB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9" name="Freeform 10">
                  <a:extLst>
                    <a:ext uri="{FF2B5EF4-FFF2-40B4-BE49-F238E27FC236}">
                      <a16:creationId xmlns:a16="http://schemas.microsoft.com/office/drawing/2014/main" id="{9550E30B-38D3-4F68-97A5-24A9A91725B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11">
                  <a:extLst>
                    <a:ext uri="{FF2B5EF4-FFF2-40B4-BE49-F238E27FC236}">
                      <a16:creationId xmlns:a16="http://schemas.microsoft.com/office/drawing/2014/main" id="{B6EB9ECE-A6E1-4A0A-8FDF-E822EC1DB36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1" name="Freeform 12">
                  <a:extLst>
                    <a:ext uri="{FF2B5EF4-FFF2-40B4-BE49-F238E27FC236}">
                      <a16:creationId xmlns:a16="http://schemas.microsoft.com/office/drawing/2014/main" id="{626C2351-3772-4B02-A2B7-C4B35543132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" name="Freeform 13">
                  <a:extLst>
                    <a:ext uri="{FF2B5EF4-FFF2-40B4-BE49-F238E27FC236}">
                      <a16:creationId xmlns:a16="http://schemas.microsoft.com/office/drawing/2014/main" id="{0BDCB1FF-7BD6-4D8F-9FD5-F8C8655235E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16" name="Rectangle 23">
            <a:extLst>
              <a:ext uri="{FF2B5EF4-FFF2-40B4-BE49-F238E27FC236}">
                <a16:creationId xmlns:a16="http://schemas.microsoft.com/office/drawing/2014/main" id="{B27CBC09-D663-4E08-ACC8-94C32D562544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43439" y="7104508"/>
            <a:ext cx="3864506" cy="1701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>
                <a:solidFill>
                  <a:schemeClr val="tx1"/>
                </a:solidFill>
              </a:rPr>
              <a:t>In order to develop modern solutions that are tailored to our customers’ needs, we need to start by looking at the protection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of our “climate-relevant resources”,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“healthy housing” and “process efficiency” as a whole.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18" name="Rectangle 23">
            <a:extLst>
              <a:ext uri="{FF2B5EF4-FFF2-40B4-BE49-F238E27FC236}">
                <a16:creationId xmlns:a16="http://schemas.microsoft.com/office/drawing/2014/main" id="{8F43E2E6-9F2D-41F4-A7BA-ACE5C7DA311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1052720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HEALTHY HOUSING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19" name="Rectangle 23">
            <a:extLst>
              <a:ext uri="{FF2B5EF4-FFF2-40B4-BE49-F238E27FC236}">
                <a16:creationId xmlns:a16="http://schemas.microsoft.com/office/drawing/2014/main" id="{CE040AFD-E9A1-49CF-94E8-96959F7CE707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4893584" y="234541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wo thirds of all fire victims were asleep at the time of the fir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ne in every eight properties is affected by legionell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drinking water systems are not regularly maintained</a:t>
            </a:r>
          </a:p>
        </p:txBody>
      </p:sp>
      <p:sp>
        <p:nvSpPr>
          <p:cNvPr id="123" name="Rectangle 23">
            <a:extLst>
              <a:ext uri="{FF2B5EF4-FFF2-40B4-BE49-F238E27FC236}">
                <a16:creationId xmlns:a16="http://schemas.microsoft.com/office/drawing/2014/main" id="{5A9A1E52-078E-400D-8CEA-0AFFA849898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2933735" y="2012305"/>
            <a:ext cx="3762030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is writ large at </a:t>
            </a:r>
            <a:r>
              <a:rPr lang="en-GB" sz="1400" dirty="0" err="1">
                <a:solidFill>
                  <a:schemeClr val="tx1"/>
                </a:solidFill>
              </a:rPr>
              <a:t>Techem</a:t>
            </a:r>
            <a:r>
              <a:rPr lang="en-GB" sz="1400" dirty="0">
                <a:solidFill>
                  <a:schemeClr val="tx1"/>
                </a:solidFill>
              </a:rPr>
              <a:t>. Here’s why:</a:t>
            </a:r>
          </a:p>
        </p:txBody>
      </p:sp>
      <p:sp>
        <p:nvSpPr>
          <p:cNvPr id="82" name="Textplatzhalter 6">
            <a:extLst>
              <a:ext uri="{FF2B5EF4-FFF2-40B4-BE49-F238E27FC236}">
                <a16:creationId xmlns:a16="http://schemas.microsoft.com/office/drawing/2014/main" id="{A5E7B9E4-C526-4BD9-9F09-76129EC749C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50" kern="600" dirty="0"/>
          </a:p>
        </p:txBody>
      </p:sp>
      <p:sp>
        <p:nvSpPr>
          <p:cNvPr id="90" name="Textplatzhalter 6">
            <a:extLst>
              <a:ext uri="{FF2B5EF4-FFF2-40B4-BE49-F238E27FC236}">
                <a16:creationId xmlns:a16="http://schemas.microsoft.com/office/drawing/2014/main" id="{66B3D060-E529-4508-89A7-47B4D93E46D6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68000" y="118800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D9BBF0-4937-4E40-83BB-BB366E344E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7806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" name="Picture 202">
            <a:extLst>
              <a:ext uri="{FF2B5EF4-FFF2-40B4-BE49-F238E27FC236}">
                <a16:creationId xmlns:a16="http://schemas.microsoft.com/office/drawing/2014/main" id="{C06127EA-3835-44DF-A71C-0245E5DC956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9" name="Rectangle 240">
            <a:extLst>
              <a:ext uri="{FF2B5EF4-FFF2-40B4-BE49-F238E27FC236}">
                <a16:creationId xmlns:a16="http://schemas.microsoft.com/office/drawing/2014/main" id="{C998DA61-1215-45D2-A046-1BF1952EF5AD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23">
            <a:extLst>
              <a:ext uri="{FF2B5EF4-FFF2-40B4-BE49-F238E27FC236}">
                <a16:creationId xmlns:a16="http://schemas.microsoft.com/office/drawing/2014/main" id="{79FF076E-786B-4EF4-BC59-88DAC6F6A9F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643438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HEALTHY HOUSING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9" name="Rectangle 23">
            <a:extLst>
              <a:ext uri="{FF2B5EF4-FFF2-40B4-BE49-F238E27FC236}">
                <a16:creationId xmlns:a16="http://schemas.microsoft.com/office/drawing/2014/main" id="{4E790D8F-B401-4044-B688-31DBB93D718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43438" y="234541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wo thirds of all fire victims were asleep at the time of the fir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ne in every eight properties is affected by legionell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drinking water systems are not regularly maintained</a:t>
            </a:r>
          </a:p>
        </p:txBody>
      </p:sp>
      <p:sp>
        <p:nvSpPr>
          <p:cNvPr id="74" name="Rectangle 23">
            <a:extLst>
              <a:ext uri="{FF2B5EF4-FFF2-40B4-BE49-F238E27FC236}">
                <a16:creationId xmlns:a16="http://schemas.microsoft.com/office/drawing/2014/main" id="{2746F257-7E69-42CF-8F5D-8BE25C8A6D6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643438" y="2012305"/>
            <a:ext cx="3762030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is writ large at </a:t>
            </a:r>
            <a:r>
              <a:rPr lang="en-GB" sz="1200" dirty="0" err="1">
                <a:solidFill>
                  <a:schemeClr val="tx1"/>
                </a:solidFill>
              </a:rPr>
              <a:t>Techem</a:t>
            </a:r>
            <a:r>
              <a:rPr lang="en-GB" sz="1200" dirty="0">
                <a:solidFill>
                  <a:schemeClr val="tx1"/>
                </a:solidFill>
              </a:rPr>
              <a:t>. Here’s why:</a:t>
            </a: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B125530C-F327-4B53-A3DD-80785DF453F5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2188976" y="2664963"/>
            <a:ext cx="1778996" cy="1778995"/>
            <a:chOff x="2072924" y="2443991"/>
            <a:chExt cx="1778996" cy="1778995"/>
          </a:xfrm>
        </p:grpSpPr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028374EB-F427-4FDB-A983-5F9825114A04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2072924" y="2443991"/>
              <a:ext cx="1778996" cy="1778995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77" name="Arrow: Right 176">
              <a:extLst>
                <a:ext uri="{FF2B5EF4-FFF2-40B4-BE49-F238E27FC236}">
                  <a16:creationId xmlns:a16="http://schemas.microsoft.com/office/drawing/2014/main" id="{D85DC2F5-4FFA-4093-ADF3-A6C16271E25B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3026471" y="2704490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74B0DD83-8ED4-44CC-869F-5B0AE8F84AEF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841148" y="2673350"/>
            <a:ext cx="1758117" cy="1758116"/>
            <a:chOff x="998491" y="2684999"/>
            <a:chExt cx="1871653" cy="1871652"/>
          </a:xfrm>
        </p:grpSpPr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F97084C3-41FF-4FFC-9050-471C06EFE68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998491" y="2684999"/>
              <a:ext cx="1871653" cy="1871652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/>
            </a:p>
          </p:txBody>
        </p:sp>
        <p:sp>
          <p:nvSpPr>
            <p:cNvPr id="169" name="Star: 5 Points 168">
              <a:extLst>
                <a:ext uri="{FF2B5EF4-FFF2-40B4-BE49-F238E27FC236}">
                  <a16:creationId xmlns:a16="http://schemas.microsoft.com/office/drawing/2014/main" id="{1CC98A56-DFC1-42B5-9C4E-768F745F7349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333506" y="3021198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69CAA3B4-98A8-4292-9A58-9F3C51C52DC0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1187624" y="3300253"/>
            <a:ext cx="508017" cy="499801"/>
            <a:chOff x="10330395" y="176211"/>
            <a:chExt cx="4867275" cy="4788553"/>
          </a:xfrm>
          <a:solidFill>
            <a:schemeClr val="tx2"/>
          </a:solidFill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3494A649-EFDC-43B4-ACF6-733A3537F277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A1E9AFCE-F3FB-4339-B1B5-453F94BD4811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329F877C-CD90-49E1-9E8F-1E9F9080FF93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</p:grpSp>
      <p:sp>
        <p:nvSpPr>
          <p:cNvPr id="174" name="TextBox 16">
            <a:extLst>
              <a:ext uri="{FF2B5EF4-FFF2-40B4-BE49-F238E27FC236}">
                <a16:creationId xmlns:a16="http://schemas.microsoft.com/office/drawing/2014/main" id="{C6AFF2AC-C5B0-4E02-BF04-DC53861D50E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87624" y="3909208"/>
            <a:ext cx="882177" cy="195902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CLIMATE-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RELEVANT RESOURCES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571A272A-6D8B-4445-B5B3-E288BE798BAB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308589" y="1270342"/>
            <a:ext cx="2191942" cy="2191939"/>
          </a:xfrm>
          <a:prstGeom prst="ellipse">
            <a:avLst/>
          </a:prstGeom>
          <a:solidFill>
            <a:schemeClr val="accent2"/>
          </a:solidFill>
          <a:ln w="158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2" name="TextBox 16">
            <a:extLst>
              <a:ext uri="{FF2B5EF4-FFF2-40B4-BE49-F238E27FC236}">
                <a16:creationId xmlns:a16="http://schemas.microsoft.com/office/drawing/2014/main" id="{C5591E9F-1582-4B34-B29D-86B5099E474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508765" y="2596168"/>
            <a:ext cx="1800000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HEALTHY HOUSING</a:t>
            </a:r>
            <a:endParaRPr lang="en-GB" sz="900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AC7E2B3-ED02-4C96-B24D-69627DA6C3CF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2031743" y="1825962"/>
            <a:ext cx="754044" cy="638110"/>
            <a:chOff x="9583738" y="150813"/>
            <a:chExt cx="3686175" cy="3119438"/>
          </a:xfrm>
          <a:solidFill>
            <a:schemeClr val="bg1"/>
          </a:solidFill>
        </p:grpSpPr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D65818E4-6943-4BE5-8269-5E34828CF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A24A6381-E4CE-48C9-A29A-810409493B9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C45B4265-C971-4880-B3B6-3E01951CFF5C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8">
              <a:extLst>
                <a:ext uri="{FF2B5EF4-FFF2-40B4-BE49-F238E27FC236}">
                  <a16:creationId xmlns:a16="http://schemas.microsoft.com/office/drawing/2014/main" id="{F1EEA6F4-9234-4B5A-8D6F-A943BA0BB0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9">
              <a:extLst>
                <a:ext uri="{FF2B5EF4-FFF2-40B4-BE49-F238E27FC236}">
                  <a16:creationId xmlns:a16="http://schemas.microsoft.com/office/drawing/2014/main" id="{43259AC5-16C8-49C1-ADAA-A5CBF3F7EB3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0">
              <a:extLst>
                <a:ext uri="{FF2B5EF4-FFF2-40B4-BE49-F238E27FC236}">
                  <a16:creationId xmlns:a16="http://schemas.microsoft.com/office/drawing/2014/main" id="{EB9BCB68-D02C-4CF8-90CB-C9F54156A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1">
              <a:extLst>
                <a:ext uri="{FF2B5EF4-FFF2-40B4-BE49-F238E27FC236}">
                  <a16:creationId xmlns:a16="http://schemas.microsoft.com/office/drawing/2014/main" id="{EFC485D5-A828-49CB-812C-FA3E9BCB4CCA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2">
              <a:extLst>
                <a:ext uri="{FF2B5EF4-FFF2-40B4-BE49-F238E27FC236}">
                  <a16:creationId xmlns:a16="http://schemas.microsoft.com/office/drawing/2014/main" id="{E28D91DE-762F-4406-A5E4-A31AE47FCC7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3">
              <a:extLst>
                <a:ext uri="{FF2B5EF4-FFF2-40B4-BE49-F238E27FC236}">
                  <a16:creationId xmlns:a16="http://schemas.microsoft.com/office/drawing/2014/main" id="{D5F214C5-248E-4E69-B451-10E03D6D2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D421F1F7-A029-4F14-A6A0-0215DEFA1E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Freeform 15">
              <a:extLst>
                <a:ext uri="{FF2B5EF4-FFF2-40B4-BE49-F238E27FC236}">
                  <a16:creationId xmlns:a16="http://schemas.microsoft.com/office/drawing/2014/main" id="{AE872558-35F4-470B-B490-D7D9F283D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Freeform 16">
              <a:extLst>
                <a:ext uri="{FF2B5EF4-FFF2-40B4-BE49-F238E27FC236}">
                  <a16:creationId xmlns:a16="http://schemas.microsoft.com/office/drawing/2014/main" id="{27B07A4B-57AE-4FA0-AFD5-85E11DF71EA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id="{D7764FAE-444B-4DC1-A710-1B11A7D2C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" name="Freeform 18">
              <a:extLst>
                <a:ext uri="{FF2B5EF4-FFF2-40B4-BE49-F238E27FC236}">
                  <a16:creationId xmlns:a16="http://schemas.microsoft.com/office/drawing/2014/main" id="{88CC561D-5A4C-4317-98E0-3E158CDD28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Freeform 19">
              <a:extLst>
                <a:ext uri="{FF2B5EF4-FFF2-40B4-BE49-F238E27FC236}">
                  <a16:creationId xmlns:a16="http://schemas.microsoft.com/office/drawing/2014/main" id="{F9FE52EB-862D-4A39-AE01-3819BC5E810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Freeform 20">
              <a:extLst>
                <a:ext uri="{FF2B5EF4-FFF2-40B4-BE49-F238E27FC236}">
                  <a16:creationId xmlns:a16="http://schemas.microsoft.com/office/drawing/2014/main" id="{F891556C-2DAD-4798-B7A7-F8CE74CD10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Freeform 21">
              <a:extLst>
                <a:ext uri="{FF2B5EF4-FFF2-40B4-BE49-F238E27FC236}">
                  <a16:creationId xmlns:a16="http://schemas.microsoft.com/office/drawing/2014/main" id="{20EE7CE8-21B6-4AC1-AFF0-E427C267C28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" name="Freeform 22">
              <a:extLst>
                <a:ext uri="{FF2B5EF4-FFF2-40B4-BE49-F238E27FC236}">
                  <a16:creationId xmlns:a16="http://schemas.microsoft.com/office/drawing/2014/main" id="{7411F9D6-4F3F-42E6-B2D3-ABB609FD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Freeform 23">
              <a:extLst>
                <a:ext uri="{FF2B5EF4-FFF2-40B4-BE49-F238E27FC236}">
                  <a16:creationId xmlns:a16="http://schemas.microsoft.com/office/drawing/2014/main" id="{53EA1CCA-2488-409E-84A8-243371945E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Oval 24">
              <a:extLst>
                <a:ext uri="{FF2B5EF4-FFF2-40B4-BE49-F238E27FC236}">
                  <a16:creationId xmlns:a16="http://schemas.microsoft.com/office/drawing/2014/main" id="{C45B913D-F34D-4FD7-ADE0-D3B47268EB3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" name="Oval 25">
              <a:extLst>
                <a:ext uri="{FF2B5EF4-FFF2-40B4-BE49-F238E27FC236}">
                  <a16:creationId xmlns:a16="http://schemas.microsoft.com/office/drawing/2014/main" id="{49AF757D-3237-49DD-AB07-0F1D1F25DD7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C2BF1E2E-6BF6-438B-8FE4-D5204A371EE4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3130275" y="3302377"/>
            <a:ext cx="492732" cy="493407"/>
            <a:chOff x="13986666" y="290454"/>
            <a:chExt cx="4555522" cy="4561771"/>
          </a:xfrm>
          <a:solidFill>
            <a:schemeClr val="tx2"/>
          </a:solidFill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64EE2762-EA17-4A41-8BAA-A142DBDFB09F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F5D49438-A090-4ED4-B3F6-FCFDEB1D4FC6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C5FD46DB-C0B0-461C-8333-0FA71116E612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59E4E67E-8A02-4FA4-A0DF-D9350757B462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B1FD9A15-5F86-4F17-B045-62EC50EA35E0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9EC55B70-4D2B-46F2-902C-7CA74A5861DA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FB5B09C1-99F7-463E-A02E-852A5FF91165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ECF76E5-B71D-456C-A830-94709DC4FD3A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E05E9606-73C2-48C5-A48A-E3D04EDB5707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02" name="TextBox 16">
            <a:extLst>
              <a:ext uri="{FF2B5EF4-FFF2-40B4-BE49-F238E27FC236}">
                <a16:creationId xmlns:a16="http://schemas.microsoft.com/office/drawing/2014/main" id="{01D2AB60-6491-48A1-B324-9CEECA18E3C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699792" y="3903042"/>
            <a:ext cx="923215" cy="19139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r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PROCESS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EFFICIENCY IN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REAL ESTATE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5C7231D-6F68-4DDA-B0AC-A89DA2D79B3C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5" name="Rechteck 12">
              <a:extLst>
                <a:ext uri="{FF2B5EF4-FFF2-40B4-BE49-F238E27FC236}">
                  <a16:creationId xmlns:a16="http://schemas.microsoft.com/office/drawing/2014/main" id="{94C41453-C5BD-466A-BD7E-51DAB75252D1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DADB57D-2160-408D-B9F6-091A6A60EA4F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82" name="Rectangle 5">
                <a:extLst>
                  <a:ext uri="{FF2B5EF4-FFF2-40B4-BE49-F238E27FC236}">
                    <a16:creationId xmlns:a16="http://schemas.microsoft.com/office/drawing/2014/main" id="{04D28555-218D-4B97-9DC6-2B236A1BCF44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3986A3B8-31E8-4C2F-89AC-F78269098A06}"/>
                  </a:ext>
                </a:extLst>
              </p:cNvPr>
              <p:cNvGrpSpPr/>
              <p:nvPr userDrawn="1">
                <p:custDataLst>
                  <p:tags r:id="rId24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91" name="Freeform 6">
                  <a:extLst>
                    <a:ext uri="{FF2B5EF4-FFF2-40B4-BE49-F238E27FC236}">
                      <a16:creationId xmlns:a16="http://schemas.microsoft.com/office/drawing/2014/main" id="{4B49A65B-D995-410E-8E95-0C009842CA8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7">
                  <a:extLst>
                    <a:ext uri="{FF2B5EF4-FFF2-40B4-BE49-F238E27FC236}">
                      <a16:creationId xmlns:a16="http://schemas.microsoft.com/office/drawing/2014/main" id="{95EB8DA9-F602-411A-BBC5-79B82352F91A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8">
                  <a:extLst>
                    <a:ext uri="{FF2B5EF4-FFF2-40B4-BE49-F238E27FC236}">
                      <a16:creationId xmlns:a16="http://schemas.microsoft.com/office/drawing/2014/main" id="{2D8CE567-97F1-4A08-8224-F114DEEC1FB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9">
                  <a:extLst>
                    <a:ext uri="{FF2B5EF4-FFF2-40B4-BE49-F238E27FC236}">
                      <a16:creationId xmlns:a16="http://schemas.microsoft.com/office/drawing/2014/main" id="{C17A7F3D-FF49-4C67-A37D-11A34C789D34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10">
                  <a:extLst>
                    <a:ext uri="{FF2B5EF4-FFF2-40B4-BE49-F238E27FC236}">
                      <a16:creationId xmlns:a16="http://schemas.microsoft.com/office/drawing/2014/main" id="{EA0077EE-6885-4B27-A0FE-C2ACE5AA811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11">
                  <a:extLst>
                    <a:ext uri="{FF2B5EF4-FFF2-40B4-BE49-F238E27FC236}">
                      <a16:creationId xmlns:a16="http://schemas.microsoft.com/office/drawing/2014/main" id="{DF7C4CBB-77FD-41BC-A023-CF9AD928DD5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12">
                  <a:extLst>
                    <a:ext uri="{FF2B5EF4-FFF2-40B4-BE49-F238E27FC236}">
                      <a16:creationId xmlns:a16="http://schemas.microsoft.com/office/drawing/2014/main" id="{093DEB1B-F636-4739-8ACE-5AE05A0E18F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5" name="Freeform 13">
                  <a:extLst>
                    <a:ext uri="{FF2B5EF4-FFF2-40B4-BE49-F238E27FC236}">
                      <a16:creationId xmlns:a16="http://schemas.microsoft.com/office/drawing/2014/main" id="{F112AAB2-431B-4745-9659-C2EAF48A3E7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16" name="Rectangle 23">
            <a:extLst>
              <a:ext uri="{FF2B5EF4-FFF2-40B4-BE49-F238E27FC236}">
                <a16:creationId xmlns:a16="http://schemas.microsoft.com/office/drawing/2014/main" id="{446720E7-002F-40DE-AC77-4A651021E2BE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43438" y="5962998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CLIMATE-RELEVANT RESOURC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17" name="Rectangle 23">
            <a:extLst>
              <a:ext uri="{FF2B5EF4-FFF2-40B4-BE49-F238E27FC236}">
                <a16:creationId xmlns:a16="http://schemas.microsoft.com/office/drawing/2014/main" id="{39916A5F-0B69-4952-87E9-09D53DC2C5AE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643438" y="7837078"/>
            <a:ext cx="3604362" cy="1253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building heating is responsible for around 35%</a:t>
            </a:r>
            <a:b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</a:b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f total energy consumption in Germany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 the average household, 85% of energy is used for heating and warm water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im of the EU Energy Efficiency Directive is to reduce energy consumption in the EU by 32.5% by 2030 compared to 2007</a:t>
            </a:r>
          </a:p>
        </p:txBody>
      </p:sp>
      <p:sp>
        <p:nvSpPr>
          <p:cNvPr id="118" name="Rectangle 23">
            <a:extLst>
              <a:ext uri="{FF2B5EF4-FFF2-40B4-BE49-F238E27FC236}">
                <a16:creationId xmlns:a16="http://schemas.microsoft.com/office/drawing/2014/main" id="{725BCAE0-5687-49E9-88FE-DF021B420CD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643437" y="6903972"/>
            <a:ext cx="4036133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need to be protected with energy efficiency.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Here’s why:</a:t>
            </a:r>
          </a:p>
        </p:txBody>
      </p:sp>
      <p:sp>
        <p:nvSpPr>
          <p:cNvPr id="119" name="Rectangle 23">
            <a:extLst>
              <a:ext uri="{FF2B5EF4-FFF2-40B4-BE49-F238E27FC236}">
                <a16:creationId xmlns:a16="http://schemas.microsoft.com/office/drawing/2014/main" id="{96F4491A-8F6D-4DBB-90B9-F3720E926E79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1052720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PROCESS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20" name="Rectangle 23">
            <a:extLst>
              <a:ext uri="{FF2B5EF4-FFF2-40B4-BE49-F238E27FC236}">
                <a16:creationId xmlns:a16="http://schemas.microsoft.com/office/drawing/2014/main" id="{474A4F9E-F37B-4997-A119-6A84E51A391A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14437096" y="234541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utomated collection, transfer and processing of dat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a holistic heat supply concept with optional metering servic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tegrated energy efficiency measures from a single source – from basements to flats</a:t>
            </a:r>
          </a:p>
        </p:txBody>
      </p:sp>
      <p:sp>
        <p:nvSpPr>
          <p:cNvPr id="121" name="Rectangle 23">
            <a:extLst>
              <a:ext uri="{FF2B5EF4-FFF2-40B4-BE49-F238E27FC236}">
                <a16:creationId xmlns:a16="http://schemas.microsoft.com/office/drawing/2014/main" id="{42EE8E42-482C-49F2-9742-6FFF82C3F9DB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3140952" y="2012305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are streamlined through …</a:t>
            </a:r>
          </a:p>
        </p:txBody>
      </p:sp>
      <p:sp>
        <p:nvSpPr>
          <p:cNvPr id="98" name="Textplatzhalter 6">
            <a:extLst>
              <a:ext uri="{FF2B5EF4-FFF2-40B4-BE49-F238E27FC236}">
                <a16:creationId xmlns:a16="http://schemas.microsoft.com/office/drawing/2014/main" id="{CA8033C9-C4B6-483F-BE84-AF216D48205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161CDEB-352F-4911-B85C-87E38A7F7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442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Picture 197">
            <a:extLst>
              <a:ext uri="{FF2B5EF4-FFF2-40B4-BE49-F238E27FC236}">
                <a16:creationId xmlns:a16="http://schemas.microsoft.com/office/drawing/2014/main" id="{341980F2-9505-4639-8F2C-B9BE18ADFF0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9" name="Rectangle 198">
            <a:extLst>
              <a:ext uri="{FF2B5EF4-FFF2-40B4-BE49-F238E27FC236}">
                <a16:creationId xmlns:a16="http://schemas.microsoft.com/office/drawing/2014/main" id="{8BF89AD8-F214-4EC5-BC15-F7AF427B30E6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A381ED32-CBA4-4B54-AE23-8175350F098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496059" y="1511880"/>
            <a:ext cx="1778400" cy="1778400"/>
          </a:xfrm>
          <a:prstGeom prst="ellipse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890585AD-6DF1-4DF4-9F8B-FAC6890894CA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2098916" y="1707654"/>
            <a:ext cx="572685" cy="484634"/>
            <a:chOff x="9583738" y="150813"/>
            <a:chExt cx="3686175" cy="3119438"/>
          </a:xfrm>
          <a:solidFill>
            <a:schemeClr val="tx2"/>
          </a:solidFill>
        </p:grpSpPr>
        <p:sp>
          <p:nvSpPr>
            <p:cNvPr id="202" name="Freeform 5">
              <a:extLst>
                <a:ext uri="{FF2B5EF4-FFF2-40B4-BE49-F238E27FC236}">
                  <a16:creationId xmlns:a16="http://schemas.microsoft.com/office/drawing/2014/main" id="{C0481BBB-63C7-4176-A3BB-6775D8D7C882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6">
              <a:extLst>
                <a:ext uri="{FF2B5EF4-FFF2-40B4-BE49-F238E27FC236}">
                  <a16:creationId xmlns:a16="http://schemas.microsoft.com/office/drawing/2014/main" id="{E16C8029-234C-49F3-A82C-0A4F8A4F9815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Freeform 7">
              <a:extLst>
                <a:ext uri="{FF2B5EF4-FFF2-40B4-BE49-F238E27FC236}">
                  <a16:creationId xmlns:a16="http://schemas.microsoft.com/office/drawing/2014/main" id="{B6FE3D52-1CFE-4DBD-B876-4C20C3BC7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5" name="Freeform 8">
              <a:extLst>
                <a:ext uri="{FF2B5EF4-FFF2-40B4-BE49-F238E27FC236}">
                  <a16:creationId xmlns:a16="http://schemas.microsoft.com/office/drawing/2014/main" id="{45E15EFA-42CF-40E1-BE0F-9AE749212C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6" name="Freeform 9">
              <a:extLst>
                <a:ext uri="{FF2B5EF4-FFF2-40B4-BE49-F238E27FC236}">
                  <a16:creationId xmlns:a16="http://schemas.microsoft.com/office/drawing/2014/main" id="{96E0E8CD-5764-4775-AFAE-F0E0379B00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10">
              <a:extLst>
                <a:ext uri="{FF2B5EF4-FFF2-40B4-BE49-F238E27FC236}">
                  <a16:creationId xmlns:a16="http://schemas.microsoft.com/office/drawing/2014/main" id="{9C904E8D-4AE0-48A8-BF7F-80AAEA2C05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8" name="Freeform 11">
              <a:extLst>
                <a:ext uri="{FF2B5EF4-FFF2-40B4-BE49-F238E27FC236}">
                  <a16:creationId xmlns:a16="http://schemas.microsoft.com/office/drawing/2014/main" id="{349F70B1-FD83-4A86-A239-0E4A0AD9FC80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12">
              <a:extLst>
                <a:ext uri="{FF2B5EF4-FFF2-40B4-BE49-F238E27FC236}">
                  <a16:creationId xmlns:a16="http://schemas.microsoft.com/office/drawing/2014/main" id="{584972FE-6F16-453A-AE67-7BC87A5FF155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13">
              <a:extLst>
                <a:ext uri="{FF2B5EF4-FFF2-40B4-BE49-F238E27FC236}">
                  <a16:creationId xmlns:a16="http://schemas.microsoft.com/office/drawing/2014/main" id="{D9B3BF0C-7D75-4C19-BD7D-D3CC7613D1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14">
              <a:extLst>
                <a:ext uri="{FF2B5EF4-FFF2-40B4-BE49-F238E27FC236}">
                  <a16:creationId xmlns:a16="http://schemas.microsoft.com/office/drawing/2014/main" id="{C8F29573-779A-4DDB-AFB4-E20EAD2A9D0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15">
              <a:extLst>
                <a:ext uri="{FF2B5EF4-FFF2-40B4-BE49-F238E27FC236}">
                  <a16:creationId xmlns:a16="http://schemas.microsoft.com/office/drawing/2014/main" id="{53BF63AC-B708-4B29-89D1-1F62036A47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16">
              <a:extLst>
                <a:ext uri="{FF2B5EF4-FFF2-40B4-BE49-F238E27FC236}">
                  <a16:creationId xmlns:a16="http://schemas.microsoft.com/office/drawing/2014/main" id="{2325A15F-8FD1-4D3B-9D99-14155F37011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17">
              <a:extLst>
                <a:ext uri="{FF2B5EF4-FFF2-40B4-BE49-F238E27FC236}">
                  <a16:creationId xmlns:a16="http://schemas.microsoft.com/office/drawing/2014/main" id="{E5188A94-4A7F-47AA-BC6D-158938744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18">
              <a:extLst>
                <a:ext uri="{FF2B5EF4-FFF2-40B4-BE49-F238E27FC236}">
                  <a16:creationId xmlns:a16="http://schemas.microsoft.com/office/drawing/2014/main" id="{E4BA4B9C-7565-4F13-B73D-40CC4FDC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19">
              <a:extLst>
                <a:ext uri="{FF2B5EF4-FFF2-40B4-BE49-F238E27FC236}">
                  <a16:creationId xmlns:a16="http://schemas.microsoft.com/office/drawing/2014/main" id="{0F66A394-B4E9-43D5-939A-BBD0872D2F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7" name="Freeform 20">
              <a:extLst>
                <a:ext uri="{FF2B5EF4-FFF2-40B4-BE49-F238E27FC236}">
                  <a16:creationId xmlns:a16="http://schemas.microsoft.com/office/drawing/2014/main" id="{F4D9C45A-791B-42EC-A28D-37801F41D6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8" name="Freeform 21">
              <a:extLst>
                <a:ext uri="{FF2B5EF4-FFF2-40B4-BE49-F238E27FC236}">
                  <a16:creationId xmlns:a16="http://schemas.microsoft.com/office/drawing/2014/main" id="{9974EFE0-82A6-410F-8177-A8CB5B0EE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9" name="Freeform 22">
              <a:extLst>
                <a:ext uri="{FF2B5EF4-FFF2-40B4-BE49-F238E27FC236}">
                  <a16:creationId xmlns:a16="http://schemas.microsoft.com/office/drawing/2014/main" id="{323DAAE3-9891-43B7-A868-F9A5A3EA265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0" name="Freeform 23">
              <a:extLst>
                <a:ext uri="{FF2B5EF4-FFF2-40B4-BE49-F238E27FC236}">
                  <a16:creationId xmlns:a16="http://schemas.microsoft.com/office/drawing/2014/main" id="{7995E13B-55ED-49D8-81C5-981C4EF19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1" name="Oval 24">
              <a:extLst>
                <a:ext uri="{FF2B5EF4-FFF2-40B4-BE49-F238E27FC236}">
                  <a16:creationId xmlns:a16="http://schemas.microsoft.com/office/drawing/2014/main" id="{233BF936-4EAC-4B53-BE83-9D77F5BFDF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2" name="Oval 25">
              <a:extLst>
                <a:ext uri="{FF2B5EF4-FFF2-40B4-BE49-F238E27FC236}">
                  <a16:creationId xmlns:a16="http://schemas.microsoft.com/office/drawing/2014/main" id="{D825495E-C8CC-48DC-AD27-330E2E2AB6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23" name="TextBox 16">
            <a:extLst>
              <a:ext uri="{FF2B5EF4-FFF2-40B4-BE49-F238E27FC236}">
                <a16:creationId xmlns:a16="http://schemas.microsoft.com/office/drawing/2014/main" id="{E14DF0D4-D717-4956-867B-A2553341B22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701723" y="2242190"/>
            <a:ext cx="1367072" cy="19139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HEALTHY HOUSING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AEF7FE8-2B59-4D16-A0A5-21A34B34D63C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841148" y="2673350"/>
            <a:ext cx="1758117" cy="1758116"/>
            <a:chOff x="998491" y="2684999"/>
            <a:chExt cx="1871653" cy="1871652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AF9AD1E8-D124-4618-891A-6E309EC89122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998491" y="2684999"/>
              <a:ext cx="1871653" cy="1871652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/>
            </a:p>
          </p:txBody>
        </p:sp>
        <p:sp>
          <p:nvSpPr>
            <p:cNvPr id="189" name="Star: 5 Points 188">
              <a:extLst>
                <a:ext uri="{FF2B5EF4-FFF2-40B4-BE49-F238E27FC236}">
                  <a16:creationId xmlns:a16="http://schemas.microsoft.com/office/drawing/2014/main" id="{77416269-98C2-409B-9C8B-72928FC45DB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1333506" y="3021198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23">
            <a:extLst>
              <a:ext uri="{FF2B5EF4-FFF2-40B4-BE49-F238E27FC236}">
                <a16:creationId xmlns:a16="http://schemas.microsoft.com/office/drawing/2014/main" id="{79FF076E-786B-4EF4-BC59-88DAC6F6A9F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643438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PROCESS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9" name="Rectangle 23">
            <a:extLst>
              <a:ext uri="{FF2B5EF4-FFF2-40B4-BE49-F238E27FC236}">
                <a16:creationId xmlns:a16="http://schemas.microsoft.com/office/drawing/2014/main" id="{4E790D8F-B401-4044-B688-31DBB93D7180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643438" y="2345416"/>
            <a:ext cx="3604362" cy="1454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utomated collection, transfer and processing of dat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a holistic heat supply concept with optional metering servic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tegrated energy efficiency measures from a single source – from basements to flats</a:t>
            </a:r>
          </a:p>
        </p:txBody>
      </p:sp>
      <p:sp>
        <p:nvSpPr>
          <p:cNvPr id="74" name="Rectangle 23">
            <a:extLst>
              <a:ext uri="{FF2B5EF4-FFF2-40B4-BE49-F238E27FC236}">
                <a16:creationId xmlns:a16="http://schemas.microsoft.com/office/drawing/2014/main" id="{2746F257-7E69-42CF-8F5D-8BE25C8A6D67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43438" y="2012305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are streamlined through 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7943A1-F50B-4530-A1FE-32A902A4410C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1820993" y="2110448"/>
            <a:ext cx="2342374" cy="2342372"/>
            <a:chOff x="1820993" y="2110448"/>
            <a:chExt cx="2342374" cy="2342372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12239C1-129F-45E6-8375-96127A8CA9B7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1820993" y="2110448"/>
              <a:ext cx="2342374" cy="2342372"/>
            </a:xfrm>
            <a:prstGeom prst="ellipse">
              <a:avLst/>
            </a:prstGeom>
            <a:solidFill>
              <a:schemeClr val="accent1"/>
            </a:solidFill>
            <a:ln w="158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A7308399-138F-4084-AB87-8084894D6FBD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2993720" y="2352577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0C3D4981-4D8F-4C2F-811B-598D9CB0E1C2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2667794" y="2859563"/>
            <a:ext cx="648772" cy="649660"/>
            <a:chOff x="13986666" y="290454"/>
            <a:chExt cx="4555522" cy="4561771"/>
          </a:xfrm>
          <a:solidFill>
            <a:schemeClr val="bg1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6D35BC6-7F6E-403E-B77F-7BE997176E70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A4472CEA-BF0D-4346-B908-97D9801919FA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AFE12086-A80F-4F98-ABA8-91C7757F1305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4F60CA2-F2F5-404C-BF25-A757EA5526AF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81A10CE1-CA91-4832-B93C-343257B26D99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028A8C32-D683-411A-9FC5-59DDF94B4248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9BCAE2D6-642D-4050-930D-D0B3B22B9B37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254E1198-1585-4E0C-ACAD-03B3ED322B1E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648896AF-7C6B-4AA2-B967-CCD741D8A3A5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9" name="TextBox 16">
            <a:extLst>
              <a:ext uri="{FF2B5EF4-FFF2-40B4-BE49-F238E27FC236}">
                <a16:creationId xmlns:a16="http://schemas.microsoft.com/office/drawing/2014/main" id="{9ED5463A-6094-4844-AC12-5136E1815D7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384390" y="3650449"/>
            <a:ext cx="1215581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PROCESS</a:t>
            </a:r>
            <a:b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EFFICIENCY IN</a:t>
            </a:r>
            <a:b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REAL ESTATE</a:t>
            </a:r>
            <a:endParaRPr lang="en-GB" sz="900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64AEBDD-C191-4045-9AC0-078AAD5FBDC2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5" name="Rechteck 12">
              <a:extLst>
                <a:ext uri="{FF2B5EF4-FFF2-40B4-BE49-F238E27FC236}">
                  <a16:creationId xmlns:a16="http://schemas.microsoft.com/office/drawing/2014/main" id="{04B2C828-E988-4BFD-AEC9-D475D2A486D6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83092329-BE32-4D9C-8CAA-7D9689B926AD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7" name="Rectangle 5">
                <a:extLst>
                  <a:ext uri="{FF2B5EF4-FFF2-40B4-BE49-F238E27FC236}">
                    <a16:creationId xmlns:a16="http://schemas.microsoft.com/office/drawing/2014/main" id="{2FFE6943-81B3-4ED6-BF01-3CB37E0B04B7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17F9EA7C-70DE-4AAD-8876-11E3F6D74F62}"/>
                  </a:ext>
                </a:extLst>
              </p:cNvPr>
              <p:cNvGrpSpPr/>
              <p:nvPr userDrawn="1">
                <p:custDataLst>
                  <p:tags r:id="rId24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9" name="Freeform 6">
                  <a:extLst>
                    <a:ext uri="{FF2B5EF4-FFF2-40B4-BE49-F238E27FC236}">
                      <a16:creationId xmlns:a16="http://schemas.microsoft.com/office/drawing/2014/main" id="{69F99750-0B83-4A52-A0F8-BBC2E3ABDA5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7">
                  <a:extLst>
                    <a:ext uri="{FF2B5EF4-FFF2-40B4-BE49-F238E27FC236}">
                      <a16:creationId xmlns:a16="http://schemas.microsoft.com/office/drawing/2014/main" id="{04E5B4D3-3A16-4929-9FF4-ED85EDAF797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8">
                  <a:extLst>
                    <a:ext uri="{FF2B5EF4-FFF2-40B4-BE49-F238E27FC236}">
                      <a16:creationId xmlns:a16="http://schemas.microsoft.com/office/drawing/2014/main" id="{9DF6A18B-46E0-4F5F-BB94-73BB4738C16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9">
                  <a:extLst>
                    <a:ext uri="{FF2B5EF4-FFF2-40B4-BE49-F238E27FC236}">
                      <a16:creationId xmlns:a16="http://schemas.microsoft.com/office/drawing/2014/main" id="{AB39C126-E360-42AC-A6C0-7F8442D521F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Freeform 10">
                  <a:extLst>
                    <a:ext uri="{FF2B5EF4-FFF2-40B4-BE49-F238E27FC236}">
                      <a16:creationId xmlns:a16="http://schemas.microsoft.com/office/drawing/2014/main" id="{4BF98BBB-DE56-4AEA-8ED9-85A4F4ACBB3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11">
                  <a:extLst>
                    <a:ext uri="{FF2B5EF4-FFF2-40B4-BE49-F238E27FC236}">
                      <a16:creationId xmlns:a16="http://schemas.microsoft.com/office/drawing/2014/main" id="{2C7B19AD-DC8A-46A2-A602-4573909996F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12">
                  <a:extLst>
                    <a:ext uri="{FF2B5EF4-FFF2-40B4-BE49-F238E27FC236}">
                      <a16:creationId xmlns:a16="http://schemas.microsoft.com/office/drawing/2014/main" id="{90348BD2-269C-4690-AFB0-B0D18BBEAB9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13">
                  <a:extLst>
                    <a:ext uri="{FF2B5EF4-FFF2-40B4-BE49-F238E27FC236}">
                      <a16:creationId xmlns:a16="http://schemas.microsoft.com/office/drawing/2014/main" id="{F1CE9778-8C74-40D5-AC03-AB32767EB00A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97" name="Rectangle 23">
            <a:extLst>
              <a:ext uri="{FF2B5EF4-FFF2-40B4-BE49-F238E27FC236}">
                <a16:creationId xmlns:a16="http://schemas.microsoft.com/office/drawing/2014/main" id="{3E28AF1E-833B-45D8-9F6C-E8BE3DD45DD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643438" y="6101227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HEALTHY HOUSING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98" name="Rectangle 23">
            <a:extLst>
              <a:ext uri="{FF2B5EF4-FFF2-40B4-BE49-F238E27FC236}">
                <a16:creationId xmlns:a16="http://schemas.microsoft.com/office/drawing/2014/main" id="{E13CD63E-9FE5-4F8D-A218-937FF9A95769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643438" y="8356800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wo thirds of all fire victims were asleep at the time of the fir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one in every eight properties is affected by legionell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drinking water systems are not regularly maintained</a:t>
            </a:r>
          </a:p>
        </p:txBody>
      </p:sp>
      <p:sp>
        <p:nvSpPr>
          <p:cNvPr id="99" name="Rectangle 23">
            <a:extLst>
              <a:ext uri="{FF2B5EF4-FFF2-40B4-BE49-F238E27FC236}">
                <a16:creationId xmlns:a16="http://schemas.microsoft.com/office/drawing/2014/main" id="{EA8E0C33-5C76-4239-9569-72A722980105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43438" y="7180430"/>
            <a:ext cx="3762030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is writ large at </a:t>
            </a:r>
            <a:r>
              <a:rPr lang="en-GB" sz="1400" dirty="0" err="1">
                <a:solidFill>
                  <a:schemeClr val="tx1"/>
                </a:solidFill>
              </a:rPr>
              <a:t>Techem</a:t>
            </a:r>
            <a:r>
              <a:rPr lang="en-GB" sz="1400" dirty="0">
                <a:solidFill>
                  <a:schemeClr val="tx1"/>
                </a:solidFill>
              </a:rPr>
              <a:t>. Here’s why:</a:t>
            </a:r>
          </a:p>
        </p:txBody>
      </p:sp>
      <p:sp>
        <p:nvSpPr>
          <p:cNvPr id="100" name="Rectangle 23">
            <a:extLst>
              <a:ext uri="{FF2B5EF4-FFF2-40B4-BE49-F238E27FC236}">
                <a16:creationId xmlns:a16="http://schemas.microsoft.com/office/drawing/2014/main" id="{23557F4E-DA6F-4732-AC46-419E856D798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0836696" y="1769352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LEGAL CERTAINTY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01" name="Rectangle 23">
            <a:extLst>
              <a:ext uri="{FF2B5EF4-FFF2-40B4-BE49-F238E27FC236}">
                <a16:creationId xmlns:a16="http://schemas.microsoft.com/office/drawing/2014/main" id="{9F213685-925C-44EF-98D7-305C5C1B68B8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13428984" y="234541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specifications from the energy law for real estat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heating costs regulations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smoke detector requirements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drinking water regulations</a:t>
            </a:r>
          </a:p>
        </p:txBody>
      </p:sp>
      <p:sp>
        <p:nvSpPr>
          <p:cNvPr id="102" name="Rectangle 23">
            <a:extLst>
              <a:ext uri="{FF2B5EF4-FFF2-40B4-BE49-F238E27FC236}">
                <a16:creationId xmlns:a16="http://schemas.microsoft.com/office/drawing/2014/main" id="{A5DAE7FC-B068-48E0-BF89-1BDFB4DD5741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2276856" y="2012305"/>
            <a:ext cx="3701973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because </a:t>
            </a:r>
            <a:r>
              <a:rPr lang="en-GB" sz="1400" dirty="0" err="1">
                <a:solidFill>
                  <a:schemeClr val="tx1"/>
                </a:solidFill>
              </a:rPr>
              <a:t>Techem</a:t>
            </a:r>
            <a:r>
              <a:rPr lang="en-GB" sz="1400" dirty="0">
                <a:solidFill>
                  <a:schemeClr val="tx1"/>
                </a:solidFill>
              </a:rPr>
              <a:t> solutions comply with:</a:t>
            </a:r>
          </a:p>
        </p:txBody>
      </p:sp>
      <p:sp>
        <p:nvSpPr>
          <p:cNvPr id="83" name="Textplatzhalter 6">
            <a:extLst>
              <a:ext uri="{FF2B5EF4-FFF2-40B4-BE49-F238E27FC236}">
                <a16:creationId xmlns:a16="http://schemas.microsoft.com/office/drawing/2014/main" id="{90ADF6F3-3600-485A-B3E1-006FFCD6AED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56A290D4-97F6-4722-A01F-B271D2E5B3C9}"/>
              </a:ext>
            </a:extLst>
          </p:cNvPr>
          <p:cNvGrpSpPr/>
          <p:nvPr>
            <p:custDataLst>
              <p:tags r:id="rId21"/>
            </p:custDataLst>
          </p:nvPr>
        </p:nvGrpSpPr>
        <p:grpSpPr bwMode="gray">
          <a:xfrm>
            <a:off x="1187624" y="3300253"/>
            <a:ext cx="508017" cy="499801"/>
            <a:chOff x="10330395" y="176211"/>
            <a:chExt cx="4867275" cy="4788553"/>
          </a:xfrm>
          <a:solidFill>
            <a:schemeClr val="tx2"/>
          </a:solidFill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8B42009-A175-42D3-8E03-A93622B60F2D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1D55567-A4F2-437F-B261-FD5E52675E22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FB736F3-8C6A-46E0-9E3E-DB345459B35E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</p:grpSp>
      <p:sp>
        <p:nvSpPr>
          <p:cNvPr id="88" name="TextBox 16">
            <a:extLst>
              <a:ext uri="{FF2B5EF4-FFF2-40B4-BE49-F238E27FC236}">
                <a16:creationId xmlns:a16="http://schemas.microsoft.com/office/drawing/2014/main" id="{FA541C14-D264-4590-BB94-3B59A92E49AF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1187624" y="3909208"/>
            <a:ext cx="882177" cy="195902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CLIMATE-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RELEVANT RESOURCES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8EB1E07-DC65-4160-A174-23F8D99A18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283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75">
            <a:extLst>
              <a:ext uri="{FF2B5EF4-FFF2-40B4-BE49-F238E27FC236}">
                <a16:creationId xmlns:a16="http://schemas.microsoft.com/office/drawing/2014/main" id="{0FAC4BD4-885E-4783-9E36-C7420877DA2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5ABEA15F-8EE0-4D15-93AE-8AAED25AEB9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u="sng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u="sng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664C340F-A6F4-4D69-A767-70F0C914EC1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496059" y="1511880"/>
            <a:ext cx="1778400" cy="1778400"/>
          </a:xfrm>
          <a:prstGeom prst="ellipse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BCC7F13-567D-4F20-A3BD-4CD444D8DA98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2098916" y="1707654"/>
            <a:ext cx="572685" cy="484634"/>
            <a:chOff x="9583738" y="150813"/>
            <a:chExt cx="3686175" cy="3119438"/>
          </a:xfrm>
          <a:solidFill>
            <a:schemeClr val="tx2"/>
          </a:solidFill>
        </p:grpSpPr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id="{A1A4F495-5EB6-46CB-9488-007E308DF316}"/>
                </a:ext>
              </a:extLst>
            </p:cNvPr>
            <p:cNvSpPr>
              <a:spLocks/>
            </p:cNvSpPr>
            <p:nvPr/>
          </p:nvSpPr>
          <p:spPr bwMode="gray">
            <a:xfrm>
              <a:off x="9583738" y="1905001"/>
              <a:ext cx="2422525" cy="1365250"/>
            </a:xfrm>
            <a:custGeom>
              <a:avLst/>
              <a:gdLst>
                <a:gd name="T0" fmla="*/ 1222 w 1346"/>
                <a:gd name="T1" fmla="*/ 511 h 758"/>
                <a:gd name="T2" fmla="*/ 1067 w 1346"/>
                <a:gd name="T3" fmla="*/ 511 h 758"/>
                <a:gd name="T4" fmla="*/ 1027 w 1346"/>
                <a:gd name="T5" fmla="*/ 551 h 758"/>
                <a:gd name="T6" fmla="*/ 1067 w 1346"/>
                <a:gd name="T7" fmla="*/ 591 h 758"/>
                <a:gd name="T8" fmla="*/ 1222 w 1346"/>
                <a:gd name="T9" fmla="*/ 591 h 758"/>
                <a:gd name="T10" fmla="*/ 1266 w 1346"/>
                <a:gd name="T11" fmla="*/ 634 h 758"/>
                <a:gd name="T12" fmla="*/ 1222 w 1346"/>
                <a:gd name="T13" fmla="*/ 678 h 758"/>
                <a:gd name="T14" fmla="*/ 804 w 1346"/>
                <a:gd name="T15" fmla="*/ 678 h 758"/>
                <a:gd name="T16" fmla="*/ 642 w 1346"/>
                <a:gd name="T17" fmla="*/ 602 h 758"/>
                <a:gd name="T18" fmla="*/ 543 w 1346"/>
                <a:gd name="T19" fmla="*/ 482 h 758"/>
                <a:gd name="T20" fmla="*/ 327 w 1346"/>
                <a:gd name="T21" fmla="*/ 377 h 758"/>
                <a:gd name="T22" fmla="*/ 327 w 1346"/>
                <a:gd name="T23" fmla="*/ 141 h 758"/>
                <a:gd name="T24" fmla="*/ 475 w 1346"/>
                <a:gd name="T25" fmla="*/ 141 h 758"/>
                <a:gd name="T26" fmla="*/ 668 w 1346"/>
                <a:gd name="T27" fmla="*/ 219 h 758"/>
                <a:gd name="T28" fmla="*/ 884 w 1346"/>
                <a:gd name="T29" fmla="*/ 427 h 758"/>
                <a:gd name="T30" fmla="*/ 886 w 1346"/>
                <a:gd name="T31" fmla="*/ 482 h 758"/>
                <a:gd name="T32" fmla="*/ 830 w 1346"/>
                <a:gd name="T33" fmla="*/ 484 h 758"/>
                <a:gd name="T34" fmla="*/ 661 w 1346"/>
                <a:gd name="T35" fmla="*/ 329 h 758"/>
                <a:gd name="T36" fmla="*/ 604 w 1346"/>
                <a:gd name="T37" fmla="*/ 332 h 758"/>
                <a:gd name="T38" fmla="*/ 607 w 1346"/>
                <a:gd name="T39" fmla="*/ 388 h 758"/>
                <a:gd name="T40" fmla="*/ 776 w 1346"/>
                <a:gd name="T41" fmla="*/ 543 h 758"/>
                <a:gd name="T42" fmla="*/ 857 w 1346"/>
                <a:gd name="T43" fmla="*/ 575 h 758"/>
                <a:gd name="T44" fmla="*/ 944 w 1346"/>
                <a:gd name="T45" fmla="*/ 536 h 758"/>
                <a:gd name="T46" fmla="*/ 939 w 1346"/>
                <a:gd name="T47" fmla="*/ 370 h 758"/>
                <a:gd name="T48" fmla="*/ 724 w 1346"/>
                <a:gd name="T49" fmla="*/ 162 h 758"/>
                <a:gd name="T50" fmla="*/ 475 w 1346"/>
                <a:gd name="T51" fmla="*/ 61 h 758"/>
                <a:gd name="T52" fmla="*/ 320 w 1346"/>
                <a:gd name="T53" fmla="*/ 61 h 758"/>
                <a:gd name="T54" fmla="*/ 228 w 1346"/>
                <a:gd name="T55" fmla="*/ 0 h 758"/>
                <a:gd name="T56" fmla="*/ 40 w 1346"/>
                <a:gd name="T57" fmla="*/ 0 h 758"/>
                <a:gd name="T58" fmla="*/ 0 w 1346"/>
                <a:gd name="T59" fmla="*/ 40 h 758"/>
                <a:gd name="T60" fmla="*/ 0 w 1346"/>
                <a:gd name="T61" fmla="*/ 333 h 758"/>
                <a:gd name="T62" fmla="*/ 40 w 1346"/>
                <a:gd name="T63" fmla="*/ 373 h 758"/>
                <a:gd name="T64" fmla="*/ 80 w 1346"/>
                <a:gd name="T65" fmla="*/ 333 h 758"/>
                <a:gd name="T66" fmla="*/ 80 w 1346"/>
                <a:gd name="T67" fmla="*/ 80 h 758"/>
                <a:gd name="T68" fmla="*/ 228 w 1346"/>
                <a:gd name="T69" fmla="*/ 80 h 758"/>
                <a:gd name="T70" fmla="*/ 247 w 1346"/>
                <a:gd name="T71" fmla="*/ 99 h 758"/>
                <a:gd name="T72" fmla="*/ 247 w 1346"/>
                <a:gd name="T73" fmla="*/ 420 h 758"/>
                <a:gd name="T74" fmla="*/ 228 w 1346"/>
                <a:gd name="T75" fmla="*/ 439 h 758"/>
                <a:gd name="T76" fmla="*/ 187 w 1346"/>
                <a:gd name="T77" fmla="*/ 439 h 758"/>
                <a:gd name="T78" fmla="*/ 147 w 1346"/>
                <a:gd name="T79" fmla="*/ 479 h 758"/>
                <a:gd name="T80" fmla="*/ 187 w 1346"/>
                <a:gd name="T81" fmla="*/ 519 h 758"/>
                <a:gd name="T82" fmla="*/ 228 w 1346"/>
                <a:gd name="T83" fmla="*/ 519 h 758"/>
                <a:gd name="T84" fmla="*/ 320 w 1346"/>
                <a:gd name="T85" fmla="*/ 457 h 758"/>
                <a:gd name="T86" fmla="*/ 481 w 1346"/>
                <a:gd name="T87" fmla="*/ 533 h 758"/>
                <a:gd name="T88" fmla="*/ 581 w 1346"/>
                <a:gd name="T89" fmla="*/ 653 h 758"/>
                <a:gd name="T90" fmla="*/ 804 w 1346"/>
                <a:gd name="T91" fmla="*/ 758 h 758"/>
                <a:gd name="T92" fmla="*/ 1222 w 1346"/>
                <a:gd name="T93" fmla="*/ 758 h 758"/>
                <a:gd name="T94" fmla="*/ 1346 w 1346"/>
                <a:gd name="T95" fmla="*/ 634 h 758"/>
                <a:gd name="T96" fmla="*/ 1222 w 1346"/>
                <a:gd name="T97" fmla="*/ 51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6" h="758">
                  <a:moveTo>
                    <a:pt x="1222" y="511"/>
                  </a:moveTo>
                  <a:cubicBezTo>
                    <a:pt x="1067" y="511"/>
                    <a:pt x="1067" y="511"/>
                    <a:pt x="1067" y="511"/>
                  </a:cubicBezTo>
                  <a:cubicBezTo>
                    <a:pt x="1045" y="511"/>
                    <a:pt x="1027" y="529"/>
                    <a:pt x="1027" y="551"/>
                  </a:cubicBezTo>
                  <a:cubicBezTo>
                    <a:pt x="1027" y="573"/>
                    <a:pt x="1045" y="591"/>
                    <a:pt x="1067" y="591"/>
                  </a:cubicBezTo>
                  <a:cubicBezTo>
                    <a:pt x="1222" y="591"/>
                    <a:pt x="1222" y="591"/>
                    <a:pt x="1222" y="591"/>
                  </a:cubicBezTo>
                  <a:cubicBezTo>
                    <a:pt x="1246" y="591"/>
                    <a:pt x="1266" y="610"/>
                    <a:pt x="1266" y="634"/>
                  </a:cubicBezTo>
                  <a:cubicBezTo>
                    <a:pt x="1266" y="658"/>
                    <a:pt x="1246" y="678"/>
                    <a:pt x="1222" y="678"/>
                  </a:cubicBezTo>
                  <a:cubicBezTo>
                    <a:pt x="804" y="678"/>
                    <a:pt x="804" y="678"/>
                    <a:pt x="804" y="678"/>
                  </a:cubicBezTo>
                  <a:cubicBezTo>
                    <a:pt x="742" y="678"/>
                    <a:pt x="683" y="650"/>
                    <a:pt x="642" y="602"/>
                  </a:cubicBezTo>
                  <a:cubicBezTo>
                    <a:pt x="543" y="482"/>
                    <a:pt x="543" y="482"/>
                    <a:pt x="543" y="482"/>
                  </a:cubicBezTo>
                  <a:cubicBezTo>
                    <a:pt x="489" y="417"/>
                    <a:pt x="411" y="379"/>
                    <a:pt x="327" y="377"/>
                  </a:cubicBezTo>
                  <a:cubicBezTo>
                    <a:pt x="327" y="141"/>
                    <a:pt x="327" y="141"/>
                    <a:pt x="327" y="141"/>
                  </a:cubicBezTo>
                  <a:cubicBezTo>
                    <a:pt x="475" y="141"/>
                    <a:pt x="475" y="141"/>
                    <a:pt x="475" y="141"/>
                  </a:cubicBezTo>
                  <a:cubicBezTo>
                    <a:pt x="547" y="141"/>
                    <a:pt x="616" y="169"/>
                    <a:pt x="668" y="219"/>
                  </a:cubicBezTo>
                  <a:cubicBezTo>
                    <a:pt x="884" y="427"/>
                    <a:pt x="884" y="427"/>
                    <a:pt x="884" y="427"/>
                  </a:cubicBezTo>
                  <a:cubicBezTo>
                    <a:pt x="899" y="442"/>
                    <a:pt x="900" y="467"/>
                    <a:pt x="886" y="482"/>
                  </a:cubicBezTo>
                  <a:cubicBezTo>
                    <a:pt x="871" y="498"/>
                    <a:pt x="846" y="499"/>
                    <a:pt x="830" y="484"/>
                  </a:cubicBezTo>
                  <a:cubicBezTo>
                    <a:pt x="661" y="329"/>
                    <a:pt x="661" y="329"/>
                    <a:pt x="661" y="329"/>
                  </a:cubicBezTo>
                  <a:cubicBezTo>
                    <a:pt x="645" y="314"/>
                    <a:pt x="619" y="315"/>
                    <a:pt x="604" y="332"/>
                  </a:cubicBezTo>
                  <a:cubicBezTo>
                    <a:pt x="589" y="348"/>
                    <a:pt x="590" y="373"/>
                    <a:pt x="607" y="388"/>
                  </a:cubicBezTo>
                  <a:cubicBezTo>
                    <a:pt x="776" y="543"/>
                    <a:pt x="776" y="543"/>
                    <a:pt x="776" y="543"/>
                  </a:cubicBezTo>
                  <a:cubicBezTo>
                    <a:pt x="799" y="564"/>
                    <a:pt x="828" y="575"/>
                    <a:pt x="857" y="575"/>
                  </a:cubicBezTo>
                  <a:cubicBezTo>
                    <a:pt x="889" y="575"/>
                    <a:pt x="921" y="562"/>
                    <a:pt x="944" y="536"/>
                  </a:cubicBezTo>
                  <a:cubicBezTo>
                    <a:pt x="988" y="489"/>
                    <a:pt x="986" y="414"/>
                    <a:pt x="939" y="370"/>
                  </a:cubicBezTo>
                  <a:cubicBezTo>
                    <a:pt x="724" y="162"/>
                    <a:pt x="724" y="162"/>
                    <a:pt x="724" y="162"/>
                  </a:cubicBezTo>
                  <a:cubicBezTo>
                    <a:pt x="657" y="97"/>
                    <a:pt x="568" y="61"/>
                    <a:pt x="475" y="61"/>
                  </a:cubicBezTo>
                  <a:cubicBezTo>
                    <a:pt x="320" y="61"/>
                    <a:pt x="320" y="61"/>
                    <a:pt x="320" y="61"/>
                  </a:cubicBezTo>
                  <a:cubicBezTo>
                    <a:pt x="305" y="25"/>
                    <a:pt x="269" y="0"/>
                    <a:pt x="22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55"/>
                    <a:pt x="18" y="373"/>
                    <a:pt x="40" y="373"/>
                  </a:cubicBezTo>
                  <a:cubicBezTo>
                    <a:pt x="62" y="373"/>
                    <a:pt x="80" y="355"/>
                    <a:pt x="80" y="333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9" y="80"/>
                    <a:pt x="247" y="89"/>
                    <a:pt x="247" y="99"/>
                  </a:cubicBezTo>
                  <a:cubicBezTo>
                    <a:pt x="247" y="420"/>
                    <a:pt x="247" y="420"/>
                    <a:pt x="247" y="420"/>
                  </a:cubicBezTo>
                  <a:cubicBezTo>
                    <a:pt x="247" y="430"/>
                    <a:pt x="239" y="439"/>
                    <a:pt x="228" y="439"/>
                  </a:cubicBezTo>
                  <a:cubicBezTo>
                    <a:pt x="187" y="439"/>
                    <a:pt x="187" y="439"/>
                    <a:pt x="187" y="439"/>
                  </a:cubicBezTo>
                  <a:cubicBezTo>
                    <a:pt x="165" y="439"/>
                    <a:pt x="147" y="457"/>
                    <a:pt x="147" y="479"/>
                  </a:cubicBezTo>
                  <a:cubicBezTo>
                    <a:pt x="147" y="501"/>
                    <a:pt x="165" y="519"/>
                    <a:pt x="187" y="519"/>
                  </a:cubicBezTo>
                  <a:cubicBezTo>
                    <a:pt x="228" y="519"/>
                    <a:pt x="228" y="519"/>
                    <a:pt x="228" y="519"/>
                  </a:cubicBezTo>
                  <a:cubicBezTo>
                    <a:pt x="270" y="519"/>
                    <a:pt x="306" y="493"/>
                    <a:pt x="320" y="457"/>
                  </a:cubicBezTo>
                  <a:cubicBezTo>
                    <a:pt x="383" y="457"/>
                    <a:pt x="441" y="485"/>
                    <a:pt x="481" y="533"/>
                  </a:cubicBezTo>
                  <a:cubicBezTo>
                    <a:pt x="581" y="653"/>
                    <a:pt x="581" y="653"/>
                    <a:pt x="581" y="653"/>
                  </a:cubicBezTo>
                  <a:cubicBezTo>
                    <a:pt x="636" y="720"/>
                    <a:pt x="718" y="758"/>
                    <a:pt x="804" y="758"/>
                  </a:cubicBezTo>
                  <a:cubicBezTo>
                    <a:pt x="1222" y="758"/>
                    <a:pt x="1222" y="758"/>
                    <a:pt x="1222" y="758"/>
                  </a:cubicBezTo>
                  <a:cubicBezTo>
                    <a:pt x="1290" y="758"/>
                    <a:pt x="1346" y="702"/>
                    <a:pt x="1346" y="634"/>
                  </a:cubicBezTo>
                  <a:cubicBezTo>
                    <a:pt x="1346" y="566"/>
                    <a:pt x="1290" y="511"/>
                    <a:pt x="1222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0A1FD286-F5F4-4957-AE04-A7D00819FB3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7388" y="150813"/>
              <a:ext cx="2422525" cy="1365250"/>
            </a:xfrm>
            <a:custGeom>
              <a:avLst/>
              <a:gdLst>
                <a:gd name="T0" fmla="*/ 1306 w 1346"/>
                <a:gd name="T1" fmla="*/ 370 h 758"/>
                <a:gd name="T2" fmla="*/ 1266 w 1346"/>
                <a:gd name="T3" fmla="*/ 410 h 758"/>
                <a:gd name="T4" fmla="*/ 1266 w 1346"/>
                <a:gd name="T5" fmla="*/ 678 h 758"/>
                <a:gd name="T6" fmla="*/ 1118 w 1346"/>
                <a:gd name="T7" fmla="*/ 678 h 758"/>
                <a:gd name="T8" fmla="*/ 1099 w 1346"/>
                <a:gd name="T9" fmla="*/ 659 h 758"/>
                <a:gd name="T10" fmla="*/ 1099 w 1346"/>
                <a:gd name="T11" fmla="*/ 338 h 758"/>
                <a:gd name="T12" fmla="*/ 1118 w 1346"/>
                <a:gd name="T13" fmla="*/ 319 h 758"/>
                <a:gd name="T14" fmla="*/ 1156 w 1346"/>
                <a:gd name="T15" fmla="*/ 319 h 758"/>
                <a:gd name="T16" fmla="*/ 1196 w 1346"/>
                <a:gd name="T17" fmla="*/ 279 h 758"/>
                <a:gd name="T18" fmla="*/ 1156 w 1346"/>
                <a:gd name="T19" fmla="*/ 239 h 758"/>
                <a:gd name="T20" fmla="*/ 1118 w 1346"/>
                <a:gd name="T21" fmla="*/ 239 h 758"/>
                <a:gd name="T22" fmla="*/ 1026 w 1346"/>
                <a:gd name="T23" fmla="*/ 301 h 758"/>
                <a:gd name="T24" fmla="*/ 865 w 1346"/>
                <a:gd name="T25" fmla="*/ 225 h 758"/>
                <a:gd name="T26" fmla="*/ 765 w 1346"/>
                <a:gd name="T27" fmla="*/ 105 h 758"/>
                <a:gd name="T28" fmla="*/ 542 w 1346"/>
                <a:gd name="T29" fmla="*/ 0 h 758"/>
                <a:gd name="T30" fmla="*/ 124 w 1346"/>
                <a:gd name="T31" fmla="*/ 0 h 758"/>
                <a:gd name="T32" fmla="*/ 0 w 1346"/>
                <a:gd name="T33" fmla="*/ 124 h 758"/>
                <a:gd name="T34" fmla="*/ 124 w 1346"/>
                <a:gd name="T35" fmla="*/ 247 h 758"/>
                <a:gd name="T36" fmla="*/ 295 w 1346"/>
                <a:gd name="T37" fmla="*/ 247 h 758"/>
                <a:gd name="T38" fmla="*/ 335 w 1346"/>
                <a:gd name="T39" fmla="*/ 207 h 758"/>
                <a:gd name="T40" fmla="*/ 295 w 1346"/>
                <a:gd name="T41" fmla="*/ 167 h 758"/>
                <a:gd name="T42" fmla="*/ 124 w 1346"/>
                <a:gd name="T43" fmla="*/ 167 h 758"/>
                <a:gd name="T44" fmla="*/ 80 w 1346"/>
                <a:gd name="T45" fmla="*/ 124 h 758"/>
                <a:gd name="T46" fmla="*/ 124 w 1346"/>
                <a:gd name="T47" fmla="*/ 80 h 758"/>
                <a:gd name="T48" fmla="*/ 542 w 1346"/>
                <a:gd name="T49" fmla="*/ 80 h 758"/>
                <a:gd name="T50" fmla="*/ 704 w 1346"/>
                <a:gd name="T51" fmla="*/ 156 h 758"/>
                <a:gd name="T52" fmla="*/ 803 w 1346"/>
                <a:gd name="T53" fmla="*/ 276 h 758"/>
                <a:gd name="T54" fmla="*/ 1019 w 1346"/>
                <a:gd name="T55" fmla="*/ 381 h 758"/>
                <a:gd name="T56" fmla="*/ 1019 w 1346"/>
                <a:gd name="T57" fmla="*/ 617 h 758"/>
                <a:gd name="T58" fmla="*/ 871 w 1346"/>
                <a:gd name="T59" fmla="*/ 617 h 758"/>
                <a:gd name="T60" fmla="*/ 678 w 1346"/>
                <a:gd name="T61" fmla="*/ 539 h 758"/>
                <a:gd name="T62" fmla="*/ 462 w 1346"/>
                <a:gd name="T63" fmla="*/ 331 h 758"/>
                <a:gd name="T64" fmla="*/ 460 w 1346"/>
                <a:gd name="T65" fmla="*/ 276 h 758"/>
                <a:gd name="T66" fmla="*/ 516 w 1346"/>
                <a:gd name="T67" fmla="*/ 274 h 758"/>
                <a:gd name="T68" fmla="*/ 685 w 1346"/>
                <a:gd name="T69" fmla="*/ 429 h 758"/>
                <a:gd name="T70" fmla="*/ 742 w 1346"/>
                <a:gd name="T71" fmla="*/ 426 h 758"/>
                <a:gd name="T72" fmla="*/ 739 w 1346"/>
                <a:gd name="T73" fmla="*/ 370 h 758"/>
                <a:gd name="T74" fmla="*/ 570 w 1346"/>
                <a:gd name="T75" fmla="*/ 215 h 758"/>
                <a:gd name="T76" fmla="*/ 402 w 1346"/>
                <a:gd name="T77" fmla="*/ 222 h 758"/>
                <a:gd name="T78" fmla="*/ 407 w 1346"/>
                <a:gd name="T79" fmla="*/ 388 h 758"/>
                <a:gd name="T80" fmla="*/ 622 w 1346"/>
                <a:gd name="T81" fmla="*/ 596 h 758"/>
                <a:gd name="T82" fmla="*/ 871 w 1346"/>
                <a:gd name="T83" fmla="*/ 697 h 758"/>
                <a:gd name="T84" fmla="*/ 1026 w 1346"/>
                <a:gd name="T85" fmla="*/ 697 h 758"/>
                <a:gd name="T86" fmla="*/ 1118 w 1346"/>
                <a:gd name="T87" fmla="*/ 758 h 758"/>
                <a:gd name="T88" fmla="*/ 1306 w 1346"/>
                <a:gd name="T89" fmla="*/ 758 h 758"/>
                <a:gd name="T90" fmla="*/ 1346 w 1346"/>
                <a:gd name="T91" fmla="*/ 718 h 758"/>
                <a:gd name="T92" fmla="*/ 1346 w 1346"/>
                <a:gd name="T93" fmla="*/ 410 h 758"/>
                <a:gd name="T94" fmla="*/ 1306 w 1346"/>
                <a:gd name="T95" fmla="*/ 37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6" h="758">
                  <a:moveTo>
                    <a:pt x="1306" y="370"/>
                  </a:moveTo>
                  <a:cubicBezTo>
                    <a:pt x="1284" y="370"/>
                    <a:pt x="1266" y="388"/>
                    <a:pt x="1266" y="410"/>
                  </a:cubicBezTo>
                  <a:cubicBezTo>
                    <a:pt x="1266" y="678"/>
                    <a:pt x="1266" y="678"/>
                    <a:pt x="1266" y="678"/>
                  </a:cubicBezTo>
                  <a:cubicBezTo>
                    <a:pt x="1118" y="678"/>
                    <a:pt x="1118" y="678"/>
                    <a:pt x="1118" y="678"/>
                  </a:cubicBezTo>
                  <a:cubicBezTo>
                    <a:pt x="1107" y="678"/>
                    <a:pt x="1099" y="669"/>
                    <a:pt x="1099" y="659"/>
                  </a:cubicBezTo>
                  <a:cubicBezTo>
                    <a:pt x="1099" y="338"/>
                    <a:pt x="1099" y="338"/>
                    <a:pt x="1099" y="338"/>
                  </a:cubicBezTo>
                  <a:cubicBezTo>
                    <a:pt x="1099" y="328"/>
                    <a:pt x="1107" y="319"/>
                    <a:pt x="1118" y="319"/>
                  </a:cubicBezTo>
                  <a:cubicBezTo>
                    <a:pt x="1156" y="319"/>
                    <a:pt x="1156" y="319"/>
                    <a:pt x="1156" y="319"/>
                  </a:cubicBezTo>
                  <a:cubicBezTo>
                    <a:pt x="1178" y="319"/>
                    <a:pt x="1196" y="301"/>
                    <a:pt x="1196" y="279"/>
                  </a:cubicBezTo>
                  <a:cubicBezTo>
                    <a:pt x="1196" y="257"/>
                    <a:pt x="1178" y="239"/>
                    <a:pt x="1156" y="239"/>
                  </a:cubicBezTo>
                  <a:cubicBezTo>
                    <a:pt x="1118" y="239"/>
                    <a:pt x="1118" y="239"/>
                    <a:pt x="1118" y="239"/>
                  </a:cubicBezTo>
                  <a:cubicBezTo>
                    <a:pt x="1076" y="239"/>
                    <a:pt x="1040" y="265"/>
                    <a:pt x="1026" y="301"/>
                  </a:cubicBezTo>
                  <a:cubicBezTo>
                    <a:pt x="963" y="301"/>
                    <a:pt x="905" y="273"/>
                    <a:pt x="865" y="225"/>
                  </a:cubicBezTo>
                  <a:cubicBezTo>
                    <a:pt x="765" y="105"/>
                    <a:pt x="765" y="105"/>
                    <a:pt x="765" y="105"/>
                  </a:cubicBezTo>
                  <a:cubicBezTo>
                    <a:pt x="710" y="38"/>
                    <a:pt x="628" y="0"/>
                    <a:pt x="542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56" y="0"/>
                    <a:pt x="0" y="56"/>
                    <a:pt x="0" y="124"/>
                  </a:cubicBezTo>
                  <a:cubicBezTo>
                    <a:pt x="0" y="192"/>
                    <a:pt x="56" y="247"/>
                    <a:pt x="124" y="247"/>
                  </a:cubicBezTo>
                  <a:cubicBezTo>
                    <a:pt x="295" y="247"/>
                    <a:pt x="295" y="247"/>
                    <a:pt x="295" y="247"/>
                  </a:cubicBezTo>
                  <a:cubicBezTo>
                    <a:pt x="317" y="247"/>
                    <a:pt x="335" y="229"/>
                    <a:pt x="335" y="207"/>
                  </a:cubicBezTo>
                  <a:cubicBezTo>
                    <a:pt x="335" y="185"/>
                    <a:pt x="317" y="167"/>
                    <a:pt x="295" y="167"/>
                  </a:cubicBezTo>
                  <a:cubicBezTo>
                    <a:pt x="124" y="167"/>
                    <a:pt x="124" y="167"/>
                    <a:pt x="124" y="167"/>
                  </a:cubicBezTo>
                  <a:cubicBezTo>
                    <a:pt x="100" y="167"/>
                    <a:pt x="80" y="148"/>
                    <a:pt x="80" y="124"/>
                  </a:cubicBezTo>
                  <a:cubicBezTo>
                    <a:pt x="80" y="100"/>
                    <a:pt x="100" y="80"/>
                    <a:pt x="124" y="80"/>
                  </a:cubicBezTo>
                  <a:cubicBezTo>
                    <a:pt x="542" y="80"/>
                    <a:pt x="542" y="80"/>
                    <a:pt x="542" y="80"/>
                  </a:cubicBezTo>
                  <a:cubicBezTo>
                    <a:pt x="604" y="80"/>
                    <a:pt x="663" y="108"/>
                    <a:pt x="704" y="156"/>
                  </a:cubicBezTo>
                  <a:cubicBezTo>
                    <a:pt x="803" y="276"/>
                    <a:pt x="803" y="276"/>
                    <a:pt x="803" y="276"/>
                  </a:cubicBezTo>
                  <a:cubicBezTo>
                    <a:pt x="857" y="341"/>
                    <a:pt x="935" y="378"/>
                    <a:pt x="1019" y="381"/>
                  </a:cubicBezTo>
                  <a:cubicBezTo>
                    <a:pt x="1019" y="617"/>
                    <a:pt x="1019" y="617"/>
                    <a:pt x="1019" y="617"/>
                  </a:cubicBezTo>
                  <a:cubicBezTo>
                    <a:pt x="871" y="617"/>
                    <a:pt x="871" y="617"/>
                    <a:pt x="871" y="617"/>
                  </a:cubicBezTo>
                  <a:cubicBezTo>
                    <a:pt x="799" y="617"/>
                    <a:pt x="730" y="589"/>
                    <a:pt x="678" y="539"/>
                  </a:cubicBezTo>
                  <a:cubicBezTo>
                    <a:pt x="462" y="331"/>
                    <a:pt x="462" y="331"/>
                    <a:pt x="462" y="331"/>
                  </a:cubicBezTo>
                  <a:cubicBezTo>
                    <a:pt x="447" y="316"/>
                    <a:pt x="446" y="291"/>
                    <a:pt x="460" y="276"/>
                  </a:cubicBezTo>
                  <a:cubicBezTo>
                    <a:pt x="475" y="260"/>
                    <a:pt x="500" y="259"/>
                    <a:pt x="516" y="274"/>
                  </a:cubicBezTo>
                  <a:cubicBezTo>
                    <a:pt x="685" y="429"/>
                    <a:pt x="685" y="429"/>
                    <a:pt x="685" y="429"/>
                  </a:cubicBezTo>
                  <a:cubicBezTo>
                    <a:pt x="701" y="444"/>
                    <a:pt x="727" y="443"/>
                    <a:pt x="742" y="426"/>
                  </a:cubicBezTo>
                  <a:cubicBezTo>
                    <a:pt x="757" y="410"/>
                    <a:pt x="756" y="385"/>
                    <a:pt x="739" y="370"/>
                  </a:cubicBezTo>
                  <a:cubicBezTo>
                    <a:pt x="570" y="215"/>
                    <a:pt x="570" y="215"/>
                    <a:pt x="570" y="215"/>
                  </a:cubicBezTo>
                  <a:cubicBezTo>
                    <a:pt x="522" y="170"/>
                    <a:pt x="446" y="173"/>
                    <a:pt x="402" y="222"/>
                  </a:cubicBezTo>
                  <a:cubicBezTo>
                    <a:pt x="358" y="269"/>
                    <a:pt x="360" y="344"/>
                    <a:pt x="407" y="388"/>
                  </a:cubicBezTo>
                  <a:cubicBezTo>
                    <a:pt x="622" y="596"/>
                    <a:pt x="622" y="596"/>
                    <a:pt x="622" y="596"/>
                  </a:cubicBezTo>
                  <a:cubicBezTo>
                    <a:pt x="689" y="661"/>
                    <a:pt x="778" y="697"/>
                    <a:pt x="871" y="697"/>
                  </a:cubicBezTo>
                  <a:cubicBezTo>
                    <a:pt x="1026" y="697"/>
                    <a:pt x="1026" y="697"/>
                    <a:pt x="1026" y="697"/>
                  </a:cubicBezTo>
                  <a:cubicBezTo>
                    <a:pt x="1041" y="733"/>
                    <a:pt x="1077" y="758"/>
                    <a:pt x="1118" y="758"/>
                  </a:cubicBezTo>
                  <a:cubicBezTo>
                    <a:pt x="1306" y="758"/>
                    <a:pt x="1306" y="758"/>
                    <a:pt x="1306" y="758"/>
                  </a:cubicBezTo>
                  <a:cubicBezTo>
                    <a:pt x="1328" y="758"/>
                    <a:pt x="1346" y="740"/>
                    <a:pt x="1346" y="718"/>
                  </a:cubicBezTo>
                  <a:cubicBezTo>
                    <a:pt x="1346" y="410"/>
                    <a:pt x="1346" y="410"/>
                    <a:pt x="1346" y="410"/>
                  </a:cubicBezTo>
                  <a:cubicBezTo>
                    <a:pt x="1346" y="388"/>
                    <a:pt x="1328" y="370"/>
                    <a:pt x="1306" y="3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7">
              <a:extLst>
                <a:ext uri="{FF2B5EF4-FFF2-40B4-BE49-F238E27FC236}">
                  <a16:creationId xmlns:a16="http://schemas.microsoft.com/office/drawing/2014/main" id="{75EFB484-8F62-440B-9437-B2BA7374B29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760200" y="2547938"/>
              <a:ext cx="163512" cy="155575"/>
            </a:xfrm>
            <a:custGeom>
              <a:avLst/>
              <a:gdLst>
                <a:gd name="T0" fmla="*/ 30 w 91"/>
                <a:gd name="T1" fmla="*/ 10 h 86"/>
                <a:gd name="T2" fmla="*/ 9 w 91"/>
                <a:gd name="T3" fmla="*/ 62 h 86"/>
                <a:gd name="T4" fmla="*/ 45 w 91"/>
                <a:gd name="T5" fmla="*/ 86 h 86"/>
                <a:gd name="T6" fmla="*/ 61 w 91"/>
                <a:gd name="T7" fmla="*/ 83 h 86"/>
                <a:gd name="T8" fmla="*/ 62 w 91"/>
                <a:gd name="T9" fmla="*/ 83 h 86"/>
                <a:gd name="T10" fmla="*/ 82 w 91"/>
                <a:gd name="T11" fmla="*/ 30 h 86"/>
                <a:gd name="T12" fmla="*/ 30 w 91"/>
                <a:gd name="T13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30" y="10"/>
                  </a:moveTo>
                  <a:cubicBezTo>
                    <a:pt x="9" y="18"/>
                    <a:pt x="0" y="42"/>
                    <a:pt x="9" y="62"/>
                  </a:cubicBezTo>
                  <a:cubicBezTo>
                    <a:pt x="15" y="77"/>
                    <a:pt x="30" y="86"/>
                    <a:pt x="45" y="86"/>
                  </a:cubicBezTo>
                  <a:cubicBezTo>
                    <a:pt x="51" y="86"/>
                    <a:pt x="56" y="85"/>
                    <a:pt x="61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82" y="73"/>
                    <a:pt x="91" y="50"/>
                    <a:pt x="82" y="30"/>
                  </a:cubicBezTo>
                  <a:cubicBezTo>
                    <a:pt x="73" y="9"/>
                    <a:pt x="50" y="0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8">
              <a:extLst>
                <a:ext uri="{FF2B5EF4-FFF2-40B4-BE49-F238E27FC236}">
                  <a16:creationId xmlns:a16="http://schemas.microsoft.com/office/drawing/2014/main" id="{B0BF78B9-9829-4EA3-9948-3B29F0D96180}"/>
                </a:ext>
              </a:extLst>
            </p:cNvPr>
            <p:cNvSpPr>
              <a:spLocks/>
            </p:cNvSpPr>
            <p:nvPr/>
          </p:nvSpPr>
          <p:spPr bwMode="gray">
            <a:xfrm>
              <a:off x="11947525" y="2441576"/>
              <a:ext cx="163512" cy="153988"/>
            </a:xfrm>
            <a:custGeom>
              <a:avLst/>
              <a:gdLst>
                <a:gd name="T0" fmla="*/ 22 w 91"/>
                <a:gd name="T1" fmla="*/ 13 h 85"/>
                <a:gd name="T2" fmla="*/ 13 w 91"/>
                <a:gd name="T3" fmla="*/ 69 h 85"/>
                <a:gd name="T4" fmla="*/ 45 w 91"/>
                <a:gd name="T5" fmla="*/ 85 h 85"/>
                <a:gd name="T6" fmla="*/ 69 w 91"/>
                <a:gd name="T7" fmla="*/ 77 h 85"/>
                <a:gd name="T8" fmla="*/ 70 w 91"/>
                <a:gd name="T9" fmla="*/ 77 h 85"/>
                <a:gd name="T10" fmla="*/ 78 w 91"/>
                <a:gd name="T11" fmla="*/ 21 h 85"/>
                <a:gd name="T12" fmla="*/ 22 w 91"/>
                <a:gd name="T13" fmla="*/ 1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5">
                  <a:moveTo>
                    <a:pt x="22" y="13"/>
                  </a:moveTo>
                  <a:cubicBezTo>
                    <a:pt x="4" y="26"/>
                    <a:pt x="0" y="51"/>
                    <a:pt x="13" y="69"/>
                  </a:cubicBezTo>
                  <a:cubicBezTo>
                    <a:pt x="21" y="79"/>
                    <a:pt x="33" y="85"/>
                    <a:pt x="45" y="85"/>
                  </a:cubicBezTo>
                  <a:cubicBezTo>
                    <a:pt x="54" y="85"/>
                    <a:pt x="62" y="83"/>
                    <a:pt x="69" y="77"/>
                  </a:cubicBezTo>
                  <a:cubicBezTo>
                    <a:pt x="69" y="77"/>
                    <a:pt x="69" y="77"/>
                    <a:pt x="70" y="77"/>
                  </a:cubicBezTo>
                  <a:cubicBezTo>
                    <a:pt x="87" y="64"/>
                    <a:pt x="91" y="39"/>
                    <a:pt x="78" y="21"/>
                  </a:cubicBezTo>
                  <a:cubicBezTo>
                    <a:pt x="65" y="3"/>
                    <a:pt x="40" y="0"/>
                    <a:pt x="2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9">
              <a:extLst>
                <a:ext uri="{FF2B5EF4-FFF2-40B4-BE49-F238E27FC236}">
                  <a16:creationId xmlns:a16="http://schemas.microsoft.com/office/drawing/2014/main" id="{269B2C14-0464-498C-9036-000C2FE9498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8588" y="2617788"/>
              <a:ext cx="155575" cy="152400"/>
            </a:xfrm>
            <a:custGeom>
              <a:avLst/>
              <a:gdLst>
                <a:gd name="T0" fmla="*/ 35 w 87"/>
                <a:gd name="T1" fmla="*/ 5 h 84"/>
                <a:gd name="T2" fmla="*/ 4 w 87"/>
                <a:gd name="T3" fmla="*/ 51 h 84"/>
                <a:gd name="T4" fmla="*/ 43 w 87"/>
                <a:gd name="T5" fmla="*/ 84 h 84"/>
                <a:gd name="T6" fmla="*/ 51 w 87"/>
                <a:gd name="T7" fmla="*/ 83 h 84"/>
                <a:gd name="T8" fmla="*/ 52 w 87"/>
                <a:gd name="T9" fmla="*/ 83 h 84"/>
                <a:gd name="T10" fmla="*/ 83 w 87"/>
                <a:gd name="T11" fmla="*/ 35 h 84"/>
                <a:gd name="T12" fmla="*/ 35 w 87"/>
                <a:gd name="T13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35" y="5"/>
                  </a:moveTo>
                  <a:cubicBezTo>
                    <a:pt x="14" y="9"/>
                    <a:pt x="0" y="30"/>
                    <a:pt x="4" y="51"/>
                  </a:cubicBezTo>
                  <a:cubicBezTo>
                    <a:pt x="7" y="70"/>
                    <a:pt x="24" y="84"/>
                    <a:pt x="43" y="84"/>
                  </a:cubicBezTo>
                  <a:cubicBezTo>
                    <a:pt x="46" y="84"/>
                    <a:pt x="48" y="84"/>
                    <a:pt x="51" y="83"/>
                  </a:cubicBezTo>
                  <a:cubicBezTo>
                    <a:pt x="51" y="83"/>
                    <a:pt x="51" y="83"/>
                    <a:pt x="52" y="83"/>
                  </a:cubicBezTo>
                  <a:cubicBezTo>
                    <a:pt x="73" y="78"/>
                    <a:pt x="87" y="57"/>
                    <a:pt x="83" y="35"/>
                  </a:cubicBezTo>
                  <a:cubicBezTo>
                    <a:pt x="78" y="14"/>
                    <a:pt x="57" y="0"/>
                    <a:pt x="3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0">
              <a:extLst>
                <a:ext uri="{FF2B5EF4-FFF2-40B4-BE49-F238E27FC236}">
                  <a16:creationId xmlns:a16="http://schemas.microsoft.com/office/drawing/2014/main" id="{638D516D-8A9D-4EDD-8FC0-401E93B26E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109450" y="2295526"/>
              <a:ext cx="158750" cy="153988"/>
            </a:xfrm>
            <a:custGeom>
              <a:avLst/>
              <a:gdLst>
                <a:gd name="T0" fmla="*/ 71 w 89"/>
                <a:gd name="T1" fmla="*/ 15 h 85"/>
                <a:gd name="T2" fmla="*/ 15 w 89"/>
                <a:gd name="T3" fmla="*/ 18 h 85"/>
                <a:gd name="T4" fmla="*/ 14 w 89"/>
                <a:gd name="T5" fmla="*/ 19 h 85"/>
                <a:gd name="T6" fmla="*/ 18 w 89"/>
                <a:gd name="T7" fmla="*/ 76 h 85"/>
                <a:gd name="T8" fmla="*/ 44 w 89"/>
                <a:gd name="T9" fmla="*/ 85 h 85"/>
                <a:gd name="T10" fmla="*/ 74 w 89"/>
                <a:gd name="T11" fmla="*/ 72 h 85"/>
                <a:gd name="T12" fmla="*/ 71 w 89"/>
                <a:gd name="T13" fmla="*/ 15 h 85"/>
                <a:gd name="T14" fmla="*/ 49 w 89"/>
                <a:gd name="T15" fmla="*/ 49 h 85"/>
                <a:gd name="T16" fmla="*/ 45 w 89"/>
                <a:gd name="T17" fmla="*/ 45 h 85"/>
                <a:gd name="T18" fmla="*/ 49 w 89"/>
                <a:gd name="T19" fmla="*/ 4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5">
                  <a:moveTo>
                    <a:pt x="71" y="15"/>
                  </a:moveTo>
                  <a:cubicBezTo>
                    <a:pt x="55" y="0"/>
                    <a:pt x="30" y="2"/>
                    <a:pt x="15" y="18"/>
                  </a:cubicBezTo>
                  <a:cubicBezTo>
                    <a:pt x="15" y="18"/>
                    <a:pt x="14" y="19"/>
                    <a:pt x="14" y="19"/>
                  </a:cubicBezTo>
                  <a:cubicBezTo>
                    <a:pt x="0" y="36"/>
                    <a:pt x="1" y="61"/>
                    <a:pt x="18" y="76"/>
                  </a:cubicBezTo>
                  <a:cubicBezTo>
                    <a:pt x="26" y="82"/>
                    <a:pt x="35" y="85"/>
                    <a:pt x="44" y="85"/>
                  </a:cubicBezTo>
                  <a:cubicBezTo>
                    <a:pt x="55" y="85"/>
                    <a:pt x="66" y="81"/>
                    <a:pt x="74" y="72"/>
                  </a:cubicBezTo>
                  <a:cubicBezTo>
                    <a:pt x="89" y="55"/>
                    <a:pt x="88" y="30"/>
                    <a:pt x="71" y="15"/>
                  </a:cubicBezTo>
                  <a:close/>
                  <a:moveTo>
                    <a:pt x="49" y="49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9" y="49"/>
                    <a:pt x="49" y="49"/>
                    <a:pt x="4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11">
              <a:extLst>
                <a:ext uri="{FF2B5EF4-FFF2-40B4-BE49-F238E27FC236}">
                  <a16:creationId xmlns:a16="http://schemas.microsoft.com/office/drawing/2014/main" id="{FF0CF93C-43DD-4D9E-B85F-56DD39777020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19000" y="1920876"/>
              <a:ext cx="160337" cy="153988"/>
            </a:xfrm>
            <a:custGeom>
              <a:avLst/>
              <a:gdLst>
                <a:gd name="T0" fmla="*/ 56 w 89"/>
                <a:gd name="T1" fmla="*/ 6 h 85"/>
                <a:gd name="T2" fmla="*/ 6 w 89"/>
                <a:gd name="T3" fmla="*/ 33 h 85"/>
                <a:gd name="T4" fmla="*/ 33 w 89"/>
                <a:gd name="T5" fmla="*/ 83 h 85"/>
                <a:gd name="T6" fmla="*/ 44 w 89"/>
                <a:gd name="T7" fmla="*/ 85 h 85"/>
                <a:gd name="T8" fmla="*/ 83 w 89"/>
                <a:gd name="T9" fmla="*/ 57 h 85"/>
                <a:gd name="T10" fmla="*/ 83 w 89"/>
                <a:gd name="T11" fmla="*/ 56 h 85"/>
                <a:gd name="T12" fmla="*/ 56 w 89"/>
                <a:gd name="T13" fmla="*/ 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85">
                  <a:moveTo>
                    <a:pt x="56" y="6"/>
                  </a:moveTo>
                  <a:cubicBezTo>
                    <a:pt x="35" y="0"/>
                    <a:pt x="13" y="12"/>
                    <a:pt x="6" y="33"/>
                  </a:cubicBezTo>
                  <a:cubicBezTo>
                    <a:pt x="0" y="54"/>
                    <a:pt x="12" y="77"/>
                    <a:pt x="33" y="83"/>
                  </a:cubicBezTo>
                  <a:cubicBezTo>
                    <a:pt x="37" y="84"/>
                    <a:pt x="41" y="85"/>
                    <a:pt x="44" y="85"/>
                  </a:cubicBezTo>
                  <a:cubicBezTo>
                    <a:pt x="62" y="85"/>
                    <a:pt x="77" y="74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9" y="35"/>
                    <a:pt x="77" y="1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12">
              <a:extLst>
                <a:ext uri="{FF2B5EF4-FFF2-40B4-BE49-F238E27FC236}">
                  <a16:creationId xmlns:a16="http://schemas.microsoft.com/office/drawing/2014/main" id="{939DD0F5-BFD4-4B61-BBAA-411A9540F6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1863" y="1495426"/>
              <a:ext cx="157162" cy="150813"/>
            </a:xfrm>
            <a:custGeom>
              <a:avLst/>
              <a:gdLst>
                <a:gd name="T0" fmla="*/ 83 w 87"/>
                <a:gd name="T1" fmla="*/ 36 h 84"/>
                <a:gd name="T2" fmla="*/ 36 w 87"/>
                <a:gd name="T3" fmla="*/ 5 h 84"/>
                <a:gd name="T4" fmla="*/ 5 w 87"/>
                <a:gd name="T5" fmla="*/ 52 h 84"/>
                <a:gd name="T6" fmla="*/ 44 w 87"/>
                <a:gd name="T7" fmla="*/ 84 h 84"/>
                <a:gd name="T8" fmla="*/ 51 w 87"/>
                <a:gd name="T9" fmla="*/ 83 h 84"/>
                <a:gd name="T10" fmla="*/ 83 w 87"/>
                <a:gd name="T11" fmla="*/ 37 h 84"/>
                <a:gd name="T12" fmla="*/ 83 w 87"/>
                <a:gd name="T13" fmla="*/ 3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84">
                  <a:moveTo>
                    <a:pt x="83" y="36"/>
                  </a:moveTo>
                  <a:cubicBezTo>
                    <a:pt x="79" y="14"/>
                    <a:pt x="57" y="0"/>
                    <a:pt x="36" y="5"/>
                  </a:cubicBezTo>
                  <a:cubicBezTo>
                    <a:pt x="14" y="9"/>
                    <a:pt x="0" y="30"/>
                    <a:pt x="5" y="52"/>
                  </a:cubicBezTo>
                  <a:cubicBezTo>
                    <a:pt x="8" y="71"/>
                    <a:pt x="25" y="84"/>
                    <a:pt x="44" y="84"/>
                  </a:cubicBezTo>
                  <a:cubicBezTo>
                    <a:pt x="46" y="84"/>
                    <a:pt x="49" y="84"/>
                    <a:pt x="51" y="83"/>
                  </a:cubicBezTo>
                  <a:cubicBezTo>
                    <a:pt x="73" y="80"/>
                    <a:pt x="87" y="59"/>
                    <a:pt x="83" y="37"/>
                  </a:cubicBezTo>
                  <a:cubicBezTo>
                    <a:pt x="83" y="37"/>
                    <a:pt x="83" y="36"/>
                    <a:pt x="8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13">
              <a:extLst>
                <a:ext uri="{FF2B5EF4-FFF2-40B4-BE49-F238E27FC236}">
                  <a16:creationId xmlns:a16="http://schemas.microsoft.com/office/drawing/2014/main" id="{00F91322-0EC2-4D84-8659-3680EC1A82E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66625" y="1714501"/>
              <a:ext cx="149225" cy="147638"/>
            </a:xfrm>
            <a:custGeom>
              <a:avLst/>
              <a:gdLst>
                <a:gd name="T0" fmla="*/ 45 w 83"/>
                <a:gd name="T1" fmla="*/ 2 h 82"/>
                <a:gd name="T2" fmla="*/ 1 w 83"/>
                <a:gd name="T3" fmla="*/ 38 h 82"/>
                <a:gd name="T4" fmla="*/ 1 w 83"/>
                <a:gd name="T5" fmla="*/ 40 h 82"/>
                <a:gd name="T6" fmla="*/ 39 w 83"/>
                <a:gd name="T7" fmla="*/ 82 h 82"/>
                <a:gd name="T8" fmla="*/ 41 w 83"/>
                <a:gd name="T9" fmla="*/ 82 h 82"/>
                <a:gd name="T10" fmla="*/ 81 w 83"/>
                <a:gd name="T11" fmla="*/ 45 h 82"/>
                <a:gd name="T12" fmla="*/ 45 w 83"/>
                <a:gd name="T13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2">
                  <a:moveTo>
                    <a:pt x="45" y="2"/>
                  </a:moveTo>
                  <a:cubicBezTo>
                    <a:pt x="23" y="0"/>
                    <a:pt x="3" y="16"/>
                    <a:pt x="1" y="38"/>
                  </a:cubicBezTo>
                  <a:cubicBezTo>
                    <a:pt x="1" y="39"/>
                    <a:pt x="1" y="39"/>
                    <a:pt x="1" y="40"/>
                  </a:cubicBezTo>
                  <a:cubicBezTo>
                    <a:pt x="0" y="62"/>
                    <a:pt x="17" y="81"/>
                    <a:pt x="39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79" y="66"/>
                    <a:pt x="81" y="45"/>
                  </a:cubicBezTo>
                  <a:cubicBezTo>
                    <a:pt x="83" y="23"/>
                    <a:pt x="67" y="4"/>
                    <a:pt x="4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C6CA0D89-740F-473F-B1F3-0623AAE866EC}"/>
                </a:ext>
              </a:extLst>
            </p:cNvPr>
            <p:cNvSpPr>
              <a:spLocks/>
            </p:cNvSpPr>
            <p:nvPr/>
          </p:nvSpPr>
          <p:spPr bwMode="gray">
            <a:xfrm>
              <a:off x="12231688" y="2117726"/>
              <a:ext cx="165100" cy="157163"/>
            </a:xfrm>
            <a:custGeom>
              <a:avLst/>
              <a:gdLst>
                <a:gd name="T0" fmla="*/ 66 w 92"/>
                <a:gd name="T1" fmla="*/ 11 h 87"/>
                <a:gd name="T2" fmla="*/ 11 w 92"/>
                <a:gd name="T3" fmla="*/ 26 h 87"/>
                <a:gd name="T4" fmla="*/ 11 w 92"/>
                <a:gd name="T5" fmla="*/ 27 h 87"/>
                <a:gd name="T6" fmla="*/ 27 w 92"/>
                <a:gd name="T7" fmla="*/ 82 h 87"/>
                <a:gd name="T8" fmla="*/ 46 w 92"/>
                <a:gd name="T9" fmla="*/ 87 h 87"/>
                <a:gd name="T10" fmla="*/ 81 w 92"/>
                <a:gd name="T11" fmla="*/ 66 h 87"/>
                <a:gd name="T12" fmla="*/ 46 w 92"/>
                <a:gd name="T13" fmla="*/ 46 h 87"/>
                <a:gd name="T14" fmla="*/ 81 w 92"/>
                <a:gd name="T15" fmla="*/ 66 h 87"/>
                <a:gd name="T16" fmla="*/ 66 w 92"/>
                <a:gd name="T17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7">
                  <a:moveTo>
                    <a:pt x="66" y="11"/>
                  </a:moveTo>
                  <a:cubicBezTo>
                    <a:pt x="47" y="0"/>
                    <a:pt x="22" y="7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0" y="47"/>
                    <a:pt x="7" y="71"/>
                    <a:pt x="27" y="82"/>
                  </a:cubicBezTo>
                  <a:cubicBezTo>
                    <a:pt x="33" y="85"/>
                    <a:pt x="40" y="87"/>
                    <a:pt x="46" y="87"/>
                  </a:cubicBezTo>
                  <a:cubicBezTo>
                    <a:pt x="60" y="87"/>
                    <a:pt x="74" y="79"/>
                    <a:pt x="81" y="6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92" y="47"/>
                    <a:pt x="85" y="22"/>
                    <a:pt x="6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15">
              <a:extLst>
                <a:ext uri="{FF2B5EF4-FFF2-40B4-BE49-F238E27FC236}">
                  <a16:creationId xmlns:a16="http://schemas.microsoft.com/office/drawing/2014/main" id="{F8341B5F-B38A-4F82-B2FB-1B30AB59F86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98188" y="715963"/>
              <a:ext cx="163512" cy="155575"/>
            </a:xfrm>
            <a:custGeom>
              <a:avLst/>
              <a:gdLst>
                <a:gd name="T0" fmla="*/ 46 w 91"/>
                <a:gd name="T1" fmla="*/ 86 h 86"/>
                <a:gd name="T2" fmla="*/ 64 w 91"/>
                <a:gd name="T3" fmla="*/ 81 h 86"/>
                <a:gd name="T4" fmla="*/ 82 w 91"/>
                <a:gd name="T5" fmla="*/ 28 h 86"/>
                <a:gd name="T6" fmla="*/ 28 w 91"/>
                <a:gd name="T7" fmla="*/ 10 h 86"/>
                <a:gd name="T8" fmla="*/ 28 w 91"/>
                <a:gd name="T9" fmla="*/ 10 h 86"/>
                <a:gd name="T10" fmla="*/ 10 w 91"/>
                <a:gd name="T11" fmla="*/ 63 h 86"/>
                <a:gd name="T12" fmla="*/ 46 w 91"/>
                <a:gd name="T1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46" y="86"/>
                  </a:moveTo>
                  <a:cubicBezTo>
                    <a:pt x="52" y="86"/>
                    <a:pt x="58" y="84"/>
                    <a:pt x="64" y="81"/>
                  </a:cubicBezTo>
                  <a:cubicBezTo>
                    <a:pt x="83" y="71"/>
                    <a:pt x="91" y="47"/>
                    <a:pt x="82" y="28"/>
                  </a:cubicBezTo>
                  <a:cubicBezTo>
                    <a:pt x="72" y="8"/>
                    <a:pt x="48" y="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8" y="20"/>
                    <a:pt x="0" y="44"/>
                    <a:pt x="10" y="63"/>
                  </a:cubicBezTo>
                  <a:cubicBezTo>
                    <a:pt x="17" y="77"/>
                    <a:pt x="31" y="86"/>
                    <a:pt x="46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16">
              <a:extLst>
                <a:ext uri="{FF2B5EF4-FFF2-40B4-BE49-F238E27FC236}">
                  <a16:creationId xmlns:a16="http://schemas.microsoft.com/office/drawing/2014/main" id="{E6F93E7A-847F-4D06-A4FE-7AB78222FB1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02975" y="644526"/>
              <a:ext cx="158750" cy="150813"/>
            </a:xfrm>
            <a:custGeom>
              <a:avLst/>
              <a:gdLst>
                <a:gd name="T0" fmla="*/ 44 w 88"/>
                <a:gd name="T1" fmla="*/ 84 h 84"/>
                <a:gd name="T2" fmla="*/ 54 w 88"/>
                <a:gd name="T3" fmla="*/ 83 h 84"/>
                <a:gd name="T4" fmla="*/ 83 w 88"/>
                <a:gd name="T5" fmla="*/ 34 h 84"/>
                <a:gd name="T6" fmla="*/ 35 w 88"/>
                <a:gd name="T7" fmla="*/ 5 h 84"/>
                <a:gd name="T8" fmla="*/ 34 w 88"/>
                <a:gd name="T9" fmla="*/ 5 h 84"/>
                <a:gd name="T10" fmla="*/ 5 w 88"/>
                <a:gd name="T11" fmla="*/ 54 h 84"/>
                <a:gd name="T12" fmla="*/ 44 w 88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4">
                  <a:moveTo>
                    <a:pt x="44" y="84"/>
                  </a:moveTo>
                  <a:cubicBezTo>
                    <a:pt x="47" y="84"/>
                    <a:pt x="51" y="83"/>
                    <a:pt x="54" y="83"/>
                  </a:cubicBezTo>
                  <a:cubicBezTo>
                    <a:pt x="75" y="77"/>
                    <a:pt x="88" y="56"/>
                    <a:pt x="83" y="34"/>
                  </a:cubicBezTo>
                  <a:cubicBezTo>
                    <a:pt x="78" y="13"/>
                    <a:pt x="56" y="0"/>
                    <a:pt x="35" y="5"/>
                  </a:cubicBezTo>
                  <a:cubicBezTo>
                    <a:pt x="35" y="5"/>
                    <a:pt x="34" y="5"/>
                    <a:pt x="34" y="5"/>
                  </a:cubicBezTo>
                  <a:cubicBezTo>
                    <a:pt x="13" y="11"/>
                    <a:pt x="0" y="32"/>
                    <a:pt x="5" y="54"/>
                  </a:cubicBezTo>
                  <a:cubicBezTo>
                    <a:pt x="10" y="72"/>
                    <a:pt x="26" y="84"/>
                    <a:pt x="44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17">
              <a:extLst>
                <a:ext uri="{FF2B5EF4-FFF2-40B4-BE49-F238E27FC236}">
                  <a16:creationId xmlns:a16="http://schemas.microsoft.com/office/drawing/2014/main" id="{C7D09414-D4B9-4782-B214-A5926BC241C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15625" y="833438"/>
              <a:ext cx="163512" cy="155575"/>
            </a:xfrm>
            <a:custGeom>
              <a:avLst/>
              <a:gdLst>
                <a:gd name="T0" fmla="*/ 45 w 91"/>
                <a:gd name="T1" fmla="*/ 86 h 86"/>
                <a:gd name="T2" fmla="*/ 70 w 91"/>
                <a:gd name="T3" fmla="*/ 77 h 86"/>
                <a:gd name="T4" fmla="*/ 71 w 91"/>
                <a:gd name="T5" fmla="*/ 76 h 86"/>
                <a:gd name="T6" fmla="*/ 77 w 91"/>
                <a:gd name="T7" fmla="*/ 20 h 86"/>
                <a:gd name="T8" fmla="*/ 21 w 91"/>
                <a:gd name="T9" fmla="*/ 14 h 86"/>
                <a:gd name="T10" fmla="*/ 45 w 91"/>
                <a:gd name="T11" fmla="*/ 46 h 86"/>
                <a:gd name="T12" fmla="*/ 20 w 91"/>
                <a:gd name="T13" fmla="*/ 14 h 86"/>
                <a:gd name="T14" fmla="*/ 14 w 91"/>
                <a:gd name="T15" fmla="*/ 70 h 86"/>
                <a:gd name="T16" fmla="*/ 45 w 91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86">
                  <a:moveTo>
                    <a:pt x="45" y="86"/>
                  </a:moveTo>
                  <a:cubicBezTo>
                    <a:pt x="54" y="86"/>
                    <a:pt x="63" y="83"/>
                    <a:pt x="70" y="77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88" y="63"/>
                    <a:pt x="91" y="37"/>
                    <a:pt x="77" y="20"/>
                  </a:cubicBezTo>
                  <a:cubicBezTo>
                    <a:pt x="63" y="3"/>
                    <a:pt x="38" y="0"/>
                    <a:pt x="21" y="14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28"/>
                    <a:pt x="0" y="53"/>
                    <a:pt x="14" y="70"/>
                  </a:cubicBezTo>
                  <a:cubicBezTo>
                    <a:pt x="22" y="80"/>
                    <a:pt x="34" y="86"/>
                    <a:pt x="4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18">
              <a:extLst>
                <a:ext uri="{FF2B5EF4-FFF2-40B4-BE49-F238E27FC236}">
                  <a16:creationId xmlns:a16="http://schemas.microsoft.com/office/drawing/2014/main" id="{0D981270-80DE-44B7-AC55-6CA3AA77008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72725" y="1371601"/>
              <a:ext cx="157162" cy="153988"/>
            </a:xfrm>
            <a:custGeom>
              <a:avLst/>
              <a:gdLst>
                <a:gd name="T0" fmla="*/ 35 w 88"/>
                <a:gd name="T1" fmla="*/ 84 h 85"/>
                <a:gd name="T2" fmla="*/ 44 w 88"/>
                <a:gd name="T3" fmla="*/ 85 h 85"/>
                <a:gd name="T4" fmla="*/ 83 w 88"/>
                <a:gd name="T5" fmla="*/ 54 h 85"/>
                <a:gd name="T6" fmla="*/ 55 w 88"/>
                <a:gd name="T7" fmla="*/ 6 h 85"/>
                <a:gd name="T8" fmla="*/ 5 w 88"/>
                <a:gd name="T9" fmla="*/ 34 h 85"/>
                <a:gd name="T10" fmla="*/ 5 w 88"/>
                <a:gd name="T11" fmla="*/ 35 h 85"/>
                <a:gd name="T12" fmla="*/ 35 w 88"/>
                <a:gd name="T13" fmla="*/ 8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5">
                  <a:moveTo>
                    <a:pt x="35" y="84"/>
                  </a:moveTo>
                  <a:cubicBezTo>
                    <a:pt x="38" y="84"/>
                    <a:pt x="41" y="85"/>
                    <a:pt x="44" y="85"/>
                  </a:cubicBezTo>
                  <a:cubicBezTo>
                    <a:pt x="62" y="85"/>
                    <a:pt x="78" y="73"/>
                    <a:pt x="83" y="54"/>
                  </a:cubicBezTo>
                  <a:cubicBezTo>
                    <a:pt x="88" y="33"/>
                    <a:pt x="76" y="12"/>
                    <a:pt x="55" y="6"/>
                  </a:cubicBezTo>
                  <a:cubicBezTo>
                    <a:pt x="33" y="0"/>
                    <a:pt x="11" y="13"/>
                    <a:pt x="5" y="34"/>
                  </a:cubicBezTo>
                  <a:cubicBezTo>
                    <a:pt x="5" y="34"/>
                    <a:pt x="5" y="35"/>
                    <a:pt x="5" y="35"/>
                  </a:cubicBezTo>
                  <a:cubicBezTo>
                    <a:pt x="0" y="57"/>
                    <a:pt x="13" y="78"/>
                    <a:pt x="3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19">
              <a:extLst>
                <a:ext uri="{FF2B5EF4-FFF2-40B4-BE49-F238E27FC236}">
                  <a16:creationId xmlns:a16="http://schemas.microsoft.com/office/drawing/2014/main" id="{8C6808A3-1BE0-40C3-83A7-2A6C8EA53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47325" y="1592263"/>
              <a:ext cx="147637" cy="147638"/>
            </a:xfrm>
            <a:custGeom>
              <a:avLst/>
              <a:gdLst>
                <a:gd name="T0" fmla="*/ 40 w 82"/>
                <a:gd name="T1" fmla="*/ 82 h 82"/>
                <a:gd name="T2" fmla="*/ 41 w 82"/>
                <a:gd name="T3" fmla="*/ 82 h 82"/>
                <a:gd name="T4" fmla="*/ 81 w 82"/>
                <a:gd name="T5" fmla="*/ 43 h 82"/>
                <a:gd name="T6" fmla="*/ 43 w 82"/>
                <a:gd name="T7" fmla="*/ 1 h 82"/>
                <a:gd name="T8" fmla="*/ 1 w 82"/>
                <a:gd name="T9" fmla="*/ 39 h 82"/>
                <a:gd name="T10" fmla="*/ 1 w 82"/>
                <a:gd name="T11" fmla="*/ 41 h 82"/>
                <a:gd name="T12" fmla="*/ 40 w 8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40" y="82"/>
                  </a:moveTo>
                  <a:cubicBezTo>
                    <a:pt x="40" y="82"/>
                    <a:pt x="40" y="82"/>
                    <a:pt x="41" y="82"/>
                  </a:cubicBezTo>
                  <a:cubicBezTo>
                    <a:pt x="62" y="82"/>
                    <a:pt x="80" y="65"/>
                    <a:pt x="81" y="43"/>
                  </a:cubicBezTo>
                  <a:cubicBezTo>
                    <a:pt x="82" y="21"/>
                    <a:pt x="65" y="3"/>
                    <a:pt x="43" y="1"/>
                  </a:cubicBezTo>
                  <a:cubicBezTo>
                    <a:pt x="21" y="0"/>
                    <a:pt x="2" y="17"/>
                    <a:pt x="1" y="39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0" y="63"/>
                    <a:pt x="17" y="81"/>
                    <a:pt x="4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20">
              <a:extLst>
                <a:ext uri="{FF2B5EF4-FFF2-40B4-BE49-F238E27FC236}">
                  <a16:creationId xmlns:a16="http://schemas.microsoft.com/office/drawing/2014/main" id="{0EFEF5E9-5EBF-49F2-B24D-3A97C0559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45750" y="1166813"/>
              <a:ext cx="163512" cy="155575"/>
            </a:xfrm>
            <a:custGeom>
              <a:avLst/>
              <a:gdLst>
                <a:gd name="T0" fmla="*/ 27 w 91"/>
                <a:gd name="T1" fmla="*/ 82 h 86"/>
                <a:gd name="T2" fmla="*/ 45 w 91"/>
                <a:gd name="T3" fmla="*/ 86 h 86"/>
                <a:gd name="T4" fmla="*/ 81 w 91"/>
                <a:gd name="T5" fmla="*/ 64 h 86"/>
                <a:gd name="T6" fmla="*/ 64 w 91"/>
                <a:gd name="T7" fmla="*/ 11 h 86"/>
                <a:gd name="T8" fmla="*/ 10 w 91"/>
                <a:gd name="T9" fmla="*/ 27 h 86"/>
                <a:gd name="T10" fmla="*/ 9 w 91"/>
                <a:gd name="T11" fmla="*/ 29 h 86"/>
                <a:gd name="T12" fmla="*/ 27 w 91"/>
                <a:gd name="T13" fmla="*/ 8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86">
                  <a:moveTo>
                    <a:pt x="27" y="82"/>
                  </a:moveTo>
                  <a:cubicBezTo>
                    <a:pt x="33" y="85"/>
                    <a:pt x="39" y="86"/>
                    <a:pt x="45" y="86"/>
                  </a:cubicBezTo>
                  <a:cubicBezTo>
                    <a:pt x="60" y="86"/>
                    <a:pt x="74" y="78"/>
                    <a:pt x="81" y="64"/>
                  </a:cubicBezTo>
                  <a:cubicBezTo>
                    <a:pt x="91" y="45"/>
                    <a:pt x="83" y="21"/>
                    <a:pt x="64" y="11"/>
                  </a:cubicBezTo>
                  <a:cubicBezTo>
                    <a:pt x="44" y="0"/>
                    <a:pt x="20" y="8"/>
                    <a:pt x="10" y="2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0" y="48"/>
                    <a:pt x="8" y="7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21">
              <a:extLst>
                <a:ext uri="{FF2B5EF4-FFF2-40B4-BE49-F238E27FC236}">
                  <a16:creationId xmlns:a16="http://schemas.microsoft.com/office/drawing/2014/main" id="{767F0CA1-11DC-4415-9508-57231F66E24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63225" y="987426"/>
              <a:ext cx="161925" cy="152400"/>
            </a:xfrm>
            <a:custGeom>
              <a:avLst/>
              <a:gdLst>
                <a:gd name="T0" fmla="*/ 21 w 90"/>
                <a:gd name="T1" fmla="*/ 77 h 85"/>
                <a:gd name="T2" fmla="*/ 45 w 90"/>
                <a:gd name="T3" fmla="*/ 85 h 85"/>
                <a:gd name="T4" fmla="*/ 77 w 90"/>
                <a:gd name="T5" fmla="*/ 70 h 85"/>
                <a:gd name="T6" fmla="*/ 71 w 90"/>
                <a:gd name="T7" fmla="*/ 14 h 85"/>
                <a:gd name="T8" fmla="*/ 15 w 90"/>
                <a:gd name="T9" fmla="*/ 20 h 85"/>
                <a:gd name="T10" fmla="*/ 14 w 90"/>
                <a:gd name="T11" fmla="*/ 21 h 85"/>
                <a:gd name="T12" fmla="*/ 21 w 90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85">
                  <a:moveTo>
                    <a:pt x="21" y="77"/>
                  </a:moveTo>
                  <a:cubicBezTo>
                    <a:pt x="28" y="83"/>
                    <a:pt x="37" y="85"/>
                    <a:pt x="45" y="85"/>
                  </a:cubicBezTo>
                  <a:cubicBezTo>
                    <a:pt x="57" y="85"/>
                    <a:pt x="69" y="80"/>
                    <a:pt x="77" y="70"/>
                  </a:cubicBezTo>
                  <a:cubicBezTo>
                    <a:pt x="90" y="53"/>
                    <a:pt x="88" y="28"/>
                    <a:pt x="71" y="14"/>
                  </a:cubicBezTo>
                  <a:cubicBezTo>
                    <a:pt x="54" y="0"/>
                    <a:pt x="29" y="3"/>
                    <a:pt x="15" y="20"/>
                  </a:cubicBezTo>
                  <a:cubicBezTo>
                    <a:pt x="15" y="20"/>
                    <a:pt x="14" y="20"/>
                    <a:pt x="14" y="21"/>
                  </a:cubicBezTo>
                  <a:cubicBezTo>
                    <a:pt x="0" y="38"/>
                    <a:pt x="3" y="63"/>
                    <a:pt x="2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22">
              <a:extLst>
                <a:ext uri="{FF2B5EF4-FFF2-40B4-BE49-F238E27FC236}">
                  <a16:creationId xmlns:a16="http://schemas.microsoft.com/office/drawing/2014/main" id="{B27A8EAB-8A40-4EE3-8BE9-BA1CB06E258C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56850" y="1804988"/>
              <a:ext cx="155575" cy="149225"/>
            </a:xfrm>
            <a:custGeom>
              <a:avLst/>
              <a:gdLst>
                <a:gd name="T0" fmla="*/ 36 w 86"/>
                <a:gd name="T1" fmla="*/ 4 h 83"/>
                <a:gd name="T2" fmla="*/ 4 w 86"/>
                <a:gd name="T3" fmla="*/ 50 h 83"/>
                <a:gd name="T4" fmla="*/ 4 w 86"/>
                <a:gd name="T5" fmla="*/ 51 h 83"/>
                <a:gd name="T6" fmla="*/ 43 w 86"/>
                <a:gd name="T7" fmla="*/ 83 h 83"/>
                <a:gd name="T8" fmla="*/ 50 w 86"/>
                <a:gd name="T9" fmla="*/ 83 h 83"/>
                <a:gd name="T10" fmla="*/ 82 w 86"/>
                <a:gd name="T11" fmla="*/ 36 h 83"/>
                <a:gd name="T12" fmla="*/ 36 w 86"/>
                <a:gd name="T13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83">
                  <a:moveTo>
                    <a:pt x="36" y="4"/>
                  </a:moveTo>
                  <a:cubicBezTo>
                    <a:pt x="14" y="8"/>
                    <a:pt x="0" y="28"/>
                    <a:pt x="4" y="50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7" y="70"/>
                    <a:pt x="24" y="83"/>
                    <a:pt x="43" y="83"/>
                  </a:cubicBezTo>
                  <a:cubicBezTo>
                    <a:pt x="45" y="83"/>
                    <a:pt x="48" y="83"/>
                    <a:pt x="50" y="83"/>
                  </a:cubicBezTo>
                  <a:cubicBezTo>
                    <a:pt x="72" y="79"/>
                    <a:pt x="86" y="58"/>
                    <a:pt x="82" y="36"/>
                  </a:cubicBezTo>
                  <a:cubicBezTo>
                    <a:pt x="78" y="14"/>
                    <a:pt x="58" y="0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23">
              <a:extLst>
                <a:ext uri="{FF2B5EF4-FFF2-40B4-BE49-F238E27FC236}">
                  <a16:creationId xmlns:a16="http://schemas.microsoft.com/office/drawing/2014/main" id="{CD84E9AA-9055-471E-ADF6-8B19493E45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853738" y="1322388"/>
              <a:ext cx="1154112" cy="933450"/>
            </a:xfrm>
            <a:custGeom>
              <a:avLst/>
              <a:gdLst>
                <a:gd name="T0" fmla="*/ 67 w 641"/>
                <a:gd name="T1" fmla="*/ 329 h 519"/>
                <a:gd name="T2" fmla="*/ 68 w 641"/>
                <a:gd name="T3" fmla="*/ 330 h 519"/>
                <a:gd name="T4" fmla="*/ 296 w 641"/>
                <a:gd name="T5" fmla="*/ 510 h 519"/>
                <a:gd name="T6" fmla="*/ 321 w 641"/>
                <a:gd name="T7" fmla="*/ 519 h 519"/>
                <a:gd name="T8" fmla="*/ 346 w 641"/>
                <a:gd name="T9" fmla="*/ 510 h 519"/>
                <a:gd name="T10" fmla="*/ 583 w 641"/>
                <a:gd name="T11" fmla="*/ 321 h 519"/>
                <a:gd name="T12" fmla="*/ 586 w 641"/>
                <a:gd name="T13" fmla="*/ 318 h 519"/>
                <a:gd name="T14" fmla="*/ 641 w 641"/>
                <a:gd name="T15" fmla="*/ 186 h 519"/>
                <a:gd name="T16" fmla="*/ 455 w 641"/>
                <a:gd name="T17" fmla="*/ 0 h 519"/>
                <a:gd name="T18" fmla="*/ 321 w 641"/>
                <a:gd name="T19" fmla="*/ 58 h 519"/>
                <a:gd name="T20" fmla="*/ 186 w 641"/>
                <a:gd name="T21" fmla="*/ 0 h 519"/>
                <a:gd name="T22" fmla="*/ 0 w 641"/>
                <a:gd name="T23" fmla="*/ 186 h 519"/>
                <a:gd name="T24" fmla="*/ 67 w 641"/>
                <a:gd name="T25" fmla="*/ 329 h 519"/>
                <a:gd name="T26" fmla="*/ 186 w 641"/>
                <a:gd name="T27" fmla="*/ 80 h 519"/>
                <a:gd name="T28" fmla="*/ 284 w 641"/>
                <a:gd name="T29" fmla="*/ 146 h 519"/>
                <a:gd name="T30" fmla="*/ 321 w 641"/>
                <a:gd name="T31" fmla="*/ 170 h 519"/>
                <a:gd name="T32" fmla="*/ 358 w 641"/>
                <a:gd name="T33" fmla="*/ 146 h 519"/>
                <a:gd name="T34" fmla="*/ 455 w 641"/>
                <a:gd name="T35" fmla="*/ 80 h 519"/>
                <a:gd name="T36" fmla="*/ 561 w 641"/>
                <a:gd name="T37" fmla="*/ 186 h 519"/>
                <a:gd name="T38" fmla="*/ 531 w 641"/>
                <a:gd name="T39" fmla="*/ 260 h 519"/>
                <a:gd name="T40" fmla="*/ 321 w 641"/>
                <a:gd name="T41" fmla="*/ 428 h 519"/>
                <a:gd name="T42" fmla="*/ 118 w 641"/>
                <a:gd name="T43" fmla="*/ 267 h 519"/>
                <a:gd name="T44" fmla="*/ 80 w 641"/>
                <a:gd name="T45" fmla="*/ 186 h 519"/>
                <a:gd name="T46" fmla="*/ 186 w 641"/>
                <a:gd name="T47" fmla="*/ 8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1" h="519">
                  <a:moveTo>
                    <a:pt x="67" y="329"/>
                  </a:moveTo>
                  <a:cubicBezTo>
                    <a:pt x="67" y="329"/>
                    <a:pt x="68" y="329"/>
                    <a:pt x="68" y="330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303" y="516"/>
                    <a:pt x="312" y="519"/>
                    <a:pt x="321" y="519"/>
                  </a:cubicBezTo>
                  <a:cubicBezTo>
                    <a:pt x="329" y="519"/>
                    <a:pt x="338" y="516"/>
                    <a:pt x="346" y="510"/>
                  </a:cubicBezTo>
                  <a:cubicBezTo>
                    <a:pt x="583" y="321"/>
                    <a:pt x="583" y="321"/>
                    <a:pt x="583" y="321"/>
                  </a:cubicBezTo>
                  <a:cubicBezTo>
                    <a:pt x="584" y="320"/>
                    <a:pt x="585" y="319"/>
                    <a:pt x="586" y="318"/>
                  </a:cubicBezTo>
                  <a:cubicBezTo>
                    <a:pt x="622" y="283"/>
                    <a:pt x="641" y="236"/>
                    <a:pt x="641" y="186"/>
                  </a:cubicBezTo>
                  <a:cubicBezTo>
                    <a:pt x="641" y="84"/>
                    <a:pt x="558" y="0"/>
                    <a:pt x="455" y="0"/>
                  </a:cubicBezTo>
                  <a:cubicBezTo>
                    <a:pt x="403" y="0"/>
                    <a:pt x="355" y="22"/>
                    <a:pt x="321" y="58"/>
                  </a:cubicBezTo>
                  <a:cubicBezTo>
                    <a:pt x="286" y="22"/>
                    <a:pt x="238" y="0"/>
                    <a:pt x="186" y="0"/>
                  </a:cubicBezTo>
                  <a:cubicBezTo>
                    <a:pt x="84" y="0"/>
                    <a:pt x="0" y="84"/>
                    <a:pt x="0" y="186"/>
                  </a:cubicBezTo>
                  <a:cubicBezTo>
                    <a:pt x="0" y="241"/>
                    <a:pt x="25" y="293"/>
                    <a:pt x="67" y="329"/>
                  </a:cubicBezTo>
                  <a:close/>
                  <a:moveTo>
                    <a:pt x="186" y="80"/>
                  </a:moveTo>
                  <a:cubicBezTo>
                    <a:pt x="229" y="80"/>
                    <a:pt x="267" y="106"/>
                    <a:pt x="284" y="146"/>
                  </a:cubicBezTo>
                  <a:cubicBezTo>
                    <a:pt x="290" y="161"/>
                    <a:pt x="304" y="170"/>
                    <a:pt x="321" y="170"/>
                  </a:cubicBezTo>
                  <a:cubicBezTo>
                    <a:pt x="337" y="170"/>
                    <a:pt x="351" y="161"/>
                    <a:pt x="358" y="146"/>
                  </a:cubicBezTo>
                  <a:cubicBezTo>
                    <a:pt x="374" y="106"/>
                    <a:pt x="412" y="80"/>
                    <a:pt x="455" y="80"/>
                  </a:cubicBezTo>
                  <a:cubicBezTo>
                    <a:pt x="514" y="80"/>
                    <a:pt x="561" y="128"/>
                    <a:pt x="561" y="186"/>
                  </a:cubicBezTo>
                  <a:cubicBezTo>
                    <a:pt x="561" y="214"/>
                    <a:pt x="551" y="240"/>
                    <a:pt x="531" y="260"/>
                  </a:cubicBezTo>
                  <a:cubicBezTo>
                    <a:pt x="321" y="428"/>
                    <a:pt x="321" y="428"/>
                    <a:pt x="321" y="428"/>
                  </a:cubicBezTo>
                  <a:cubicBezTo>
                    <a:pt x="118" y="267"/>
                    <a:pt x="118" y="267"/>
                    <a:pt x="118" y="267"/>
                  </a:cubicBezTo>
                  <a:cubicBezTo>
                    <a:pt x="94" y="247"/>
                    <a:pt x="80" y="218"/>
                    <a:pt x="80" y="186"/>
                  </a:cubicBezTo>
                  <a:cubicBezTo>
                    <a:pt x="80" y="128"/>
                    <a:pt x="128" y="80"/>
                    <a:pt x="18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Oval 24">
              <a:extLst>
                <a:ext uri="{FF2B5EF4-FFF2-40B4-BE49-F238E27FC236}">
                  <a16:creationId xmlns:a16="http://schemas.microsoft.com/office/drawing/2014/main" id="{230ADE19-1B65-4B4C-956F-7A8772D127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83738" y="269557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Oval 25">
              <a:extLst>
                <a:ext uri="{FF2B5EF4-FFF2-40B4-BE49-F238E27FC236}">
                  <a16:creationId xmlns:a16="http://schemas.microsoft.com/office/drawing/2014/main" id="{2D0FCD75-D687-40EF-8579-79B83DAC280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3125450" y="581026"/>
              <a:ext cx="144462" cy="144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2" name="TextBox 16">
            <a:extLst>
              <a:ext uri="{FF2B5EF4-FFF2-40B4-BE49-F238E27FC236}">
                <a16:creationId xmlns:a16="http://schemas.microsoft.com/office/drawing/2014/main" id="{2FA8BAC0-9660-48E6-AC0C-729F85CE804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701723" y="2242190"/>
            <a:ext cx="1367072" cy="19139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HEALTHY HOUSING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FAEF7FE8-2B59-4D16-A0A5-21A34B34D63C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841148" y="2673350"/>
            <a:ext cx="1758117" cy="1758116"/>
            <a:chOff x="998491" y="2684999"/>
            <a:chExt cx="1871653" cy="1871652"/>
          </a:xfrm>
        </p:grpSpPr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AF9AD1E8-D124-4618-891A-6E309EC89122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998491" y="2684999"/>
              <a:ext cx="1871653" cy="1871652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00" dirty="0"/>
            </a:p>
          </p:txBody>
        </p:sp>
        <p:sp>
          <p:nvSpPr>
            <p:cNvPr id="189" name="Star: 5 Points 188">
              <a:extLst>
                <a:ext uri="{FF2B5EF4-FFF2-40B4-BE49-F238E27FC236}">
                  <a16:creationId xmlns:a16="http://schemas.microsoft.com/office/drawing/2014/main" id="{77416269-98C2-409B-9C8B-72928FC45DB6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1333506" y="3021198"/>
              <a:ext cx="252000" cy="252000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41" name="Fußzeilenplatzhalter 11">
            <a:extLst>
              <a:ext uri="{FF2B5EF4-FFF2-40B4-BE49-F238E27FC236}">
                <a16:creationId xmlns:a16="http://schemas.microsoft.com/office/drawing/2014/main" id="{B212CE5A-56C8-41E9-ADD2-9759D6F26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7" name="Rectangle 23">
            <a:extLst>
              <a:ext uri="{FF2B5EF4-FFF2-40B4-BE49-F238E27FC236}">
                <a16:creationId xmlns:a16="http://schemas.microsoft.com/office/drawing/2014/main" id="{79FF076E-786B-4EF4-BC59-88DAC6F6A9F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643437" y="1769352"/>
            <a:ext cx="3694017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tx1"/>
                </a:solidFill>
              </a:rPr>
              <a:t>LEGAL CERTAINTY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9" name="Rectangle 23">
            <a:extLst>
              <a:ext uri="{FF2B5EF4-FFF2-40B4-BE49-F238E27FC236}">
                <a16:creationId xmlns:a16="http://schemas.microsoft.com/office/drawing/2014/main" id="{4E790D8F-B401-4044-B688-31DBB93D7180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643438" y="234541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specifications from the energy law for real estat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heating costs regulations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smoke detector requirements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drinking water regulations</a:t>
            </a:r>
          </a:p>
          <a:p>
            <a:pPr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</a:pPr>
            <a:endParaRPr lang="en-GB" sz="1100" dirty="0">
              <a:solidFill>
                <a:schemeClr val="tx1"/>
              </a:solidFill>
              <a:latin typeface="Lucida Sans Techem" panose="020B0602040502020204" pitchFamily="34" charset="0"/>
            </a:endParaRPr>
          </a:p>
        </p:txBody>
      </p:sp>
      <p:sp>
        <p:nvSpPr>
          <p:cNvPr id="74" name="Rectangle 23">
            <a:extLst>
              <a:ext uri="{FF2B5EF4-FFF2-40B4-BE49-F238E27FC236}">
                <a16:creationId xmlns:a16="http://schemas.microsoft.com/office/drawing/2014/main" id="{2746F257-7E69-42CF-8F5D-8BE25C8A6D67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43437" y="2012305"/>
            <a:ext cx="4500563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because </a:t>
            </a:r>
            <a:r>
              <a:rPr lang="en-GB" sz="1200" dirty="0" err="1">
                <a:solidFill>
                  <a:schemeClr val="tx1"/>
                </a:solidFill>
              </a:rPr>
              <a:t>Techem</a:t>
            </a:r>
            <a:r>
              <a:rPr lang="en-GB" sz="1200" dirty="0">
                <a:solidFill>
                  <a:schemeClr val="tx1"/>
                </a:solidFill>
              </a:rPr>
              <a:t> solutions comply with: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7943A1-F50B-4530-A1FE-32A902A4410C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1820993" y="2110448"/>
            <a:ext cx="2342374" cy="2342372"/>
            <a:chOff x="1820993" y="2110448"/>
            <a:chExt cx="2342374" cy="2342372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12239C1-129F-45E6-8375-96127A8CA9B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820993" y="2110448"/>
              <a:ext cx="2342374" cy="2342372"/>
            </a:xfrm>
            <a:prstGeom prst="ellipse">
              <a:avLst/>
            </a:prstGeom>
            <a:solidFill>
              <a:schemeClr val="accent1"/>
            </a:solidFill>
            <a:ln w="15875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Arrow: Right 4">
              <a:extLst>
                <a:ext uri="{FF2B5EF4-FFF2-40B4-BE49-F238E27FC236}">
                  <a16:creationId xmlns:a16="http://schemas.microsoft.com/office/drawing/2014/main" id="{A7308399-138F-4084-AB87-8084894D6FBD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2993720" y="2352577"/>
              <a:ext cx="475641" cy="200939"/>
            </a:xfrm>
            <a:prstGeom prst="right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0C3D4981-4D8F-4C2F-811B-598D9CB0E1C2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2667794" y="2859563"/>
            <a:ext cx="648772" cy="649660"/>
            <a:chOff x="13986666" y="290454"/>
            <a:chExt cx="4555522" cy="4561771"/>
          </a:xfrm>
          <a:solidFill>
            <a:schemeClr val="bg1"/>
          </a:solidFill>
        </p:grpSpPr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46D35BC6-7F6E-403E-B77F-7BE997176E70}"/>
                </a:ext>
              </a:extLst>
            </p:cNvPr>
            <p:cNvSpPr/>
            <p:nvPr/>
          </p:nvSpPr>
          <p:spPr bwMode="gray">
            <a:xfrm>
              <a:off x="13986666" y="290549"/>
              <a:ext cx="1962150" cy="1971675"/>
            </a:xfrm>
            <a:custGeom>
              <a:avLst/>
              <a:gdLst>
                <a:gd name="connsiteX0" fmla="*/ 1923955 w 1962150"/>
                <a:gd name="connsiteY0" fmla="*/ 817398 h 1971675"/>
                <a:gd name="connsiteX1" fmla="*/ 1790986 w 1962150"/>
                <a:gd name="connsiteY1" fmla="*/ 758724 h 1971675"/>
                <a:gd name="connsiteX2" fmla="*/ 1771079 w 1962150"/>
                <a:gd name="connsiteY2" fmla="*/ 694907 h 1971675"/>
                <a:gd name="connsiteX3" fmla="*/ 1844993 w 1962150"/>
                <a:gd name="connsiteY3" fmla="*/ 567653 h 1971675"/>
                <a:gd name="connsiteX4" fmla="*/ 1845564 w 1962150"/>
                <a:gd name="connsiteY4" fmla="*/ 492310 h 1971675"/>
                <a:gd name="connsiteX5" fmla="*/ 1715929 w 1962150"/>
                <a:gd name="connsiteY5" fmla="*/ 311144 h 1971675"/>
                <a:gd name="connsiteX6" fmla="*/ 1642110 w 1962150"/>
                <a:gd name="connsiteY6" fmla="*/ 287713 h 1971675"/>
                <a:gd name="connsiteX7" fmla="*/ 1502188 w 1962150"/>
                <a:gd name="connsiteY7" fmla="*/ 319717 h 1971675"/>
                <a:gd name="connsiteX8" fmla="*/ 1451134 w 1962150"/>
                <a:gd name="connsiteY8" fmla="*/ 282093 h 1971675"/>
                <a:gd name="connsiteX9" fmla="*/ 1437608 w 1962150"/>
                <a:gd name="connsiteY9" fmla="*/ 133979 h 1971675"/>
                <a:gd name="connsiteX10" fmla="*/ 1393698 w 1962150"/>
                <a:gd name="connsiteY10" fmla="*/ 71876 h 1971675"/>
                <a:gd name="connsiteX11" fmla="*/ 1185005 w 1962150"/>
                <a:gd name="connsiteY11" fmla="*/ 1772 h 1971675"/>
                <a:gd name="connsiteX12" fmla="*/ 1111663 w 1962150"/>
                <a:gd name="connsiteY12" fmla="*/ 26633 h 1971675"/>
                <a:gd name="connsiteX13" fmla="*/ 1014032 w 1962150"/>
                <a:gd name="connsiteY13" fmla="*/ 139980 h 1971675"/>
                <a:gd name="connsiteX14" fmla="*/ 955358 w 1962150"/>
                <a:gd name="connsiteY14" fmla="*/ 139980 h 1971675"/>
                <a:gd name="connsiteX15" fmla="*/ 857726 w 1962150"/>
                <a:gd name="connsiteY15" fmla="*/ 26537 h 1971675"/>
                <a:gd name="connsiteX16" fmla="*/ 784384 w 1962150"/>
                <a:gd name="connsiteY16" fmla="*/ 1677 h 1971675"/>
                <a:gd name="connsiteX17" fmla="*/ 575691 w 1962150"/>
                <a:gd name="connsiteY17" fmla="*/ 71781 h 1971675"/>
                <a:gd name="connsiteX18" fmla="*/ 531781 w 1962150"/>
                <a:gd name="connsiteY18" fmla="*/ 133979 h 1971675"/>
                <a:gd name="connsiteX19" fmla="*/ 518160 w 1962150"/>
                <a:gd name="connsiteY19" fmla="*/ 281998 h 1971675"/>
                <a:gd name="connsiteX20" fmla="*/ 467106 w 1962150"/>
                <a:gd name="connsiteY20" fmla="*/ 319622 h 1971675"/>
                <a:gd name="connsiteX21" fmla="*/ 327184 w 1962150"/>
                <a:gd name="connsiteY21" fmla="*/ 287618 h 1971675"/>
                <a:gd name="connsiteX22" fmla="*/ 253365 w 1962150"/>
                <a:gd name="connsiteY22" fmla="*/ 311049 h 1971675"/>
                <a:gd name="connsiteX23" fmla="*/ 123730 w 1962150"/>
                <a:gd name="connsiteY23" fmla="*/ 492215 h 1971675"/>
                <a:gd name="connsiteX24" fmla="*/ 124301 w 1962150"/>
                <a:gd name="connsiteY24" fmla="*/ 567557 h 1971675"/>
                <a:gd name="connsiteX25" fmla="*/ 198215 w 1962150"/>
                <a:gd name="connsiteY25" fmla="*/ 694811 h 1971675"/>
                <a:gd name="connsiteX26" fmla="*/ 178308 w 1962150"/>
                <a:gd name="connsiteY26" fmla="*/ 758629 h 1971675"/>
                <a:gd name="connsiteX27" fmla="*/ 45434 w 1962150"/>
                <a:gd name="connsiteY27" fmla="*/ 817398 h 1971675"/>
                <a:gd name="connsiteX28" fmla="*/ 0 w 1962150"/>
                <a:gd name="connsiteY28" fmla="*/ 887121 h 1971675"/>
                <a:gd name="connsiteX29" fmla="*/ 0 w 1962150"/>
                <a:gd name="connsiteY29" fmla="*/ 1094100 h 1971675"/>
                <a:gd name="connsiteX30" fmla="*/ 45434 w 1962150"/>
                <a:gd name="connsiteY30" fmla="*/ 1163823 h 1971675"/>
                <a:gd name="connsiteX31" fmla="*/ 178403 w 1962150"/>
                <a:gd name="connsiteY31" fmla="*/ 1222497 h 1971675"/>
                <a:gd name="connsiteX32" fmla="*/ 198311 w 1962150"/>
                <a:gd name="connsiteY32" fmla="*/ 1286314 h 1971675"/>
                <a:gd name="connsiteX33" fmla="*/ 124397 w 1962150"/>
                <a:gd name="connsiteY33" fmla="*/ 1413568 h 1971675"/>
                <a:gd name="connsiteX34" fmla="*/ 123825 w 1962150"/>
                <a:gd name="connsiteY34" fmla="*/ 1488911 h 1971675"/>
                <a:gd name="connsiteX35" fmla="*/ 253460 w 1962150"/>
                <a:gd name="connsiteY35" fmla="*/ 1670076 h 1971675"/>
                <a:gd name="connsiteX36" fmla="*/ 327279 w 1962150"/>
                <a:gd name="connsiteY36" fmla="*/ 1693508 h 1971675"/>
                <a:gd name="connsiteX37" fmla="*/ 467201 w 1962150"/>
                <a:gd name="connsiteY37" fmla="*/ 1661504 h 1971675"/>
                <a:gd name="connsiteX38" fmla="*/ 518255 w 1962150"/>
                <a:gd name="connsiteY38" fmla="*/ 1699128 h 1971675"/>
                <a:gd name="connsiteX39" fmla="*/ 531781 w 1962150"/>
                <a:gd name="connsiteY39" fmla="*/ 1847241 h 1971675"/>
                <a:gd name="connsiteX40" fmla="*/ 575691 w 1962150"/>
                <a:gd name="connsiteY40" fmla="*/ 1909344 h 1971675"/>
                <a:gd name="connsiteX41" fmla="*/ 784384 w 1962150"/>
                <a:gd name="connsiteY41" fmla="*/ 1979448 h 1971675"/>
                <a:gd name="connsiteX42" fmla="*/ 857726 w 1962150"/>
                <a:gd name="connsiteY42" fmla="*/ 1954588 h 1971675"/>
                <a:gd name="connsiteX43" fmla="*/ 955358 w 1962150"/>
                <a:gd name="connsiteY43" fmla="*/ 1841241 h 1971675"/>
                <a:gd name="connsiteX44" fmla="*/ 1014032 w 1962150"/>
                <a:gd name="connsiteY44" fmla="*/ 1841241 h 1971675"/>
                <a:gd name="connsiteX45" fmla="*/ 1111663 w 1962150"/>
                <a:gd name="connsiteY45" fmla="*/ 1954588 h 1971675"/>
                <a:gd name="connsiteX46" fmla="*/ 1169384 w 1962150"/>
                <a:gd name="connsiteY46" fmla="*/ 1981068 h 1971675"/>
                <a:gd name="connsiteX47" fmla="*/ 1185005 w 1962150"/>
                <a:gd name="connsiteY47" fmla="*/ 1979448 h 1971675"/>
                <a:gd name="connsiteX48" fmla="*/ 1393698 w 1962150"/>
                <a:gd name="connsiteY48" fmla="*/ 1909344 h 1971675"/>
                <a:gd name="connsiteX49" fmla="*/ 1437608 w 1962150"/>
                <a:gd name="connsiteY49" fmla="*/ 1847146 h 1971675"/>
                <a:gd name="connsiteX50" fmla="*/ 1451134 w 1962150"/>
                <a:gd name="connsiteY50" fmla="*/ 1699128 h 1971675"/>
                <a:gd name="connsiteX51" fmla="*/ 1502188 w 1962150"/>
                <a:gd name="connsiteY51" fmla="*/ 1661504 h 1971675"/>
                <a:gd name="connsiteX52" fmla="*/ 1642110 w 1962150"/>
                <a:gd name="connsiteY52" fmla="*/ 1693508 h 1971675"/>
                <a:gd name="connsiteX53" fmla="*/ 1715929 w 1962150"/>
                <a:gd name="connsiteY53" fmla="*/ 1670076 h 1971675"/>
                <a:gd name="connsiteX54" fmla="*/ 1845564 w 1962150"/>
                <a:gd name="connsiteY54" fmla="*/ 1488911 h 1971675"/>
                <a:gd name="connsiteX55" fmla="*/ 1844993 w 1962150"/>
                <a:gd name="connsiteY55" fmla="*/ 1413568 h 1971675"/>
                <a:gd name="connsiteX56" fmla="*/ 1771079 w 1962150"/>
                <a:gd name="connsiteY56" fmla="*/ 1286314 h 1971675"/>
                <a:gd name="connsiteX57" fmla="*/ 1790986 w 1962150"/>
                <a:gd name="connsiteY57" fmla="*/ 1222497 h 1971675"/>
                <a:gd name="connsiteX58" fmla="*/ 1923955 w 1962150"/>
                <a:gd name="connsiteY58" fmla="*/ 1163823 h 1971675"/>
                <a:gd name="connsiteX59" fmla="*/ 1969389 w 1962150"/>
                <a:gd name="connsiteY59" fmla="*/ 1094100 h 1971675"/>
                <a:gd name="connsiteX60" fmla="*/ 1969389 w 1962150"/>
                <a:gd name="connsiteY60" fmla="*/ 887121 h 1971675"/>
                <a:gd name="connsiteX61" fmla="*/ 1923955 w 1962150"/>
                <a:gd name="connsiteY61" fmla="*/ 817398 h 1971675"/>
                <a:gd name="connsiteX62" fmla="*/ 1816894 w 1962150"/>
                <a:gd name="connsiteY62" fmla="*/ 1044474 h 1971675"/>
                <a:gd name="connsiteX63" fmla="*/ 1695260 w 1962150"/>
                <a:gd name="connsiteY63" fmla="*/ 1098100 h 1971675"/>
                <a:gd name="connsiteX64" fmla="*/ 1651826 w 1962150"/>
                <a:gd name="connsiteY64" fmla="*/ 1150773 h 1971675"/>
                <a:gd name="connsiteX65" fmla="*/ 1616583 w 1962150"/>
                <a:gd name="connsiteY65" fmla="*/ 1263835 h 1971675"/>
                <a:gd name="connsiteX66" fmla="*/ 1621060 w 1962150"/>
                <a:gd name="connsiteY66" fmla="*/ 1331272 h 1971675"/>
                <a:gd name="connsiteX67" fmla="*/ 1690783 w 1962150"/>
                <a:gd name="connsiteY67" fmla="*/ 1451478 h 1971675"/>
                <a:gd name="connsiteX68" fmla="*/ 1631156 w 1962150"/>
                <a:gd name="connsiteY68" fmla="*/ 1534726 h 1971675"/>
                <a:gd name="connsiteX69" fmla="*/ 1499426 w 1962150"/>
                <a:gd name="connsiteY69" fmla="*/ 1504627 h 1971675"/>
                <a:gd name="connsiteX70" fmla="*/ 1431893 w 1962150"/>
                <a:gd name="connsiteY70" fmla="*/ 1521772 h 1971675"/>
                <a:gd name="connsiteX71" fmla="*/ 1338453 w 1962150"/>
                <a:gd name="connsiteY71" fmla="*/ 1590924 h 1971675"/>
                <a:gd name="connsiteX72" fmla="*/ 1302734 w 1962150"/>
                <a:gd name="connsiteY72" fmla="*/ 1648740 h 1971675"/>
                <a:gd name="connsiteX73" fmla="*/ 1289971 w 1962150"/>
                <a:gd name="connsiteY73" fmla="*/ 1788567 h 1971675"/>
                <a:gd name="connsiteX74" fmla="*/ 1196816 w 1962150"/>
                <a:gd name="connsiteY74" fmla="*/ 1820190 h 1971675"/>
                <a:gd name="connsiteX75" fmla="*/ 1106710 w 1962150"/>
                <a:gd name="connsiteY75" fmla="*/ 1715606 h 1971675"/>
                <a:gd name="connsiteX76" fmla="*/ 1048988 w 1962150"/>
                <a:gd name="connsiteY76" fmla="*/ 1689126 h 1971675"/>
                <a:gd name="connsiteX77" fmla="*/ 920401 w 1962150"/>
                <a:gd name="connsiteY77" fmla="*/ 1689126 h 1971675"/>
                <a:gd name="connsiteX78" fmla="*/ 862679 w 1962150"/>
                <a:gd name="connsiteY78" fmla="*/ 1715606 h 1971675"/>
                <a:gd name="connsiteX79" fmla="*/ 772573 w 1962150"/>
                <a:gd name="connsiteY79" fmla="*/ 1820190 h 1971675"/>
                <a:gd name="connsiteX80" fmla="*/ 679323 w 1962150"/>
                <a:gd name="connsiteY80" fmla="*/ 1788567 h 1971675"/>
                <a:gd name="connsiteX81" fmla="*/ 666560 w 1962150"/>
                <a:gd name="connsiteY81" fmla="*/ 1648550 h 1971675"/>
                <a:gd name="connsiteX82" fmla="*/ 630841 w 1962150"/>
                <a:gd name="connsiteY82" fmla="*/ 1590828 h 1971675"/>
                <a:gd name="connsiteX83" fmla="*/ 537401 w 1962150"/>
                <a:gd name="connsiteY83" fmla="*/ 1521772 h 1971675"/>
                <a:gd name="connsiteX84" fmla="*/ 469868 w 1962150"/>
                <a:gd name="connsiteY84" fmla="*/ 1504627 h 1971675"/>
                <a:gd name="connsiteX85" fmla="*/ 338138 w 1962150"/>
                <a:gd name="connsiteY85" fmla="*/ 1534726 h 1971675"/>
                <a:gd name="connsiteX86" fmla="*/ 278511 w 1962150"/>
                <a:gd name="connsiteY86" fmla="*/ 1451478 h 1971675"/>
                <a:gd name="connsiteX87" fmla="*/ 348234 w 1962150"/>
                <a:gd name="connsiteY87" fmla="*/ 1331272 h 1971675"/>
                <a:gd name="connsiteX88" fmla="*/ 352711 w 1962150"/>
                <a:gd name="connsiteY88" fmla="*/ 1263835 h 1971675"/>
                <a:gd name="connsiteX89" fmla="*/ 317468 w 1962150"/>
                <a:gd name="connsiteY89" fmla="*/ 1150773 h 1971675"/>
                <a:gd name="connsiteX90" fmla="*/ 274034 w 1962150"/>
                <a:gd name="connsiteY90" fmla="*/ 1098100 h 1971675"/>
                <a:gd name="connsiteX91" fmla="*/ 152400 w 1962150"/>
                <a:gd name="connsiteY91" fmla="*/ 1044474 h 1971675"/>
                <a:gd name="connsiteX92" fmla="*/ 152400 w 1962150"/>
                <a:gd name="connsiteY92" fmla="*/ 936746 h 1971675"/>
                <a:gd name="connsiteX93" fmla="*/ 274034 w 1962150"/>
                <a:gd name="connsiteY93" fmla="*/ 883121 h 1971675"/>
                <a:gd name="connsiteX94" fmla="*/ 317468 w 1962150"/>
                <a:gd name="connsiteY94" fmla="*/ 830448 h 1971675"/>
                <a:gd name="connsiteX95" fmla="*/ 352711 w 1962150"/>
                <a:gd name="connsiteY95" fmla="*/ 717386 h 1971675"/>
                <a:gd name="connsiteX96" fmla="*/ 348234 w 1962150"/>
                <a:gd name="connsiteY96" fmla="*/ 649949 h 1971675"/>
                <a:gd name="connsiteX97" fmla="*/ 278511 w 1962150"/>
                <a:gd name="connsiteY97" fmla="*/ 529743 h 1971675"/>
                <a:gd name="connsiteX98" fmla="*/ 338138 w 1962150"/>
                <a:gd name="connsiteY98" fmla="*/ 446495 h 1971675"/>
                <a:gd name="connsiteX99" fmla="*/ 469868 w 1962150"/>
                <a:gd name="connsiteY99" fmla="*/ 476594 h 1971675"/>
                <a:gd name="connsiteX100" fmla="*/ 537401 w 1962150"/>
                <a:gd name="connsiteY100" fmla="*/ 459449 h 1971675"/>
                <a:gd name="connsiteX101" fmla="*/ 630841 w 1962150"/>
                <a:gd name="connsiteY101" fmla="*/ 390297 h 1971675"/>
                <a:gd name="connsiteX102" fmla="*/ 666560 w 1962150"/>
                <a:gd name="connsiteY102" fmla="*/ 332480 h 1971675"/>
                <a:gd name="connsiteX103" fmla="*/ 679323 w 1962150"/>
                <a:gd name="connsiteY103" fmla="*/ 192653 h 1971675"/>
                <a:gd name="connsiteX104" fmla="*/ 772478 w 1962150"/>
                <a:gd name="connsiteY104" fmla="*/ 161030 h 1971675"/>
                <a:gd name="connsiteX105" fmla="*/ 862584 w 1962150"/>
                <a:gd name="connsiteY105" fmla="*/ 265615 h 1971675"/>
                <a:gd name="connsiteX106" fmla="*/ 920306 w 1962150"/>
                <a:gd name="connsiteY106" fmla="*/ 292094 h 1971675"/>
                <a:gd name="connsiteX107" fmla="*/ 1048703 w 1962150"/>
                <a:gd name="connsiteY107" fmla="*/ 292094 h 1971675"/>
                <a:gd name="connsiteX108" fmla="*/ 1106424 w 1962150"/>
                <a:gd name="connsiteY108" fmla="*/ 265615 h 1971675"/>
                <a:gd name="connsiteX109" fmla="*/ 1196531 w 1962150"/>
                <a:gd name="connsiteY109" fmla="*/ 161030 h 1971675"/>
                <a:gd name="connsiteX110" fmla="*/ 1289780 w 1962150"/>
                <a:gd name="connsiteY110" fmla="*/ 192653 h 1971675"/>
                <a:gd name="connsiteX111" fmla="*/ 1302544 w 1962150"/>
                <a:gd name="connsiteY111" fmla="*/ 332576 h 1971675"/>
                <a:gd name="connsiteX112" fmla="*/ 1338263 w 1962150"/>
                <a:gd name="connsiteY112" fmla="*/ 390297 h 1971675"/>
                <a:gd name="connsiteX113" fmla="*/ 1431703 w 1962150"/>
                <a:gd name="connsiteY113" fmla="*/ 459353 h 1971675"/>
                <a:gd name="connsiteX114" fmla="*/ 1499235 w 1962150"/>
                <a:gd name="connsiteY114" fmla="*/ 476498 h 1971675"/>
                <a:gd name="connsiteX115" fmla="*/ 1630966 w 1962150"/>
                <a:gd name="connsiteY115" fmla="*/ 446399 h 1971675"/>
                <a:gd name="connsiteX116" fmla="*/ 1690592 w 1962150"/>
                <a:gd name="connsiteY116" fmla="*/ 529648 h 1971675"/>
                <a:gd name="connsiteX117" fmla="*/ 1620869 w 1962150"/>
                <a:gd name="connsiteY117" fmla="*/ 649854 h 1971675"/>
                <a:gd name="connsiteX118" fmla="*/ 1616393 w 1962150"/>
                <a:gd name="connsiteY118" fmla="*/ 717290 h 1971675"/>
                <a:gd name="connsiteX119" fmla="*/ 1651635 w 1962150"/>
                <a:gd name="connsiteY119" fmla="*/ 830352 h 1971675"/>
                <a:gd name="connsiteX120" fmla="*/ 1695069 w 1962150"/>
                <a:gd name="connsiteY120" fmla="*/ 883025 h 1971675"/>
                <a:gd name="connsiteX121" fmla="*/ 1816703 w 1962150"/>
                <a:gd name="connsiteY121" fmla="*/ 936651 h 1971675"/>
                <a:gd name="connsiteX122" fmla="*/ 1816894 w 1962150"/>
                <a:gd name="connsiteY122" fmla="*/ 1044474 h 1971675"/>
                <a:gd name="connsiteX123" fmla="*/ 1816894 w 1962150"/>
                <a:gd name="connsiteY123" fmla="*/ 1044474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1962150" h="1971675">
                  <a:moveTo>
                    <a:pt x="1923955" y="817398"/>
                  </a:moveTo>
                  <a:lnTo>
                    <a:pt x="1790986" y="758724"/>
                  </a:lnTo>
                  <a:cubicBezTo>
                    <a:pt x="1784985" y="736436"/>
                    <a:pt x="1778413" y="715290"/>
                    <a:pt x="1771079" y="694907"/>
                  </a:cubicBezTo>
                  <a:lnTo>
                    <a:pt x="1844993" y="567653"/>
                  </a:lnTo>
                  <a:cubicBezTo>
                    <a:pt x="1858423" y="544412"/>
                    <a:pt x="1858709" y="515741"/>
                    <a:pt x="1845564" y="492310"/>
                  </a:cubicBezTo>
                  <a:cubicBezTo>
                    <a:pt x="1809179" y="427349"/>
                    <a:pt x="1765649" y="366580"/>
                    <a:pt x="1715929" y="311144"/>
                  </a:cubicBezTo>
                  <a:cubicBezTo>
                    <a:pt x="1697450" y="290380"/>
                    <a:pt x="1669161" y="281426"/>
                    <a:pt x="1642110" y="287713"/>
                  </a:cubicBezTo>
                  <a:lnTo>
                    <a:pt x="1502188" y="319717"/>
                  </a:lnTo>
                  <a:cubicBezTo>
                    <a:pt x="1485900" y="306668"/>
                    <a:pt x="1468850" y="294190"/>
                    <a:pt x="1451134" y="282093"/>
                  </a:cubicBezTo>
                  <a:lnTo>
                    <a:pt x="1437608" y="133979"/>
                  </a:lnTo>
                  <a:cubicBezTo>
                    <a:pt x="1435132" y="106928"/>
                    <a:pt x="1418368" y="83211"/>
                    <a:pt x="1393698" y="71876"/>
                  </a:cubicBezTo>
                  <a:cubicBezTo>
                    <a:pt x="1327023" y="40634"/>
                    <a:pt x="1257014" y="17108"/>
                    <a:pt x="1185005" y="1772"/>
                  </a:cubicBezTo>
                  <a:cubicBezTo>
                    <a:pt x="1157859" y="-4038"/>
                    <a:pt x="1129665" y="5487"/>
                    <a:pt x="1111663" y="26633"/>
                  </a:cubicBezTo>
                  <a:lnTo>
                    <a:pt x="1014032" y="139980"/>
                  </a:lnTo>
                  <a:lnTo>
                    <a:pt x="955358" y="139980"/>
                  </a:lnTo>
                  <a:lnTo>
                    <a:pt x="857726" y="26537"/>
                  </a:lnTo>
                  <a:cubicBezTo>
                    <a:pt x="839724" y="5392"/>
                    <a:pt x="811530" y="-4133"/>
                    <a:pt x="784384" y="1677"/>
                  </a:cubicBezTo>
                  <a:cubicBezTo>
                    <a:pt x="712375" y="17012"/>
                    <a:pt x="642366" y="40539"/>
                    <a:pt x="575691" y="71781"/>
                  </a:cubicBezTo>
                  <a:cubicBezTo>
                    <a:pt x="551021" y="83211"/>
                    <a:pt x="534257" y="106928"/>
                    <a:pt x="531781" y="133979"/>
                  </a:cubicBezTo>
                  <a:lnTo>
                    <a:pt x="518160" y="281998"/>
                  </a:lnTo>
                  <a:cubicBezTo>
                    <a:pt x="500539" y="294095"/>
                    <a:pt x="483394" y="306668"/>
                    <a:pt x="467106" y="319622"/>
                  </a:cubicBezTo>
                  <a:lnTo>
                    <a:pt x="327184" y="287618"/>
                  </a:lnTo>
                  <a:cubicBezTo>
                    <a:pt x="300133" y="281236"/>
                    <a:pt x="271748" y="290285"/>
                    <a:pt x="253365" y="311049"/>
                  </a:cubicBezTo>
                  <a:cubicBezTo>
                    <a:pt x="203644" y="366485"/>
                    <a:pt x="160115" y="427254"/>
                    <a:pt x="123730" y="492215"/>
                  </a:cubicBezTo>
                  <a:cubicBezTo>
                    <a:pt x="110585" y="515741"/>
                    <a:pt x="110871" y="544317"/>
                    <a:pt x="124301" y="567557"/>
                  </a:cubicBezTo>
                  <a:lnTo>
                    <a:pt x="198215" y="694811"/>
                  </a:lnTo>
                  <a:cubicBezTo>
                    <a:pt x="190881" y="715195"/>
                    <a:pt x="184404" y="736340"/>
                    <a:pt x="178308" y="758629"/>
                  </a:cubicBezTo>
                  <a:lnTo>
                    <a:pt x="45434" y="817398"/>
                  </a:lnTo>
                  <a:cubicBezTo>
                    <a:pt x="17812" y="829590"/>
                    <a:pt x="0" y="856927"/>
                    <a:pt x="0" y="887121"/>
                  </a:cubicBezTo>
                  <a:lnTo>
                    <a:pt x="0" y="1094100"/>
                  </a:lnTo>
                  <a:cubicBezTo>
                    <a:pt x="0" y="1124294"/>
                    <a:pt x="17812" y="1151631"/>
                    <a:pt x="45434" y="1163823"/>
                  </a:cubicBezTo>
                  <a:lnTo>
                    <a:pt x="178403" y="1222497"/>
                  </a:lnTo>
                  <a:cubicBezTo>
                    <a:pt x="184404" y="1244785"/>
                    <a:pt x="190976" y="1265931"/>
                    <a:pt x="198311" y="1286314"/>
                  </a:cubicBezTo>
                  <a:lnTo>
                    <a:pt x="124397" y="1413568"/>
                  </a:lnTo>
                  <a:cubicBezTo>
                    <a:pt x="110966" y="1436809"/>
                    <a:pt x="110681" y="1465479"/>
                    <a:pt x="123825" y="1488911"/>
                  </a:cubicBezTo>
                  <a:cubicBezTo>
                    <a:pt x="160211" y="1553871"/>
                    <a:pt x="203740" y="1614641"/>
                    <a:pt x="253460" y="1670076"/>
                  </a:cubicBezTo>
                  <a:cubicBezTo>
                    <a:pt x="271939" y="1690841"/>
                    <a:pt x="300228" y="1699794"/>
                    <a:pt x="327279" y="1693508"/>
                  </a:cubicBezTo>
                  <a:lnTo>
                    <a:pt x="467201" y="1661504"/>
                  </a:lnTo>
                  <a:cubicBezTo>
                    <a:pt x="483489" y="1674553"/>
                    <a:pt x="500539" y="1687031"/>
                    <a:pt x="518255" y="1699128"/>
                  </a:cubicBezTo>
                  <a:lnTo>
                    <a:pt x="531781" y="1847241"/>
                  </a:lnTo>
                  <a:cubicBezTo>
                    <a:pt x="534257" y="1874292"/>
                    <a:pt x="551021" y="1898010"/>
                    <a:pt x="575691" y="1909344"/>
                  </a:cubicBezTo>
                  <a:cubicBezTo>
                    <a:pt x="642366" y="1940586"/>
                    <a:pt x="712375" y="1964113"/>
                    <a:pt x="784384" y="1979448"/>
                  </a:cubicBezTo>
                  <a:cubicBezTo>
                    <a:pt x="811530" y="1985163"/>
                    <a:pt x="839724" y="1975638"/>
                    <a:pt x="857726" y="1954588"/>
                  </a:cubicBezTo>
                  <a:lnTo>
                    <a:pt x="955358" y="1841241"/>
                  </a:lnTo>
                  <a:lnTo>
                    <a:pt x="1014032" y="1841241"/>
                  </a:lnTo>
                  <a:lnTo>
                    <a:pt x="1111663" y="1954588"/>
                  </a:lnTo>
                  <a:cubicBezTo>
                    <a:pt x="1126141" y="1971447"/>
                    <a:pt x="1147191" y="1981068"/>
                    <a:pt x="1169384" y="1981068"/>
                  </a:cubicBezTo>
                  <a:cubicBezTo>
                    <a:pt x="1174623" y="1981068"/>
                    <a:pt x="1179862" y="1980496"/>
                    <a:pt x="1185005" y="1979448"/>
                  </a:cubicBezTo>
                  <a:cubicBezTo>
                    <a:pt x="1257014" y="1964113"/>
                    <a:pt x="1327023" y="1940586"/>
                    <a:pt x="1393698" y="1909344"/>
                  </a:cubicBezTo>
                  <a:cubicBezTo>
                    <a:pt x="1418368" y="1897914"/>
                    <a:pt x="1435132" y="1874197"/>
                    <a:pt x="1437608" y="1847146"/>
                  </a:cubicBezTo>
                  <a:lnTo>
                    <a:pt x="1451134" y="1699128"/>
                  </a:lnTo>
                  <a:cubicBezTo>
                    <a:pt x="1468755" y="1687031"/>
                    <a:pt x="1485900" y="1674458"/>
                    <a:pt x="1502188" y="1661504"/>
                  </a:cubicBezTo>
                  <a:lnTo>
                    <a:pt x="1642110" y="1693508"/>
                  </a:lnTo>
                  <a:cubicBezTo>
                    <a:pt x="1669161" y="1699794"/>
                    <a:pt x="1697450" y="1690841"/>
                    <a:pt x="1715929" y="1670076"/>
                  </a:cubicBezTo>
                  <a:cubicBezTo>
                    <a:pt x="1765649" y="1614641"/>
                    <a:pt x="1809179" y="1553871"/>
                    <a:pt x="1845564" y="1488911"/>
                  </a:cubicBezTo>
                  <a:cubicBezTo>
                    <a:pt x="1858709" y="1465479"/>
                    <a:pt x="1858423" y="1436809"/>
                    <a:pt x="1844993" y="1413568"/>
                  </a:cubicBezTo>
                  <a:lnTo>
                    <a:pt x="1771079" y="1286314"/>
                  </a:lnTo>
                  <a:cubicBezTo>
                    <a:pt x="1778413" y="1265931"/>
                    <a:pt x="1784890" y="1244785"/>
                    <a:pt x="1790986" y="1222497"/>
                  </a:cubicBezTo>
                  <a:lnTo>
                    <a:pt x="1923955" y="1163823"/>
                  </a:lnTo>
                  <a:cubicBezTo>
                    <a:pt x="1951577" y="1151631"/>
                    <a:pt x="1969389" y="1124294"/>
                    <a:pt x="1969389" y="1094100"/>
                  </a:cubicBezTo>
                  <a:lnTo>
                    <a:pt x="1969389" y="887121"/>
                  </a:lnTo>
                  <a:cubicBezTo>
                    <a:pt x="1969294" y="856927"/>
                    <a:pt x="1951482" y="829590"/>
                    <a:pt x="1923955" y="817398"/>
                  </a:cubicBezTo>
                  <a:close/>
                  <a:moveTo>
                    <a:pt x="1816894" y="1044474"/>
                  </a:moveTo>
                  <a:lnTo>
                    <a:pt x="1695260" y="1098100"/>
                  </a:lnTo>
                  <a:cubicBezTo>
                    <a:pt x="1673257" y="1107816"/>
                    <a:pt x="1657160" y="1127342"/>
                    <a:pt x="1651826" y="1150773"/>
                  </a:cubicBezTo>
                  <a:cubicBezTo>
                    <a:pt x="1643253" y="1189350"/>
                    <a:pt x="1631442" y="1227164"/>
                    <a:pt x="1616583" y="1263835"/>
                  </a:cubicBezTo>
                  <a:cubicBezTo>
                    <a:pt x="1607534" y="1285743"/>
                    <a:pt x="1609154" y="1310698"/>
                    <a:pt x="1621060" y="1331272"/>
                  </a:cubicBezTo>
                  <a:lnTo>
                    <a:pt x="1690783" y="1451478"/>
                  </a:lnTo>
                  <a:cubicBezTo>
                    <a:pt x="1672590" y="1480433"/>
                    <a:pt x="1652683" y="1508151"/>
                    <a:pt x="1631156" y="1534726"/>
                  </a:cubicBezTo>
                  <a:lnTo>
                    <a:pt x="1499426" y="1504627"/>
                  </a:lnTo>
                  <a:cubicBezTo>
                    <a:pt x="1475518" y="1499007"/>
                    <a:pt x="1450277" y="1505389"/>
                    <a:pt x="1431893" y="1521772"/>
                  </a:cubicBezTo>
                  <a:cubicBezTo>
                    <a:pt x="1402747" y="1547394"/>
                    <a:pt x="1371410" y="1570540"/>
                    <a:pt x="1338453" y="1590924"/>
                  </a:cubicBezTo>
                  <a:cubicBezTo>
                    <a:pt x="1318165" y="1603497"/>
                    <a:pt x="1304925" y="1624928"/>
                    <a:pt x="1302734" y="1648740"/>
                  </a:cubicBezTo>
                  <a:lnTo>
                    <a:pt x="1289971" y="1788567"/>
                  </a:lnTo>
                  <a:cubicBezTo>
                    <a:pt x="1259586" y="1800950"/>
                    <a:pt x="1228439" y="1811427"/>
                    <a:pt x="1196816" y="1820190"/>
                  </a:cubicBezTo>
                  <a:lnTo>
                    <a:pt x="1106710" y="1715606"/>
                  </a:lnTo>
                  <a:cubicBezTo>
                    <a:pt x="1092232" y="1698842"/>
                    <a:pt x="1071182" y="1689126"/>
                    <a:pt x="1048988" y="1689126"/>
                  </a:cubicBezTo>
                  <a:lnTo>
                    <a:pt x="920401" y="1689126"/>
                  </a:lnTo>
                  <a:cubicBezTo>
                    <a:pt x="898208" y="1689126"/>
                    <a:pt x="877157" y="1698842"/>
                    <a:pt x="862679" y="1715606"/>
                  </a:cubicBezTo>
                  <a:lnTo>
                    <a:pt x="772573" y="1820190"/>
                  </a:lnTo>
                  <a:cubicBezTo>
                    <a:pt x="740950" y="1811523"/>
                    <a:pt x="709803" y="1800950"/>
                    <a:pt x="679323" y="1788567"/>
                  </a:cubicBezTo>
                  <a:lnTo>
                    <a:pt x="666560" y="1648550"/>
                  </a:lnTo>
                  <a:cubicBezTo>
                    <a:pt x="664369" y="1624737"/>
                    <a:pt x="651129" y="1603401"/>
                    <a:pt x="630841" y="1590828"/>
                  </a:cubicBezTo>
                  <a:cubicBezTo>
                    <a:pt x="597789" y="1570540"/>
                    <a:pt x="566547" y="1547394"/>
                    <a:pt x="537401" y="1521772"/>
                  </a:cubicBezTo>
                  <a:cubicBezTo>
                    <a:pt x="519017" y="1505389"/>
                    <a:pt x="493871" y="1499007"/>
                    <a:pt x="469868" y="1504627"/>
                  </a:cubicBezTo>
                  <a:lnTo>
                    <a:pt x="338138" y="1534726"/>
                  </a:lnTo>
                  <a:cubicBezTo>
                    <a:pt x="316611" y="1508151"/>
                    <a:pt x="296704" y="1480338"/>
                    <a:pt x="278511" y="1451478"/>
                  </a:cubicBezTo>
                  <a:lnTo>
                    <a:pt x="348234" y="1331272"/>
                  </a:lnTo>
                  <a:cubicBezTo>
                    <a:pt x="360140" y="1310698"/>
                    <a:pt x="361760" y="1285838"/>
                    <a:pt x="352711" y="1263835"/>
                  </a:cubicBezTo>
                  <a:cubicBezTo>
                    <a:pt x="337757" y="1227259"/>
                    <a:pt x="325946" y="1189445"/>
                    <a:pt x="317468" y="1150773"/>
                  </a:cubicBezTo>
                  <a:cubicBezTo>
                    <a:pt x="312134" y="1127342"/>
                    <a:pt x="295942" y="1107816"/>
                    <a:pt x="274034" y="1098100"/>
                  </a:cubicBezTo>
                  <a:lnTo>
                    <a:pt x="152400" y="1044474"/>
                  </a:lnTo>
                  <a:lnTo>
                    <a:pt x="152400" y="936746"/>
                  </a:lnTo>
                  <a:lnTo>
                    <a:pt x="274034" y="883121"/>
                  </a:lnTo>
                  <a:cubicBezTo>
                    <a:pt x="296037" y="873405"/>
                    <a:pt x="312134" y="853879"/>
                    <a:pt x="317468" y="830448"/>
                  </a:cubicBezTo>
                  <a:cubicBezTo>
                    <a:pt x="326041" y="791871"/>
                    <a:pt x="337852" y="754057"/>
                    <a:pt x="352711" y="717386"/>
                  </a:cubicBezTo>
                  <a:cubicBezTo>
                    <a:pt x="361760" y="695478"/>
                    <a:pt x="360140" y="670523"/>
                    <a:pt x="348234" y="649949"/>
                  </a:cubicBezTo>
                  <a:lnTo>
                    <a:pt x="278511" y="529743"/>
                  </a:lnTo>
                  <a:cubicBezTo>
                    <a:pt x="296704" y="500882"/>
                    <a:pt x="316611" y="473069"/>
                    <a:pt x="338138" y="446495"/>
                  </a:cubicBezTo>
                  <a:lnTo>
                    <a:pt x="469868" y="476594"/>
                  </a:lnTo>
                  <a:cubicBezTo>
                    <a:pt x="493776" y="482118"/>
                    <a:pt x="518922" y="475832"/>
                    <a:pt x="537401" y="459449"/>
                  </a:cubicBezTo>
                  <a:cubicBezTo>
                    <a:pt x="566547" y="433826"/>
                    <a:pt x="597884" y="410681"/>
                    <a:pt x="630841" y="390297"/>
                  </a:cubicBezTo>
                  <a:cubicBezTo>
                    <a:pt x="651129" y="377724"/>
                    <a:pt x="664369" y="356293"/>
                    <a:pt x="666560" y="332480"/>
                  </a:cubicBezTo>
                  <a:lnTo>
                    <a:pt x="679323" y="192653"/>
                  </a:lnTo>
                  <a:cubicBezTo>
                    <a:pt x="709708" y="180271"/>
                    <a:pt x="740855" y="169698"/>
                    <a:pt x="772478" y="161030"/>
                  </a:cubicBezTo>
                  <a:lnTo>
                    <a:pt x="862584" y="265615"/>
                  </a:lnTo>
                  <a:cubicBezTo>
                    <a:pt x="877062" y="282379"/>
                    <a:pt x="898112" y="292094"/>
                    <a:pt x="920306" y="292094"/>
                  </a:cubicBezTo>
                  <a:lnTo>
                    <a:pt x="1048703" y="292094"/>
                  </a:lnTo>
                  <a:cubicBezTo>
                    <a:pt x="1070896" y="292094"/>
                    <a:pt x="1091946" y="282379"/>
                    <a:pt x="1106424" y="265615"/>
                  </a:cubicBezTo>
                  <a:lnTo>
                    <a:pt x="1196531" y="161030"/>
                  </a:lnTo>
                  <a:cubicBezTo>
                    <a:pt x="1228154" y="169793"/>
                    <a:pt x="1259300" y="180271"/>
                    <a:pt x="1289780" y="192653"/>
                  </a:cubicBezTo>
                  <a:lnTo>
                    <a:pt x="1302544" y="332576"/>
                  </a:lnTo>
                  <a:cubicBezTo>
                    <a:pt x="1304735" y="356388"/>
                    <a:pt x="1317974" y="377724"/>
                    <a:pt x="1338263" y="390297"/>
                  </a:cubicBezTo>
                  <a:cubicBezTo>
                    <a:pt x="1371314" y="410585"/>
                    <a:pt x="1402556" y="433731"/>
                    <a:pt x="1431703" y="459353"/>
                  </a:cubicBezTo>
                  <a:cubicBezTo>
                    <a:pt x="1450086" y="475641"/>
                    <a:pt x="1475232" y="482023"/>
                    <a:pt x="1499235" y="476498"/>
                  </a:cubicBezTo>
                  <a:lnTo>
                    <a:pt x="1630966" y="446399"/>
                  </a:lnTo>
                  <a:cubicBezTo>
                    <a:pt x="1652492" y="472974"/>
                    <a:pt x="1672400" y="500787"/>
                    <a:pt x="1690592" y="529648"/>
                  </a:cubicBezTo>
                  <a:lnTo>
                    <a:pt x="1620869" y="649854"/>
                  </a:lnTo>
                  <a:cubicBezTo>
                    <a:pt x="1608963" y="670427"/>
                    <a:pt x="1607344" y="695288"/>
                    <a:pt x="1616393" y="717290"/>
                  </a:cubicBezTo>
                  <a:cubicBezTo>
                    <a:pt x="1631347" y="753867"/>
                    <a:pt x="1643158" y="791681"/>
                    <a:pt x="1651635" y="830352"/>
                  </a:cubicBezTo>
                  <a:cubicBezTo>
                    <a:pt x="1657064" y="853784"/>
                    <a:pt x="1673162" y="873310"/>
                    <a:pt x="1695069" y="883025"/>
                  </a:cubicBezTo>
                  <a:lnTo>
                    <a:pt x="1816703" y="936651"/>
                  </a:lnTo>
                  <a:lnTo>
                    <a:pt x="1816894" y="1044474"/>
                  </a:lnTo>
                  <a:lnTo>
                    <a:pt x="1816894" y="10444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A4472CEA-BF0D-4346-B908-97D9801919FA}"/>
                </a:ext>
              </a:extLst>
            </p:cNvPr>
            <p:cNvSpPr/>
            <p:nvPr/>
          </p:nvSpPr>
          <p:spPr bwMode="gray">
            <a:xfrm>
              <a:off x="14437961" y="747807"/>
              <a:ext cx="1066800" cy="1057275"/>
            </a:xfrm>
            <a:custGeom>
              <a:avLst/>
              <a:gdLst>
                <a:gd name="connsiteX0" fmla="*/ 533400 w 1066800"/>
                <a:gd name="connsiteY0" fmla="*/ 0 h 1057275"/>
                <a:gd name="connsiteX1" fmla="*/ 0 w 1066800"/>
                <a:gd name="connsiteY1" fmla="*/ 533400 h 1057275"/>
                <a:gd name="connsiteX2" fmla="*/ 533400 w 1066800"/>
                <a:gd name="connsiteY2" fmla="*/ 1066800 h 1057275"/>
                <a:gd name="connsiteX3" fmla="*/ 1066800 w 1066800"/>
                <a:gd name="connsiteY3" fmla="*/ 533400 h 1057275"/>
                <a:gd name="connsiteX4" fmla="*/ 533400 w 1066800"/>
                <a:gd name="connsiteY4" fmla="*/ 0 h 1057275"/>
                <a:gd name="connsiteX5" fmla="*/ 533400 w 1066800"/>
                <a:gd name="connsiteY5" fmla="*/ 914400 h 1057275"/>
                <a:gd name="connsiteX6" fmla="*/ 152400 w 1066800"/>
                <a:gd name="connsiteY6" fmla="*/ 533400 h 1057275"/>
                <a:gd name="connsiteX7" fmla="*/ 533400 w 1066800"/>
                <a:gd name="connsiteY7" fmla="*/ 152400 h 1057275"/>
                <a:gd name="connsiteX8" fmla="*/ 914400 w 1066800"/>
                <a:gd name="connsiteY8" fmla="*/ 533400 h 1057275"/>
                <a:gd name="connsiteX9" fmla="*/ 533400 w 1066800"/>
                <a:gd name="connsiteY9" fmla="*/ 91440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800" h="1057275">
                  <a:moveTo>
                    <a:pt x="533400" y="0"/>
                  </a:moveTo>
                  <a:cubicBezTo>
                    <a:pt x="238792" y="0"/>
                    <a:pt x="0" y="238792"/>
                    <a:pt x="0" y="533400"/>
                  </a:cubicBezTo>
                  <a:cubicBezTo>
                    <a:pt x="381" y="827818"/>
                    <a:pt x="238982" y="1066419"/>
                    <a:pt x="533400" y="1066800"/>
                  </a:cubicBezTo>
                  <a:cubicBezTo>
                    <a:pt x="828008" y="1066800"/>
                    <a:pt x="1066800" y="828008"/>
                    <a:pt x="1066800" y="533400"/>
                  </a:cubicBezTo>
                  <a:cubicBezTo>
                    <a:pt x="1066800" y="238792"/>
                    <a:pt x="827913" y="0"/>
                    <a:pt x="533400" y="0"/>
                  </a:cubicBezTo>
                  <a:close/>
                  <a:moveTo>
                    <a:pt x="533400" y="914400"/>
                  </a:moveTo>
                  <a:cubicBezTo>
                    <a:pt x="322993" y="914400"/>
                    <a:pt x="152400" y="743807"/>
                    <a:pt x="152400" y="533400"/>
                  </a:cubicBezTo>
                  <a:cubicBezTo>
                    <a:pt x="152686" y="323088"/>
                    <a:pt x="323088" y="152686"/>
                    <a:pt x="533400" y="152400"/>
                  </a:cubicBezTo>
                  <a:cubicBezTo>
                    <a:pt x="743807" y="152400"/>
                    <a:pt x="914400" y="322993"/>
                    <a:pt x="914400" y="533400"/>
                  </a:cubicBezTo>
                  <a:cubicBezTo>
                    <a:pt x="914400" y="743807"/>
                    <a:pt x="743807" y="914400"/>
                    <a:pt x="533400" y="914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AFE12086-A80F-4F98-ABA8-91C7757F1305}"/>
                </a:ext>
              </a:extLst>
            </p:cNvPr>
            <p:cNvSpPr/>
            <p:nvPr/>
          </p:nvSpPr>
          <p:spPr bwMode="gray">
            <a:xfrm>
              <a:off x="16881028" y="290454"/>
              <a:ext cx="1657350" cy="1676400"/>
            </a:xfrm>
            <a:custGeom>
              <a:avLst/>
              <a:gdLst>
                <a:gd name="connsiteX0" fmla="*/ 1621346 w 1657350"/>
                <a:gd name="connsiteY0" fmla="*/ 682334 h 1676400"/>
                <a:gd name="connsiteX1" fmla="*/ 1516094 w 1657350"/>
                <a:gd name="connsiteY1" fmla="*/ 635852 h 1676400"/>
                <a:gd name="connsiteX2" fmla="*/ 1502759 w 1657350"/>
                <a:gd name="connsiteY2" fmla="*/ 593180 h 1676400"/>
                <a:gd name="connsiteX3" fmla="*/ 1561433 w 1657350"/>
                <a:gd name="connsiteY3" fmla="*/ 492119 h 1676400"/>
                <a:gd name="connsiteX4" fmla="*/ 1562005 w 1657350"/>
                <a:gd name="connsiteY4" fmla="*/ 416681 h 1676400"/>
                <a:gd name="connsiteX5" fmla="*/ 1452277 w 1657350"/>
                <a:gd name="connsiteY5" fmla="*/ 263424 h 1676400"/>
                <a:gd name="connsiteX6" fmla="*/ 1378553 w 1657350"/>
                <a:gd name="connsiteY6" fmla="*/ 239993 h 1676400"/>
                <a:gd name="connsiteX7" fmla="*/ 1267778 w 1657350"/>
                <a:gd name="connsiteY7" fmla="*/ 265329 h 1676400"/>
                <a:gd name="connsiteX8" fmla="*/ 1234250 w 1657350"/>
                <a:gd name="connsiteY8" fmla="*/ 240659 h 1676400"/>
                <a:gd name="connsiteX9" fmla="*/ 1223486 w 1657350"/>
                <a:gd name="connsiteY9" fmla="*/ 123216 h 1676400"/>
                <a:gd name="connsiteX10" fmla="*/ 1179576 w 1657350"/>
                <a:gd name="connsiteY10" fmla="*/ 61018 h 1676400"/>
                <a:gd name="connsiteX11" fmla="*/ 1002887 w 1657350"/>
                <a:gd name="connsiteY11" fmla="*/ 1677 h 1676400"/>
                <a:gd name="connsiteX12" fmla="*/ 929545 w 1657350"/>
                <a:gd name="connsiteY12" fmla="*/ 26537 h 1676400"/>
                <a:gd name="connsiteX13" fmla="*/ 852011 w 1657350"/>
                <a:gd name="connsiteY13" fmla="*/ 116549 h 1676400"/>
                <a:gd name="connsiteX14" fmla="*/ 814769 w 1657350"/>
                <a:gd name="connsiteY14" fmla="*/ 116549 h 1676400"/>
                <a:gd name="connsiteX15" fmla="*/ 737235 w 1657350"/>
                <a:gd name="connsiteY15" fmla="*/ 26537 h 1676400"/>
                <a:gd name="connsiteX16" fmla="*/ 663893 w 1657350"/>
                <a:gd name="connsiteY16" fmla="*/ 1677 h 1676400"/>
                <a:gd name="connsiteX17" fmla="*/ 487204 w 1657350"/>
                <a:gd name="connsiteY17" fmla="*/ 61018 h 1676400"/>
                <a:gd name="connsiteX18" fmla="*/ 443294 w 1657350"/>
                <a:gd name="connsiteY18" fmla="*/ 123216 h 1676400"/>
                <a:gd name="connsiteX19" fmla="*/ 432530 w 1657350"/>
                <a:gd name="connsiteY19" fmla="*/ 240659 h 1676400"/>
                <a:gd name="connsiteX20" fmla="*/ 399002 w 1657350"/>
                <a:gd name="connsiteY20" fmla="*/ 265329 h 1676400"/>
                <a:gd name="connsiteX21" fmla="*/ 288227 w 1657350"/>
                <a:gd name="connsiteY21" fmla="*/ 239993 h 1676400"/>
                <a:gd name="connsiteX22" fmla="*/ 214503 w 1657350"/>
                <a:gd name="connsiteY22" fmla="*/ 263424 h 1676400"/>
                <a:gd name="connsiteX23" fmla="*/ 104870 w 1657350"/>
                <a:gd name="connsiteY23" fmla="*/ 416681 h 1676400"/>
                <a:gd name="connsiteX24" fmla="*/ 105442 w 1657350"/>
                <a:gd name="connsiteY24" fmla="*/ 492024 h 1676400"/>
                <a:gd name="connsiteX25" fmla="*/ 164021 w 1657350"/>
                <a:gd name="connsiteY25" fmla="*/ 592989 h 1676400"/>
                <a:gd name="connsiteX26" fmla="*/ 150686 w 1657350"/>
                <a:gd name="connsiteY26" fmla="*/ 635661 h 1676400"/>
                <a:gd name="connsiteX27" fmla="*/ 45434 w 1657350"/>
                <a:gd name="connsiteY27" fmla="*/ 682143 h 1676400"/>
                <a:gd name="connsiteX28" fmla="*/ 0 w 1657350"/>
                <a:gd name="connsiteY28" fmla="*/ 751866 h 1676400"/>
                <a:gd name="connsiteX29" fmla="*/ 0 w 1657350"/>
                <a:gd name="connsiteY29" fmla="*/ 924364 h 1676400"/>
                <a:gd name="connsiteX30" fmla="*/ 45434 w 1657350"/>
                <a:gd name="connsiteY30" fmla="*/ 994087 h 1676400"/>
                <a:gd name="connsiteX31" fmla="*/ 150686 w 1657350"/>
                <a:gd name="connsiteY31" fmla="*/ 1040569 h 1676400"/>
                <a:gd name="connsiteX32" fmla="*/ 164021 w 1657350"/>
                <a:gd name="connsiteY32" fmla="*/ 1083241 h 1676400"/>
                <a:gd name="connsiteX33" fmla="*/ 105346 w 1657350"/>
                <a:gd name="connsiteY33" fmla="*/ 1184301 h 1676400"/>
                <a:gd name="connsiteX34" fmla="*/ 104775 w 1657350"/>
                <a:gd name="connsiteY34" fmla="*/ 1259739 h 1676400"/>
                <a:gd name="connsiteX35" fmla="*/ 214503 w 1657350"/>
                <a:gd name="connsiteY35" fmla="*/ 1412996 h 1676400"/>
                <a:gd name="connsiteX36" fmla="*/ 288322 w 1657350"/>
                <a:gd name="connsiteY36" fmla="*/ 1436428 h 1676400"/>
                <a:gd name="connsiteX37" fmla="*/ 398907 w 1657350"/>
                <a:gd name="connsiteY37" fmla="*/ 1411092 h 1676400"/>
                <a:gd name="connsiteX38" fmla="*/ 432435 w 1657350"/>
                <a:gd name="connsiteY38" fmla="*/ 1435857 h 1676400"/>
                <a:gd name="connsiteX39" fmla="*/ 443198 w 1657350"/>
                <a:gd name="connsiteY39" fmla="*/ 1553300 h 1676400"/>
                <a:gd name="connsiteX40" fmla="*/ 487109 w 1657350"/>
                <a:gd name="connsiteY40" fmla="*/ 1615498 h 1676400"/>
                <a:gd name="connsiteX41" fmla="*/ 663797 w 1657350"/>
                <a:gd name="connsiteY41" fmla="*/ 1674839 h 1676400"/>
                <a:gd name="connsiteX42" fmla="*/ 737140 w 1657350"/>
                <a:gd name="connsiteY42" fmla="*/ 1649979 h 1676400"/>
                <a:gd name="connsiteX43" fmla="*/ 814673 w 1657350"/>
                <a:gd name="connsiteY43" fmla="*/ 1559967 h 1676400"/>
                <a:gd name="connsiteX44" fmla="*/ 851916 w 1657350"/>
                <a:gd name="connsiteY44" fmla="*/ 1559967 h 1676400"/>
                <a:gd name="connsiteX45" fmla="*/ 929450 w 1657350"/>
                <a:gd name="connsiteY45" fmla="*/ 1649979 h 1676400"/>
                <a:gd name="connsiteX46" fmla="*/ 987171 w 1657350"/>
                <a:gd name="connsiteY46" fmla="*/ 1676458 h 1676400"/>
                <a:gd name="connsiteX47" fmla="*/ 1002792 w 1657350"/>
                <a:gd name="connsiteY47" fmla="*/ 1674839 h 1676400"/>
                <a:gd name="connsiteX48" fmla="*/ 1179481 w 1657350"/>
                <a:gd name="connsiteY48" fmla="*/ 1615498 h 1676400"/>
                <a:gd name="connsiteX49" fmla="*/ 1223391 w 1657350"/>
                <a:gd name="connsiteY49" fmla="*/ 1553300 h 1676400"/>
                <a:gd name="connsiteX50" fmla="*/ 1234154 w 1657350"/>
                <a:gd name="connsiteY50" fmla="*/ 1435857 h 1676400"/>
                <a:gd name="connsiteX51" fmla="*/ 1267682 w 1657350"/>
                <a:gd name="connsiteY51" fmla="*/ 1411187 h 1676400"/>
                <a:gd name="connsiteX52" fmla="*/ 1378458 w 1657350"/>
                <a:gd name="connsiteY52" fmla="*/ 1436523 h 1676400"/>
                <a:gd name="connsiteX53" fmla="*/ 1452181 w 1657350"/>
                <a:gd name="connsiteY53" fmla="*/ 1413092 h 1676400"/>
                <a:gd name="connsiteX54" fmla="*/ 1561910 w 1657350"/>
                <a:gd name="connsiteY54" fmla="*/ 1259834 h 1676400"/>
                <a:gd name="connsiteX55" fmla="*/ 1561338 w 1657350"/>
                <a:gd name="connsiteY55" fmla="*/ 1184396 h 1676400"/>
                <a:gd name="connsiteX56" fmla="*/ 1502664 w 1657350"/>
                <a:gd name="connsiteY56" fmla="*/ 1083336 h 1676400"/>
                <a:gd name="connsiteX57" fmla="*/ 1515999 w 1657350"/>
                <a:gd name="connsiteY57" fmla="*/ 1040664 h 1676400"/>
                <a:gd name="connsiteX58" fmla="*/ 1621250 w 1657350"/>
                <a:gd name="connsiteY58" fmla="*/ 994182 h 1676400"/>
                <a:gd name="connsiteX59" fmla="*/ 1666685 w 1657350"/>
                <a:gd name="connsiteY59" fmla="*/ 924459 h 1676400"/>
                <a:gd name="connsiteX60" fmla="*/ 1666685 w 1657350"/>
                <a:gd name="connsiteY60" fmla="*/ 752057 h 1676400"/>
                <a:gd name="connsiteX61" fmla="*/ 1621346 w 1657350"/>
                <a:gd name="connsiteY61" fmla="*/ 682334 h 1676400"/>
                <a:gd name="connsiteX62" fmla="*/ 1514380 w 1657350"/>
                <a:gd name="connsiteY62" fmla="*/ 874929 h 1676400"/>
                <a:gd name="connsiteX63" fmla="*/ 1420559 w 1657350"/>
                <a:gd name="connsiteY63" fmla="*/ 916268 h 1676400"/>
                <a:gd name="connsiteX64" fmla="*/ 1377029 w 1657350"/>
                <a:gd name="connsiteY64" fmla="*/ 969131 h 1676400"/>
                <a:gd name="connsiteX65" fmla="*/ 1348264 w 1657350"/>
                <a:gd name="connsiteY65" fmla="*/ 1061048 h 1676400"/>
                <a:gd name="connsiteX66" fmla="*/ 1352741 w 1657350"/>
                <a:gd name="connsiteY66" fmla="*/ 1128580 h 1676400"/>
                <a:gd name="connsiteX67" fmla="*/ 1407033 w 1657350"/>
                <a:gd name="connsiteY67" fmla="*/ 1222020 h 1676400"/>
                <a:gd name="connsiteX68" fmla="*/ 1367314 w 1657350"/>
                <a:gd name="connsiteY68" fmla="*/ 1277646 h 1676400"/>
                <a:gd name="connsiteX69" fmla="*/ 1265206 w 1657350"/>
                <a:gd name="connsiteY69" fmla="*/ 1254310 h 1676400"/>
                <a:gd name="connsiteX70" fmla="*/ 1197864 w 1657350"/>
                <a:gd name="connsiteY70" fmla="*/ 1271455 h 1676400"/>
                <a:gd name="connsiteX71" fmla="*/ 1121855 w 1657350"/>
                <a:gd name="connsiteY71" fmla="*/ 1327653 h 1676400"/>
                <a:gd name="connsiteX72" fmla="*/ 1085945 w 1657350"/>
                <a:gd name="connsiteY72" fmla="*/ 1385565 h 1676400"/>
                <a:gd name="connsiteX73" fmla="*/ 1076039 w 1657350"/>
                <a:gd name="connsiteY73" fmla="*/ 1494340 h 1676400"/>
                <a:gd name="connsiteX74" fmla="*/ 1014603 w 1657350"/>
                <a:gd name="connsiteY74" fmla="*/ 1515200 h 1676400"/>
                <a:gd name="connsiteX75" fmla="*/ 944785 w 1657350"/>
                <a:gd name="connsiteY75" fmla="*/ 1434142 h 1676400"/>
                <a:gd name="connsiteX76" fmla="*/ 887063 w 1657350"/>
                <a:gd name="connsiteY76" fmla="*/ 1407663 h 1676400"/>
                <a:gd name="connsiteX77" fmla="*/ 780097 w 1657350"/>
                <a:gd name="connsiteY77" fmla="*/ 1407663 h 1676400"/>
                <a:gd name="connsiteX78" fmla="*/ 722376 w 1657350"/>
                <a:gd name="connsiteY78" fmla="*/ 1434142 h 1676400"/>
                <a:gd name="connsiteX79" fmla="*/ 652558 w 1657350"/>
                <a:gd name="connsiteY79" fmla="*/ 1515200 h 1676400"/>
                <a:gd name="connsiteX80" fmla="*/ 591122 w 1657350"/>
                <a:gd name="connsiteY80" fmla="*/ 1494340 h 1676400"/>
                <a:gd name="connsiteX81" fmla="*/ 581216 w 1657350"/>
                <a:gd name="connsiteY81" fmla="*/ 1385565 h 1676400"/>
                <a:gd name="connsiteX82" fmla="*/ 545306 w 1657350"/>
                <a:gd name="connsiteY82" fmla="*/ 1327653 h 1676400"/>
                <a:gd name="connsiteX83" fmla="*/ 469297 w 1657350"/>
                <a:gd name="connsiteY83" fmla="*/ 1271455 h 1676400"/>
                <a:gd name="connsiteX84" fmla="*/ 401764 w 1657350"/>
                <a:gd name="connsiteY84" fmla="*/ 1254310 h 1676400"/>
                <a:gd name="connsiteX85" fmla="*/ 299752 w 1657350"/>
                <a:gd name="connsiteY85" fmla="*/ 1277646 h 1676400"/>
                <a:gd name="connsiteX86" fmla="*/ 260033 w 1657350"/>
                <a:gd name="connsiteY86" fmla="*/ 1222020 h 1676400"/>
                <a:gd name="connsiteX87" fmla="*/ 314325 w 1657350"/>
                <a:gd name="connsiteY87" fmla="*/ 1128580 h 1676400"/>
                <a:gd name="connsiteX88" fmla="*/ 318802 w 1657350"/>
                <a:gd name="connsiteY88" fmla="*/ 1061048 h 1676400"/>
                <a:gd name="connsiteX89" fmla="*/ 290036 w 1657350"/>
                <a:gd name="connsiteY89" fmla="*/ 969131 h 1676400"/>
                <a:gd name="connsiteX90" fmla="*/ 246507 w 1657350"/>
                <a:gd name="connsiteY90" fmla="*/ 916268 h 1676400"/>
                <a:gd name="connsiteX91" fmla="*/ 152686 w 1657350"/>
                <a:gd name="connsiteY91" fmla="*/ 874929 h 1676400"/>
                <a:gd name="connsiteX92" fmla="*/ 152686 w 1657350"/>
                <a:gd name="connsiteY92" fmla="*/ 801682 h 1676400"/>
                <a:gd name="connsiteX93" fmla="*/ 246507 w 1657350"/>
                <a:gd name="connsiteY93" fmla="*/ 760343 h 1676400"/>
                <a:gd name="connsiteX94" fmla="*/ 290036 w 1657350"/>
                <a:gd name="connsiteY94" fmla="*/ 707480 h 1676400"/>
                <a:gd name="connsiteX95" fmla="*/ 318802 w 1657350"/>
                <a:gd name="connsiteY95" fmla="*/ 615468 h 1676400"/>
                <a:gd name="connsiteX96" fmla="*/ 314325 w 1657350"/>
                <a:gd name="connsiteY96" fmla="*/ 548031 h 1676400"/>
                <a:gd name="connsiteX97" fmla="*/ 260128 w 1657350"/>
                <a:gd name="connsiteY97" fmla="*/ 454591 h 1676400"/>
                <a:gd name="connsiteX98" fmla="*/ 299752 w 1657350"/>
                <a:gd name="connsiteY98" fmla="*/ 398965 h 1676400"/>
                <a:gd name="connsiteX99" fmla="*/ 401860 w 1657350"/>
                <a:gd name="connsiteY99" fmla="*/ 422301 h 1676400"/>
                <a:gd name="connsiteX100" fmla="*/ 469202 w 1657350"/>
                <a:gd name="connsiteY100" fmla="*/ 405156 h 1676400"/>
                <a:gd name="connsiteX101" fmla="*/ 545211 w 1657350"/>
                <a:gd name="connsiteY101" fmla="*/ 348959 h 1676400"/>
                <a:gd name="connsiteX102" fmla="*/ 581120 w 1657350"/>
                <a:gd name="connsiteY102" fmla="*/ 291047 h 1676400"/>
                <a:gd name="connsiteX103" fmla="*/ 591026 w 1657350"/>
                <a:gd name="connsiteY103" fmla="*/ 182271 h 1676400"/>
                <a:gd name="connsiteX104" fmla="*/ 652463 w 1657350"/>
                <a:gd name="connsiteY104" fmla="*/ 161411 h 1676400"/>
                <a:gd name="connsiteX105" fmla="*/ 722281 w 1657350"/>
                <a:gd name="connsiteY105" fmla="*/ 242469 h 1676400"/>
                <a:gd name="connsiteX106" fmla="*/ 780002 w 1657350"/>
                <a:gd name="connsiteY106" fmla="*/ 268949 h 1676400"/>
                <a:gd name="connsiteX107" fmla="*/ 886968 w 1657350"/>
                <a:gd name="connsiteY107" fmla="*/ 268949 h 1676400"/>
                <a:gd name="connsiteX108" fmla="*/ 944689 w 1657350"/>
                <a:gd name="connsiteY108" fmla="*/ 242469 h 1676400"/>
                <a:gd name="connsiteX109" fmla="*/ 1014508 w 1657350"/>
                <a:gd name="connsiteY109" fmla="*/ 161411 h 1676400"/>
                <a:gd name="connsiteX110" fmla="*/ 1075944 w 1657350"/>
                <a:gd name="connsiteY110" fmla="*/ 182271 h 1676400"/>
                <a:gd name="connsiteX111" fmla="*/ 1085850 w 1657350"/>
                <a:gd name="connsiteY111" fmla="*/ 291047 h 1676400"/>
                <a:gd name="connsiteX112" fmla="*/ 1121759 w 1657350"/>
                <a:gd name="connsiteY112" fmla="*/ 348959 h 1676400"/>
                <a:gd name="connsiteX113" fmla="*/ 1197769 w 1657350"/>
                <a:gd name="connsiteY113" fmla="*/ 405156 h 1676400"/>
                <a:gd name="connsiteX114" fmla="*/ 1265111 w 1657350"/>
                <a:gd name="connsiteY114" fmla="*/ 422301 h 1676400"/>
                <a:gd name="connsiteX115" fmla="*/ 1367219 w 1657350"/>
                <a:gd name="connsiteY115" fmla="*/ 398965 h 1676400"/>
                <a:gd name="connsiteX116" fmla="*/ 1406938 w 1657350"/>
                <a:gd name="connsiteY116" fmla="*/ 454591 h 1676400"/>
                <a:gd name="connsiteX117" fmla="*/ 1352645 w 1657350"/>
                <a:gd name="connsiteY117" fmla="*/ 548031 h 1676400"/>
                <a:gd name="connsiteX118" fmla="*/ 1348169 w 1657350"/>
                <a:gd name="connsiteY118" fmla="*/ 615564 h 1676400"/>
                <a:gd name="connsiteX119" fmla="*/ 1376934 w 1657350"/>
                <a:gd name="connsiteY119" fmla="*/ 707480 h 1676400"/>
                <a:gd name="connsiteX120" fmla="*/ 1420463 w 1657350"/>
                <a:gd name="connsiteY120" fmla="*/ 760343 h 1676400"/>
                <a:gd name="connsiteX121" fmla="*/ 1514285 w 1657350"/>
                <a:gd name="connsiteY121" fmla="*/ 801682 h 1676400"/>
                <a:gd name="connsiteX122" fmla="*/ 1514285 w 1657350"/>
                <a:gd name="connsiteY122" fmla="*/ 874929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1657350" h="1676400">
                  <a:moveTo>
                    <a:pt x="1621346" y="682334"/>
                  </a:moveTo>
                  <a:lnTo>
                    <a:pt x="1516094" y="635852"/>
                  </a:lnTo>
                  <a:cubicBezTo>
                    <a:pt x="1511998" y="621088"/>
                    <a:pt x="1507522" y="606991"/>
                    <a:pt x="1502759" y="593180"/>
                  </a:cubicBezTo>
                  <a:lnTo>
                    <a:pt x="1561433" y="492119"/>
                  </a:lnTo>
                  <a:cubicBezTo>
                    <a:pt x="1574864" y="468783"/>
                    <a:pt x="1575149" y="440208"/>
                    <a:pt x="1562005" y="416681"/>
                  </a:cubicBezTo>
                  <a:cubicBezTo>
                    <a:pt x="1531144" y="361722"/>
                    <a:pt x="1494377" y="310382"/>
                    <a:pt x="1452277" y="263424"/>
                  </a:cubicBezTo>
                  <a:cubicBezTo>
                    <a:pt x="1433894" y="242660"/>
                    <a:pt x="1405604" y="233706"/>
                    <a:pt x="1378553" y="239993"/>
                  </a:cubicBezTo>
                  <a:lnTo>
                    <a:pt x="1267778" y="265329"/>
                  </a:lnTo>
                  <a:cubicBezTo>
                    <a:pt x="1256919" y="256852"/>
                    <a:pt x="1245775" y="248660"/>
                    <a:pt x="1234250" y="240659"/>
                  </a:cubicBezTo>
                  <a:lnTo>
                    <a:pt x="1223486" y="123216"/>
                  </a:lnTo>
                  <a:cubicBezTo>
                    <a:pt x="1221010" y="96165"/>
                    <a:pt x="1204246" y="72353"/>
                    <a:pt x="1179576" y="61018"/>
                  </a:cubicBezTo>
                  <a:cubicBezTo>
                    <a:pt x="1123093" y="34634"/>
                    <a:pt x="1063847" y="14726"/>
                    <a:pt x="1002887" y="1677"/>
                  </a:cubicBezTo>
                  <a:cubicBezTo>
                    <a:pt x="975741" y="-4133"/>
                    <a:pt x="947547" y="5392"/>
                    <a:pt x="929545" y="26537"/>
                  </a:cubicBezTo>
                  <a:lnTo>
                    <a:pt x="852011" y="116549"/>
                  </a:lnTo>
                  <a:lnTo>
                    <a:pt x="814769" y="116549"/>
                  </a:lnTo>
                  <a:lnTo>
                    <a:pt x="737235" y="26537"/>
                  </a:lnTo>
                  <a:cubicBezTo>
                    <a:pt x="719233" y="5392"/>
                    <a:pt x="691039" y="-4133"/>
                    <a:pt x="663893" y="1677"/>
                  </a:cubicBezTo>
                  <a:cubicBezTo>
                    <a:pt x="602933" y="14726"/>
                    <a:pt x="543592" y="34634"/>
                    <a:pt x="487204" y="61018"/>
                  </a:cubicBezTo>
                  <a:cubicBezTo>
                    <a:pt x="462534" y="72448"/>
                    <a:pt x="445770" y="96165"/>
                    <a:pt x="443294" y="123216"/>
                  </a:cubicBezTo>
                  <a:lnTo>
                    <a:pt x="432530" y="240659"/>
                  </a:lnTo>
                  <a:cubicBezTo>
                    <a:pt x="421100" y="248660"/>
                    <a:pt x="409861" y="256852"/>
                    <a:pt x="399002" y="265329"/>
                  </a:cubicBezTo>
                  <a:lnTo>
                    <a:pt x="288227" y="239993"/>
                  </a:lnTo>
                  <a:cubicBezTo>
                    <a:pt x="261176" y="233706"/>
                    <a:pt x="232981" y="242755"/>
                    <a:pt x="214503" y="263424"/>
                  </a:cubicBezTo>
                  <a:cubicBezTo>
                    <a:pt x="172403" y="310287"/>
                    <a:pt x="135636" y="361722"/>
                    <a:pt x="104870" y="416681"/>
                  </a:cubicBezTo>
                  <a:cubicBezTo>
                    <a:pt x="91726" y="440208"/>
                    <a:pt x="92012" y="468783"/>
                    <a:pt x="105442" y="492024"/>
                  </a:cubicBezTo>
                  <a:lnTo>
                    <a:pt x="164021" y="592989"/>
                  </a:lnTo>
                  <a:cubicBezTo>
                    <a:pt x="159258" y="606705"/>
                    <a:pt x="154781" y="620993"/>
                    <a:pt x="150686" y="635661"/>
                  </a:cubicBezTo>
                  <a:lnTo>
                    <a:pt x="45434" y="682143"/>
                  </a:lnTo>
                  <a:cubicBezTo>
                    <a:pt x="17812" y="694335"/>
                    <a:pt x="0" y="721672"/>
                    <a:pt x="0" y="751866"/>
                  </a:cubicBezTo>
                  <a:lnTo>
                    <a:pt x="0" y="924364"/>
                  </a:lnTo>
                  <a:cubicBezTo>
                    <a:pt x="0" y="954558"/>
                    <a:pt x="17812" y="981895"/>
                    <a:pt x="45434" y="994087"/>
                  </a:cubicBezTo>
                  <a:lnTo>
                    <a:pt x="150686" y="1040569"/>
                  </a:lnTo>
                  <a:cubicBezTo>
                    <a:pt x="154781" y="1055333"/>
                    <a:pt x="159258" y="1069430"/>
                    <a:pt x="164021" y="1083241"/>
                  </a:cubicBezTo>
                  <a:lnTo>
                    <a:pt x="105346" y="1184301"/>
                  </a:lnTo>
                  <a:cubicBezTo>
                    <a:pt x="91916" y="1207638"/>
                    <a:pt x="91630" y="1236213"/>
                    <a:pt x="104775" y="1259739"/>
                  </a:cubicBezTo>
                  <a:cubicBezTo>
                    <a:pt x="135636" y="1314699"/>
                    <a:pt x="172403" y="1366038"/>
                    <a:pt x="214503" y="1412996"/>
                  </a:cubicBezTo>
                  <a:cubicBezTo>
                    <a:pt x="232981" y="1433761"/>
                    <a:pt x="261271" y="1442715"/>
                    <a:pt x="288322" y="1436428"/>
                  </a:cubicBezTo>
                  <a:lnTo>
                    <a:pt x="398907" y="1411092"/>
                  </a:lnTo>
                  <a:cubicBezTo>
                    <a:pt x="409766" y="1419664"/>
                    <a:pt x="421005" y="1427951"/>
                    <a:pt x="432435" y="1435857"/>
                  </a:cubicBezTo>
                  <a:lnTo>
                    <a:pt x="443198" y="1553300"/>
                  </a:lnTo>
                  <a:cubicBezTo>
                    <a:pt x="445675" y="1580446"/>
                    <a:pt x="462439" y="1604163"/>
                    <a:pt x="487109" y="1615498"/>
                  </a:cubicBezTo>
                  <a:cubicBezTo>
                    <a:pt x="543592" y="1641882"/>
                    <a:pt x="602837" y="1661790"/>
                    <a:pt x="663797" y="1674839"/>
                  </a:cubicBezTo>
                  <a:cubicBezTo>
                    <a:pt x="690944" y="1680554"/>
                    <a:pt x="719138" y="1671029"/>
                    <a:pt x="737140" y="1649979"/>
                  </a:cubicBezTo>
                  <a:lnTo>
                    <a:pt x="814673" y="1559967"/>
                  </a:lnTo>
                  <a:lnTo>
                    <a:pt x="851916" y="1559967"/>
                  </a:lnTo>
                  <a:lnTo>
                    <a:pt x="929450" y="1649979"/>
                  </a:lnTo>
                  <a:cubicBezTo>
                    <a:pt x="943928" y="1666838"/>
                    <a:pt x="964978" y="1676458"/>
                    <a:pt x="987171" y="1676458"/>
                  </a:cubicBezTo>
                  <a:cubicBezTo>
                    <a:pt x="992410" y="1676458"/>
                    <a:pt x="997648" y="1675887"/>
                    <a:pt x="1002792" y="1674839"/>
                  </a:cubicBezTo>
                  <a:cubicBezTo>
                    <a:pt x="1063752" y="1661790"/>
                    <a:pt x="1123093" y="1641882"/>
                    <a:pt x="1179481" y="1615498"/>
                  </a:cubicBezTo>
                  <a:cubicBezTo>
                    <a:pt x="1204151" y="1604068"/>
                    <a:pt x="1220914" y="1580351"/>
                    <a:pt x="1223391" y="1553300"/>
                  </a:cubicBezTo>
                  <a:lnTo>
                    <a:pt x="1234154" y="1435857"/>
                  </a:lnTo>
                  <a:cubicBezTo>
                    <a:pt x="1245584" y="1427855"/>
                    <a:pt x="1256824" y="1419664"/>
                    <a:pt x="1267682" y="1411187"/>
                  </a:cubicBezTo>
                  <a:lnTo>
                    <a:pt x="1378458" y="1436523"/>
                  </a:lnTo>
                  <a:cubicBezTo>
                    <a:pt x="1405509" y="1442810"/>
                    <a:pt x="1433798" y="1433761"/>
                    <a:pt x="1452181" y="1413092"/>
                  </a:cubicBezTo>
                  <a:cubicBezTo>
                    <a:pt x="1494282" y="1366229"/>
                    <a:pt x="1531048" y="1314794"/>
                    <a:pt x="1561910" y="1259834"/>
                  </a:cubicBezTo>
                  <a:cubicBezTo>
                    <a:pt x="1575054" y="1236308"/>
                    <a:pt x="1574768" y="1207638"/>
                    <a:pt x="1561338" y="1184396"/>
                  </a:cubicBezTo>
                  <a:lnTo>
                    <a:pt x="1502664" y="1083336"/>
                  </a:lnTo>
                  <a:cubicBezTo>
                    <a:pt x="1507427" y="1069620"/>
                    <a:pt x="1511903" y="1055428"/>
                    <a:pt x="1515999" y="1040664"/>
                  </a:cubicBezTo>
                  <a:lnTo>
                    <a:pt x="1621250" y="994182"/>
                  </a:lnTo>
                  <a:cubicBezTo>
                    <a:pt x="1648873" y="981990"/>
                    <a:pt x="1666685" y="954654"/>
                    <a:pt x="1666685" y="924459"/>
                  </a:cubicBezTo>
                  <a:lnTo>
                    <a:pt x="1666685" y="752057"/>
                  </a:lnTo>
                  <a:cubicBezTo>
                    <a:pt x="1666780" y="721862"/>
                    <a:pt x="1648968" y="694526"/>
                    <a:pt x="1621346" y="682334"/>
                  </a:cubicBezTo>
                  <a:close/>
                  <a:moveTo>
                    <a:pt x="1514380" y="874929"/>
                  </a:moveTo>
                  <a:lnTo>
                    <a:pt x="1420559" y="916268"/>
                  </a:lnTo>
                  <a:cubicBezTo>
                    <a:pt x="1398461" y="925983"/>
                    <a:pt x="1382363" y="945605"/>
                    <a:pt x="1377029" y="969131"/>
                  </a:cubicBezTo>
                  <a:cubicBezTo>
                    <a:pt x="1370076" y="1000564"/>
                    <a:pt x="1360456" y="1031235"/>
                    <a:pt x="1348264" y="1061048"/>
                  </a:cubicBezTo>
                  <a:cubicBezTo>
                    <a:pt x="1339215" y="1083050"/>
                    <a:pt x="1340834" y="1108006"/>
                    <a:pt x="1352741" y="1128580"/>
                  </a:cubicBezTo>
                  <a:lnTo>
                    <a:pt x="1407033" y="1222020"/>
                  </a:lnTo>
                  <a:cubicBezTo>
                    <a:pt x="1394746" y="1241070"/>
                    <a:pt x="1381506" y="1259644"/>
                    <a:pt x="1367314" y="1277646"/>
                  </a:cubicBezTo>
                  <a:lnTo>
                    <a:pt x="1265206" y="1254310"/>
                  </a:lnTo>
                  <a:cubicBezTo>
                    <a:pt x="1241298" y="1248690"/>
                    <a:pt x="1216152" y="1255072"/>
                    <a:pt x="1197864" y="1271455"/>
                  </a:cubicBezTo>
                  <a:cubicBezTo>
                    <a:pt x="1174147" y="1292315"/>
                    <a:pt x="1148715" y="1311079"/>
                    <a:pt x="1121855" y="1327653"/>
                  </a:cubicBezTo>
                  <a:cubicBezTo>
                    <a:pt x="1101471" y="1340225"/>
                    <a:pt x="1088136" y="1361657"/>
                    <a:pt x="1085945" y="1385565"/>
                  </a:cubicBezTo>
                  <a:lnTo>
                    <a:pt x="1076039" y="1494340"/>
                  </a:lnTo>
                  <a:cubicBezTo>
                    <a:pt x="1055561" y="1502341"/>
                    <a:pt x="1035082" y="1509390"/>
                    <a:pt x="1014603" y="1515200"/>
                  </a:cubicBezTo>
                  <a:lnTo>
                    <a:pt x="944785" y="1434142"/>
                  </a:lnTo>
                  <a:cubicBezTo>
                    <a:pt x="930307" y="1417378"/>
                    <a:pt x="909256" y="1407663"/>
                    <a:pt x="887063" y="1407663"/>
                  </a:cubicBezTo>
                  <a:lnTo>
                    <a:pt x="780097" y="1407663"/>
                  </a:lnTo>
                  <a:cubicBezTo>
                    <a:pt x="757904" y="1407663"/>
                    <a:pt x="736854" y="1417378"/>
                    <a:pt x="722376" y="1434142"/>
                  </a:cubicBezTo>
                  <a:lnTo>
                    <a:pt x="652558" y="1515200"/>
                  </a:lnTo>
                  <a:cubicBezTo>
                    <a:pt x="632079" y="1509390"/>
                    <a:pt x="611600" y="1502436"/>
                    <a:pt x="591122" y="1494340"/>
                  </a:cubicBezTo>
                  <a:lnTo>
                    <a:pt x="581216" y="1385565"/>
                  </a:lnTo>
                  <a:cubicBezTo>
                    <a:pt x="579025" y="1361657"/>
                    <a:pt x="565690" y="1340225"/>
                    <a:pt x="545306" y="1327653"/>
                  </a:cubicBezTo>
                  <a:cubicBezTo>
                    <a:pt x="518446" y="1311079"/>
                    <a:pt x="493014" y="1292315"/>
                    <a:pt x="469297" y="1271455"/>
                  </a:cubicBezTo>
                  <a:cubicBezTo>
                    <a:pt x="450818" y="1255263"/>
                    <a:pt x="425768" y="1248881"/>
                    <a:pt x="401764" y="1254310"/>
                  </a:cubicBezTo>
                  <a:lnTo>
                    <a:pt x="299752" y="1277646"/>
                  </a:lnTo>
                  <a:cubicBezTo>
                    <a:pt x="285560" y="1259739"/>
                    <a:pt x="272320" y="1241070"/>
                    <a:pt x="260033" y="1222020"/>
                  </a:cubicBezTo>
                  <a:lnTo>
                    <a:pt x="314325" y="1128580"/>
                  </a:lnTo>
                  <a:cubicBezTo>
                    <a:pt x="326231" y="1108006"/>
                    <a:pt x="327851" y="1083050"/>
                    <a:pt x="318802" y="1061048"/>
                  </a:cubicBezTo>
                  <a:cubicBezTo>
                    <a:pt x="306610" y="1031235"/>
                    <a:pt x="296989" y="1000564"/>
                    <a:pt x="290036" y="969131"/>
                  </a:cubicBezTo>
                  <a:cubicBezTo>
                    <a:pt x="284702" y="945605"/>
                    <a:pt x="268605" y="925983"/>
                    <a:pt x="246507" y="916268"/>
                  </a:cubicBezTo>
                  <a:lnTo>
                    <a:pt x="152686" y="874929"/>
                  </a:lnTo>
                  <a:lnTo>
                    <a:pt x="152686" y="801682"/>
                  </a:lnTo>
                  <a:lnTo>
                    <a:pt x="246507" y="760343"/>
                  </a:lnTo>
                  <a:cubicBezTo>
                    <a:pt x="268605" y="750628"/>
                    <a:pt x="284702" y="731006"/>
                    <a:pt x="290036" y="707480"/>
                  </a:cubicBezTo>
                  <a:cubicBezTo>
                    <a:pt x="296989" y="676047"/>
                    <a:pt x="306610" y="645281"/>
                    <a:pt x="318802" y="615468"/>
                  </a:cubicBezTo>
                  <a:cubicBezTo>
                    <a:pt x="327851" y="593561"/>
                    <a:pt x="326231" y="568605"/>
                    <a:pt x="314325" y="548031"/>
                  </a:cubicBezTo>
                  <a:lnTo>
                    <a:pt x="260128" y="454591"/>
                  </a:lnTo>
                  <a:cubicBezTo>
                    <a:pt x="272320" y="435636"/>
                    <a:pt x="285560" y="417062"/>
                    <a:pt x="299752" y="398965"/>
                  </a:cubicBezTo>
                  <a:lnTo>
                    <a:pt x="401860" y="422301"/>
                  </a:lnTo>
                  <a:cubicBezTo>
                    <a:pt x="425768" y="427826"/>
                    <a:pt x="450818" y="421444"/>
                    <a:pt x="469202" y="405156"/>
                  </a:cubicBezTo>
                  <a:cubicBezTo>
                    <a:pt x="492919" y="384296"/>
                    <a:pt x="518351" y="365532"/>
                    <a:pt x="545211" y="348959"/>
                  </a:cubicBezTo>
                  <a:cubicBezTo>
                    <a:pt x="565595" y="336386"/>
                    <a:pt x="578930" y="314954"/>
                    <a:pt x="581120" y="291047"/>
                  </a:cubicBezTo>
                  <a:lnTo>
                    <a:pt x="591026" y="182271"/>
                  </a:lnTo>
                  <a:cubicBezTo>
                    <a:pt x="611505" y="174270"/>
                    <a:pt x="631984" y="167222"/>
                    <a:pt x="652463" y="161411"/>
                  </a:cubicBezTo>
                  <a:lnTo>
                    <a:pt x="722281" y="242469"/>
                  </a:lnTo>
                  <a:cubicBezTo>
                    <a:pt x="736759" y="259233"/>
                    <a:pt x="757809" y="268949"/>
                    <a:pt x="780002" y="268949"/>
                  </a:cubicBezTo>
                  <a:lnTo>
                    <a:pt x="886968" y="268949"/>
                  </a:lnTo>
                  <a:cubicBezTo>
                    <a:pt x="909161" y="268949"/>
                    <a:pt x="930212" y="259233"/>
                    <a:pt x="944689" y="242469"/>
                  </a:cubicBezTo>
                  <a:lnTo>
                    <a:pt x="1014508" y="161411"/>
                  </a:lnTo>
                  <a:cubicBezTo>
                    <a:pt x="1034987" y="167222"/>
                    <a:pt x="1055465" y="174175"/>
                    <a:pt x="1075944" y="182271"/>
                  </a:cubicBezTo>
                  <a:lnTo>
                    <a:pt x="1085850" y="291047"/>
                  </a:lnTo>
                  <a:cubicBezTo>
                    <a:pt x="1088041" y="314859"/>
                    <a:pt x="1101376" y="336386"/>
                    <a:pt x="1121759" y="348959"/>
                  </a:cubicBezTo>
                  <a:cubicBezTo>
                    <a:pt x="1148620" y="365532"/>
                    <a:pt x="1174052" y="384296"/>
                    <a:pt x="1197769" y="405156"/>
                  </a:cubicBezTo>
                  <a:cubicBezTo>
                    <a:pt x="1216152" y="421444"/>
                    <a:pt x="1241203" y="427826"/>
                    <a:pt x="1265111" y="422301"/>
                  </a:cubicBezTo>
                  <a:lnTo>
                    <a:pt x="1367219" y="398965"/>
                  </a:lnTo>
                  <a:cubicBezTo>
                    <a:pt x="1381411" y="416967"/>
                    <a:pt x="1394651" y="435541"/>
                    <a:pt x="1406938" y="454591"/>
                  </a:cubicBezTo>
                  <a:lnTo>
                    <a:pt x="1352645" y="548031"/>
                  </a:lnTo>
                  <a:cubicBezTo>
                    <a:pt x="1340739" y="568605"/>
                    <a:pt x="1339120" y="593561"/>
                    <a:pt x="1348169" y="615564"/>
                  </a:cubicBezTo>
                  <a:cubicBezTo>
                    <a:pt x="1360361" y="645377"/>
                    <a:pt x="1369981" y="676047"/>
                    <a:pt x="1376934" y="707480"/>
                  </a:cubicBezTo>
                  <a:cubicBezTo>
                    <a:pt x="1382268" y="731006"/>
                    <a:pt x="1398365" y="750628"/>
                    <a:pt x="1420463" y="760343"/>
                  </a:cubicBezTo>
                  <a:lnTo>
                    <a:pt x="1514285" y="801682"/>
                  </a:lnTo>
                  <a:lnTo>
                    <a:pt x="1514285" y="87492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4F60CA2-F2F5-404C-BF25-A757EA5526AF}"/>
                </a:ext>
              </a:extLst>
            </p:cNvPr>
            <p:cNvSpPr/>
            <p:nvPr/>
          </p:nvSpPr>
          <p:spPr bwMode="gray">
            <a:xfrm>
              <a:off x="17333561" y="747807"/>
              <a:ext cx="762000" cy="752475"/>
            </a:xfrm>
            <a:custGeom>
              <a:avLst/>
              <a:gdLst>
                <a:gd name="connsiteX0" fmla="*/ 381000 w 762000"/>
                <a:gd name="connsiteY0" fmla="*/ 0 h 752475"/>
                <a:gd name="connsiteX1" fmla="*/ 0 w 762000"/>
                <a:gd name="connsiteY1" fmla="*/ 381000 h 752475"/>
                <a:gd name="connsiteX2" fmla="*/ 381000 w 762000"/>
                <a:gd name="connsiteY2" fmla="*/ 762000 h 752475"/>
                <a:gd name="connsiteX3" fmla="*/ 762000 w 762000"/>
                <a:gd name="connsiteY3" fmla="*/ 381000 h 752475"/>
                <a:gd name="connsiteX4" fmla="*/ 381000 w 762000"/>
                <a:gd name="connsiteY4" fmla="*/ 0 h 752475"/>
                <a:gd name="connsiteX5" fmla="*/ 381000 w 762000"/>
                <a:gd name="connsiteY5" fmla="*/ 609600 h 752475"/>
                <a:gd name="connsiteX6" fmla="*/ 152400 w 762000"/>
                <a:gd name="connsiteY6" fmla="*/ 381000 h 752475"/>
                <a:gd name="connsiteX7" fmla="*/ 381000 w 762000"/>
                <a:gd name="connsiteY7" fmla="*/ 152400 h 752475"/>
                <a:gd name="connsiteX8" fmla="*/ 609600 w 762000"/>
                <a:gd name="connsiteY8" fmla="*/ 381000 h 752475"/>
                <a:gd name="connsiteX9" fmla="*/ 381000 w 762000"/>
                <a:gd name="connsiteY9" fmla="*/ 60960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0" h="752475">
                  <a:moveTo>
                    <a:pt x="381000" y="0"/>
                  </a:moveTo>
                  <a:cubicBezTo>
                    <a:pt x="170593" y="0"/>
                    <a:pt x="0" y="170593"/>
                    <a:pt x="0" y="381000"/>
                  </a:cubicBezTo>
                  <a:cubicBezTo>
                    <a:pt x="286" y="591312"/>
                    <a:pt x="170688" y="761714"/>
                    <a:pt x="381000" y="762000"/>
                  </a:cubicBezTo>
                  <a:cubicBezTo>
                    <a:pt x="591407" y="762000"/>
                    <a:pt x="762000" y="591407"/>
                    <a:pt x="762000" y="381000"/>
                  </a:cubicBezTo>
                  <a:cubicBezTo>
                    <a:pt x="762000" y="170593"/>
                    <a:pt x="591407" y="0"/>
                    <a:pt x="381000" y="0"/>
                  </a:cubicBezTo>
                  <a:close/>
                  <a:moveTo>
                    <a:pt x="381000" y="609600"/>
                  </a:moveTo>
                  <a:cubicBezTo>
                    <a:pt x="254698" y="609600"/>
                    <a:pt x="152400" y="507206"/>
                    <a:pt x="152400" y="381000"/>
                  </a:cubicBezTo>
                  <a:cubicBezTo>
                    <a:pt x="152495" y="254794"/>
                    <a:pt x="254794" y="152495"/>
                    <a:pt x="381000" y="152400"/>
                  </a:cubicBezTo>
                  <a:cubicBezTo>
                    <a:pt x="507302" y="152400"/>
                    <a:pt x="609600" y="254794"/>
                    <a:pt x="609600" y="381000"/>
                  </a:cubicBezTo>
                  <a:cubicBezTo>
                    <a:pt x="609600" y="507206"/>
                    <a:pt x="507206" y="609600"/>
                    <a:pt x="381000" y="609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81A10CE1-CA91-4832-B93C-343257B26D99}"/>
                </a:ext>
              </a:extLst>
            </p:cNvPr>
            <p:cNvSpPr/>
            <p:nvPr/>
          </p:nvSpPr>
          <p:spPr bwMode="gray">
            <a:xfrm>
              <a:off x="16275238" y="2585275"/>
              <a:ext cx="2266950" cy="2266950"/>
            </a:xfrm>
            <a:custGeom>
              <a:avLst/>
              <a:gdLst>
                <a:gd name="connsiteX0" fmla="*/ 2208276 w 2266950"/>
                <a:gd name="connsiteY0" fmla="*/ 929831 h 2266950"/>
                <a:gd name="connsiteX1" fmla="*/ 2097881 w 2266950"/>
                <a:gd name="connsiteY1" fmla="*/ 906590 h 2266950"/>
                <a:gd name="connsiteX2" fmla="*/ 2082451 w 2266950"/>
                <a:gd name="connsiteY2" fmla="*/ 849344 h 2266950"/>
                <a:gd name="connsiteX3" fmla="*/ 2167128 w 2266950"/>
                <a:gd name="connsiteY3" fmla="*/ 773430 h 2266950"/>
                <a:gd name="connsiteX4" fmla="*/ 2186369 w 2266950"/>
                <a:gd name="connsiteY4" fmla="*/ 686848 h 2266950"/>
                <a:gd name="connsiteX5" fmla="*/ 2046351 w 2266950"/>
                <a:gd name="connsiteY5" fmla="*/ 447103 h 2266950"/>
                <a:gd name="connsiteX6" fmla="*/ 1961674 w 2266950"/>
                <a:gd name="connsiteY6" fmla="*/ 420529 h 2266950"/>
                <a:gd name="connsiteX7" fmla="*/ 1855184 w 2266950"/>
                <a:gd name="connsiteY7" fmla="*/ 455485 h 2266950"/>
                <a:gd name="connsiteX8" fmla="*/ 1813179 w 2266950"/>
                <a:gd name="connsiteY8" fmla="*/ 413480 h 2266950"/>
                <a:gd name="connsiteX9" fmla="*/ 1848136 w 2266950"/>
                <a:gd name="connsiteY9" fmla="*/ 307086 h 2266950"/>
                <a:gd name="connsiteX10" fmla="*/ 1821656 w 2266950"/>
                <a:gd name="connsiteY10" fmla="*/ 222504 h 2266950"/>
                <a:gd name="connsiteX11" fmla="*/ 1581817 w 2266950"/>
                <a:gd name="connsiteY11" fmla="*/ 82391 h 2266950"/>
                <a:gd name="connsiteX12" fmla="*/ 1495235 w 2266950"/>
                <a:gd name="connsiteY12" fmla="*/ 101632 h 2266950"/>
                <a:gd name="connsiteX13" fmla="*/ 1419320 w 2266950"/>
                <a:gd name="connsiteY13" fmla="*/ 186404 h 2266950"/>
                <a:gd name="connsiteX14" fmla="*/ 1362075 w 2266950"/>
                <a:gd name="connsiteY14" fmla="*/ 170878 h 2266950"/>
                <a:gd name="connsiteX15" fmla="*/ 1338834 w 2266950"/>
                <a:gd name="connsiteY15" fmla="*/ 60484 h 2266950"/>
                <a:gd name="connsiteX16" fmla="*/ 1264253 w 2266950"/>
                <a:gd name="connsiteY16" fmla="*/ 0 h 2266950"/>
                <a:gd name="connsiteX17" fmla="*/ 1004411 w 2266950"/>
                <a:gd name="connsiteY17" fmla="*/ 0 h 2266950"/>
                <a:gd name="connsiteX18" fmla="*/ 929831 w 2266950"/>
                <a:gd name="connsiteY18" fmla="*/ 60484 h 2266950"/>
                <a:gd name="connsiteX19" fmla="*/ 906590 w 2266950"/>
                <a:gd name="connsiteY19" fmla="*/ 170878 h 2266950"/>
                <a:gd name="connsiteX20" fmla="*/ 849344 w 2266950"/>
                <a:gd name="connsiteY20" fmla="*/ 186309 h 2266950"/>
                <a:gd name="connsiteX21" fmla="*/ 773430 w 2266950"/>
                <a:gd name="connsiteY21" fmla="*/ 101632 h 2266950"/>
                <a:gd name="connsiteX22" fmla="*/ 686848 w 2266950"/>
                <a:gd name="connsiteY22" fmla="*/ 82391 h 2266950"/>
                <a:gd name="connsiteX23" fmla="*/ 447103 w 2266950"/>
                <a:gd name="connsiteY23" fmla="*/ 222409 h 2266950"/>
                <a:gd name="connsiteX24" fmla="*/ 420529 w 2266950"/>
                <a:gd name="connsiteY24" fmla="*/ 307086 h 2266950"/>
                <a:gd name="connsiteX25" fmla="*/ 455485 w 2266950"/>
                <a:gd name="connsiteY25" fmla="*/ 413575 h 2266950"/>
                <a:gd name="connsiteX26" fmla="*/ 413480 w 2266950"/>
                <a:gd name="connsiteY26" fmla="*/ 455581 h 2266950"/>
                <a:gd name="connsiteX27" fmla="*/ 307086 w 2266950"/>
                <a:gd name="connsiteY27" fmla="*/ 420624 h 2266950"/>
                <a:gd name="connsiteX28" fmla="*/ 222504 w 2266950"/>
                <a:gd name="connsiteY28" fmla="*/ 447103 h 2266950"/>
                <a:gd name="connsiteX29" fmla="*/ 82391 w 2266950"/>
                <a:gd name="connsiteY29" fmla="*/ 686943 h 2266950"/>
                <a:gd name="connsiteX30" fmla="*/ 101632 w 2266950"/>
                <a:gd name="connsiteY30" fmla="*/ 773525 h 2266950"/>
                <a:gd name="connsiteX31" fmla="*/ 186404 w 2266950"/>
                <a:gd name="connsiteY31" fmla="*/ 849440 h 2266950"/>
                <a:gd name="connsiteX32" fmla="*/ 170878 w 2266950"/>
                <a:gd name="connsiteY32" fmla="*/ 906685 h 2266950"/>
                <a:gd name="connsiteX33" fmla="*/ 60484 w 2266950"/>
                <a:gd name="connsiteY33" fmla="*/ 929926 h 2266950"/>
                <a:gd name="connsiteX34" fmla="*/ 0 w 2266950"/>
                <a:gd name="connsiteY34" fmla="*/ 1004507 h 2266950"/>
                <a:gd name="connsiteX35" fmla="*/ 0 w 2266950"/>
                <a:gd name="connsiteY35" fmla="*/ 1264349 h 2266950"/>
                <a:gd name="connsiteX36" fmla="*/ 60484 w 2266950"/>
                <a:gd name="connsiteY36" fmla="*/ 1338929 h 2266950"/>
                <a:gd name="connsiteX37" fmla="*/ 170878 w 2266950"/>
                <a:gd name="connsiteY37" fmla="*/ 1362170 h 2266950"/>
                <a:gd name="connsiteX38" fmla="*/ 186309 w 2266950"/>
                <a:gd name="connsiteY38" fmla="*/ 1419416 h 2266950"/>
                <a:gd name="connsiteX39" fmla="*/ 101632 w 2266950"/>
                <a:gd name="connsiteY39" fmla="*/ 1495330 h 2266950"/>
                <a:gd name="connsiteX40" fmla="*/ 82391 w 2266950"/>
                <a:gd name="connsiteY40" fmla="*/ 1581912 h 2266950"/>
                <a:gd name="connsiteX41" fmla="*/ 222409 w 2266950"/>
                <a:gd name="connsiteY41" fmla="*/ 1821656 h 2266950"/>
                <a:gd name="connsiteX42" fmla="*/ 307086 w 2266950"/>
                <a:gd name="connsiteY42" fmla="*/ 1848231 h 2266950"/>
                <a:gd name="connsiteX43" fmla="*/ 413575 w 2266950"/>
                <a:gd name="connsiteY43" fmla="*/ 1813274 h 2266950"/>
                <a:gd name="connsiteX44" fmla="*/ 455581 w 2266950"/>
                <a:gd name="connsiteY44" fmla="*/ 1855280 h 2266950"/>
                <a:gd name="connsiteX45" fmla="*/ 420624 w 2266950"/>
                <a:gd name="connsiteY45" fmla="*/ 1961674 h 2266950"/>
                <a:gd name="connsiteX46" fmla="*/ 447103 w 2266950"/>
                <a:gd name="connsiteY46" fmla="*/ 2046256 h 2266950"/>
                <a:gd name="connsiteX47" fmla="*/ 686943 w 2266950"/>
                <a:gd name="connsiteY47" fmla="*/ 2186369 h 2266950"/>
                <a:gd name="connsiteX48" fmla="*/ 773525 w 2266950"/>
                <a:gd name="connsiteY48" fmla="*/ 2167128 h 2266950"/>
                <a:gd name="connsiteX49" fmla="*/ 849440 w 2266950"/>
                <a:gd name="connsiteY49" fmla="*/ 2082356 h 2266950"/>
                <a:gd name="connsiteX50" fmla="*/ 906685 w 2266950"/>
                <a:gd name="connsiteY50" fmla="*/ 2097882 h 2266950"/>
                <a:gd name="connsiteX51" fmla="*/ 929926 w 2266950"/>
                <a:gd name="connsiteY51" fmla="*/ 2208276 h 2266950"/>
                <a:gd name="connsiteX52" fmla="*/ 1004507 w 2266950"/>
                <a:gd name="connsiteY52" fmla="*/ 2268760 h 2266950"/>
                <a:gd name="connsiteX53" fmla="*/ 1264349 w 2266950"/>
                <a:gd name="connsiteY53" fmla="*/ 2268760 h 2266950"/>
                <a:gd name="connsiteX54" fmla="*/ 1338929 w 2266950"/>
                <a:gd name="connsiteY54" fmla="*/ 2208276 h 2266950"/>
                <a:gd name="connsiteX55" fmla="*/ 1362170 w 2266950"/>
                <a:gd name="connsiteY55" fmla="*/ 2097882 h 2266950"/>
                <a:gd name="connsiteX56" fmla="*/ 1419416 w 2266950"/>
                <a:gd name="connsiteY56" fmla="*/ 2082451 h 2266950"/>
                <a:gd name="connsiteX57" fmla="*/ 1495330 w 2266950"/>
                <a:gd name="connsiteY57" fmla="*/ 2167128 h 2266950"/>
                <a:gd name="connsiteX58" fmla="*/ 1581912 w 2266950"/>
                <a:gd name="connsiteY58" fmla="*/ 2186369 h 2266950"/>
                <a:gd name="connsiteX59" fmla="*/ 1821656 w 2266950"/>
                <a:gd name="connsiteY59" fmla="*/ 2046351 h 2266950"/>
                <a:gd name="connsiteX60" fmla="*/ 1848231 w 2266950"/>
                <a:gd name="connsiteY60" fmla="*/ 1961674 h 2266950"/>
                <a:gd name="connsiteX61" fmla="*/ 1813274 w 2266950"/>
                <a:gd name="connsiteY61" fmla="*/ 1855184 h 2266950"/>
                <a:gd name="connsiteX62" fmla="*/ 1855279 w 2266950"/>
                <a:gd name="connsiteY62" fmla="*/ 1813179 h 2266950"/>
                <a:gd name="connsiteX63" fmla="*/ 1961674 w 2266950"/>
                <a:gd name="connsiteY63" fmla="*/ 1848136 h 2266950"/>
                <a:gd name="connsiteX64" fmla="*/ 2046256 w 2266950"/>
                <a:gd name="connsiteY64" fmla="*/ 1821656 h 2266950"/>
                <a:gd name="connsiteX65" fmla="*/ 2186369 w 2266950"/>
                <a:gd name="connsiteY65" fmla="*/ 1581817 h 2266950"/>
                <a:gd name="connsiteX66" fmla="*/ 2167128 w 2266950"/>
                <a:gd name="connsiteY66" fmla="*/ 1495235 h 2266950"/>
                <a:gd name="connsiteX67" fmla="*/ 2082356 w 2266950"/>
                <a:gd name="connsiteY67" fmla="*/ 1419320 h 2266950"/>
                <a:gd name="connsiteX68" fmla="*/ 2097881 w 2266950"/>
                <a:gd name="connsiteY68" fmla="*/ 1362075 h 2266950"/>
                <a:gd name="connsiteX69" fmla="*/ 2208276 w 2266950"/>
                <a:gd name="connsiteY69" fmla="*/ 1338834 h 2266950"/>
                <a:gd name="connsiteX70" fmla="*/ 2268760 w 2266950"/>
                <a:gd name="connsiteY70" fmla="*/ 1264253 h 2266950"/>
                <a:gd name="connsiteX71" fmla="*/ 2268760 w 2266950"/>
                <a:gd name="connsiteY71" fmla="*/ 1004411 h 2266950"/>
                <a:gd name="connsiteX72" fmla="*/ 2208276 w 2266950"/>
                <a:gd name="connsiteY72" fmla="*/ 929831 h 2266950"/>
                <a:gd name="connsiteX73" fmla="*/ 2116360 w 2266950"/>
                <a:gd name="connsiteY73" fmla="*/ 1202341 h 2266950"/>
                <a:gd name="connsiteX74" fmla="*/ 2017776 w 2266950"/>
                <a:gd name="connsiteY74" fmla="*/ 1223105 h 2266950"/>
                <a:gd name="connsiteX75" fmla="*/ 1958435 w 2266950"/>
                <a:gd name="connsiteY75" fmla="*/ 1284160 h 2266950"/>
                <a:gd name="connsiteX76" fmla="*/ 1922621 w 2266950"/>
                <a:gd name="connsiteY76" fmla="*/ 1417034 h 2266950"/>
                <a:gd name="connsiteX77" fmla="*/ 1943576 w 2266950"/>
                <a:gd name="connsiteY77" fmla="*/ 1499521 h 2266950"/>
                <a:gd name="connsiteX78" fmla="*/ 2023491 w 2266950"/>
                <a:gd name="connsiteY78" fmla="*/ 1571149 h 2266950"/>
                <a:gd name="connsiteX79" fmla="*/ 1956149 w 2266950"/>
                <a:gd name="connsiteY79" fmla="*/ 1685925 h 2266950"/>
                <a:gd name="connsiteX80" fmla="*/ 1855470 w 2266950"/>
                <a:gd name="connsiteY80" fmla="*/ 1652778 h 2266950"/>
                <a:gd name="connsiteX81" fmla="*/ 1773460 w 2266950"/>
                <a:gd name="connsiteY81" fmla="*/ 1675924 h 2266950"/>
                <a:gd name="connsiteX82" fmla="*/ 1676019 w 2266950"/>
                <a:gd name="connsiteY82" fmla="*/ 1773460 h 2266950"/>
                <a:gd name="connsiteX83" fmla="*/ 1652968 w 2266950"/>
                <a:gd name="connsiteY83" fmla="*/ 1855375 h 2266950"/>
                <a:gd name="connsiteX84" fmla="*/ 1686116 w 2266950"/>
                <a:gd name="connsiteY84" fmla="*/ 1955959 h 2266950"/>
                <a:gd name="connsiteX85" fmla="*/ 1571339 w 2266950"/>
                <a:gd name="connsiteY85" fmla="*/ 2023301 h 2266950"/>
                <a:gd name="connsiteX86" fmla="*/ 1499711 w 2266950"/>
                <a:gd name="connsiteY86" fmla="*/ 1943386 h 2266950"/>
                <a:gd name="connsiteX87" fmla="*/ 1417129 w 2266950"/>
                <a:gd name="connsiteY87" fmla="*/ 1922431 h 2266950"/>
                <a:gd name="connsiteX88" fmla="*/ 1284446 w 2266950"/>
                <a:gd name="connsiteY88" fmla="*/ 1958245 h 2266950"/>
                <a:gd name="connsiteX89" fmla="*/ 1223391 w 2266950"/>
                <a:gd name="connsiteY89" fmla="*/ 2017585 h 2266950"/>
                <a:gd name="connsiteX90" fmla="*/ 1202627 w 2266950"/>
                <a:gd name="connsiteY90" fmla="*/ 2116169 h 2266950"/>
                <a:gd name="connsiteX91" fmla="*/ 1066419 w 2266950"/>
                <a:gd name="connsiteY91" fmla="*/ 2116169 h 2266950"/>
                <a:gd name="connsiteX92" fmla="*/ 1045654 w 2266950"/>
                <a:gd name="connsiteY92" fmla="*/ 2017585 h 2266950"/>
                <a:gd name="connsiteX93" fmla="*/ 984599 w 2266950"/>
                <a:gd name="connsiteY93" fmla="*/ 1958245 h 2266950"/>
                <a:gd name="connsiteX94" fmla="*/ 851726 w 2266950"/>
                <a:gd name="connsiteY94" fmla="*/ 1922431 h 2266950"/>
                <a:gd name="connsiteX95" fmla="*/ 851726 w 2266950"/>
                <a:gd name="connsiteY95" fmla="*/ 1922431 h 2266950"/>
                <a:gd name="connsiteX96" fmla="*/ 769239 w 2266950"/>
                <a:gd name="connsiteY96" fmla="*/ 1943386 h 2266950"/>
                <a:gd name="connsiteX97" fmla="*/ 697611 w 2266950"/>
                <a:gd name="connsiteY97" fmla="*/ 2023301 h 2266950"/>
                <a:gd name="connsiteX98" fmla="*/ 582835 w 2266950"/>
                <a:gd name="connsiteY98" fmla="*/ 1955959 h 2266950"/>
                <a:gd name="connsiteX99" fmla="*/ 615982 w 2266950"/>
                <a:gd name="connsiteY99" fmla="*/ 1855280 h 2266950"/>
                <a:gd name="connsiteX100" fmla="*/ 592836 w 2266950"/>
                <a:gd name="connsiteY100" fmla="*/ 1773269 h 2266950"/>
                <a:gd name="connsiteX101" fmla="*/ 495300 w 2266950"/>
                <a:gd name="connsiteY101" fmla="*/ 1675828 h 2266950"/>
                <a:gd name="connsiteX102" fmla="*/ 413385 w 2266950"/>
                <a:gd name="connsiteY102" fmla="*/ 1652778 h 2266950"/>
                <a:gd name="connsiteX103" fmla="*/ 312801 w 2266950"/>
                <a:gd name="connsiteY103" fmla="*/ 1685925 h 2266950"/>
                <a:gd name="connsiteX104" fmla="*/ 245459 w 2266950"/>
                <a:gd name="connsiteY104" fmla="*/ 1571149 h 2266950"/>
                <a:gd name="connsiteX105" fmla="*/ 325374 w 2266950"/>
                <a:gd name="connsiteY105" fmla="*/ 1499521 h 2266950"/>
                <a:gd name="connsiteX106" fmla="*/ 346329 w 2266950"/>
                <a:gd name="connsiteY106" fmla="*/ 1416939 h 2266950"/>
                <a:gd name="connsiteX107" fmla="*/ 310515 w 2266950"/>
                <a:gd name="connsiteY107" fmla="*/ 1284256 h 2266950"/>
                <a:gd name="connsiteX108" fmla="*/ 251174 w 2266950"/>
                <a:gd name="connsiteY108" fmla="*/ 1223201 h 2266950"/>
                <a:gd name="connsiteX109" fmla="*/ 152591 w 2266950"/>
                <a:gd name="connsiteY109" fmla="*/ 1202436 h 2266950"/>
                <a:gd name="connsiteX110" fmla="*/ 152591 w 2266950"/>
                <a:gd name="connsiteY110" fmla="*/ 1066228 h 2266950"/>
                <a:gd name="connsiteX111" fmla="*/ 251174 w 2266950"/>
                <a:gd name="connsiteY111" fmla="*/ 1045464 h 2266950"/>
                <a:gd name="connsiteX112" fmla="*/ 310515 w 2266950"/>
                <a:gd name="connsiteY112" fmla="*/ 984409 h 2266950"/>
                <a:gd name="connsiteX113" fmla="*/ 346329 w 2266950"/>
                <a:gd name="connsiteY113" fmla="*/ 851535 h 2266950"/>
                <a:gd name="connsiteX114" fmla="*/ 325374 w 2266950"/>
                <a:gd name="connsiteY114" fmla="*/ 769049 h 2266950"/>
                <a:gd name="connsiteX115" fmla="*/ 245459 w 2266950"/>
                <a:gd name="connsiteY115" fmla="*/ 697421 h 2266950"/>
                <a:gd name="connsiteX116" fmla="*/ 312801 w 2266950"/>
                <a:gd name="connsiteY116" fmla="*/ 582644 h 2266950"/>
                <a:gd name="connsiteX117" fmla="*/ 413480 w 2266950"/>
                <a:gd name="connsiteY117" fmla="*/ 615791 h 2266950"/>
                <a:gd name="connsiteX118" fmla="*/ 495491 w 2266950"/>
                <a:gd name="connsiteY118" fmla="*/ 592646 h 2266950"/>
                <a:gd name="connsiteX119" fmla="*/ 592931 w 2266950"/>
                <a:gd name="connsiteY119" fmla="*/ 495109 h 2266950"/>
                <a:gd name="connsiteX120" fmla="*/ 615982 w 2266950"/>
                <a:gd name="connsiteY120" fmla="*/ 413194 h 2266950"/>
                <a:gd name="connsiteX121" fmla="*/ 582835 w 2266950"/>
                <a:gd name="connsiteY121" fmla="*/ 312610 h 2266950"/>
                <a:gd name="connsiteX122" fmla="*/ 697611 w 2266950"/>
                <a:gd name="connsiteY122" fmla="*/ 245269 h 2266950"/>
                <a:gd name="connsiteX123" fmla="*/ 769239 w 2266950"/>
                <a:gd name="connsiteY123" fmla="*/ 325184 h 2266950"/>
                <a:gd name="connsiteX124" fmla="*/ 851821 w 2266950"/>
                <a:gd name="connsiteY124" fmla="*/ 346139 h 2266950"/>
                <a:gd name="connsiteX125" fmla="*/ 984504 w 2266950"/>
                <a:gd name="connsiteY125" fmla="*/ 310325 h 2266950"/>
                <a:gd name="connsiteX126" fmla="*/ 1045559 w 2266950"/>
                <a:gd name="connsiteY126" fmla="*/ 250984 h 2266950"/>
                <a:gd name="connsiteX127" fmla="*/ 1066324 w 2266950"/>
                <a:gd name="connsiteY127" fmla="*/ 152400 h 2266950"/>
                <a:gd name="connsiteX128" fmla="*/ 1202531 w 2266950"/>
                <a:gd name="connsiteY128" fmla="*/ 152400 h 2266950"/>
                <a:gd name="connsiteX129" fmla="*/ 1223296 w 2266950"/>
                <a:gd name="connsiteY129" fmla="*/ 250984 h 2266950"/>
                <a:gd name="connsiteX130" fmla="*/ 1284351 w 2266950"/>
                <a:gd name="connsiteY130" fmla="*/ 310325 h 2266950"/>
                <a:gd name="connsiteX131" fmla="*/ 1417225 w 2266950"/>
                <a:gd name="connsiteY131" fmla="*/ 346139 h 2266950"/>
                <a:gd name="connsiteX132" fmla="*/ 1499711 w 2266950"/>
                <a:gd name="connsiteY132" fmla="*/ 325184 h 2266950"/>
                <a:gd name="connsiteX133" fmla="*/ 1571339 w 2266950"/>
                <a:gd name="connsiteY133" fmla="*/ 245269 h 2266950"/>
                <a:gd name="connsiteX134" fmla="*/ 1686116 w 2266950"/>
                <a:gd name="connsiteY134" fmla="*/ 312610 h 2266950"/>
                <a:gd name="connsiteX135" fmla="*/ 1652968 w 2266950"/>
                <a:gd name="connsiteY135" fmla="*/ 413290 h 2266950"/>
                <a:gd name="connsiteX136" fmla="*/ 1676114 w 2266950"/>
                <a:gd name="connsiteY136" fmla="*/ 495300 h 2266950"/>
                <a:gd name="connsiteX137" fmla="*/ 1773650 w 2266950"/>
                <a:gd name="connsiteY137" fmla="*/ 592741 h 2266950"/>
                <a:gd name="connsiteX138" fmla="*/ 1855565 w 2266950"/>
                <a:gd name="connsiteY138" fmla="*/ 615791 h 2266950"/>
                <a:gd name="connsiteX139" fmla="*/ 1956149 w 2266950"/>
                <a:gd name="connsiteY139" fmla="*/ 582644 h 2266950"/>
                <a:gd name="connsiteX140" fmla="*/ 2023491 w 2266950"/>
                <a:gd name="connsiteY140" fmla="*/ 697421 h 2266950"/>
                <a:gd name="connsiteX141" fmla="*/ 1943576 w 2266950"/>
                <a:gd name="connsiteY141" fmla="*/ 769049 h 2266950"/>
                <a:gd name="connsiteX142" fmla="*/ 1922621 w 2266950"/>
                <a:gd name="connsiteY142" fmla="*/ 851630 h 2266950"/>
                <a:gd name="connsiteX143" fmla="*/ 1958435 w 2266950"/>
                <a:gd name="connsiteY143" fmla="*/ 984314 h 2266950"/>
                <a:gd name="connsiteX144" fmla="*/ 2017776 w 2266950"/>
                <a:gd name="connsiteY144" fmla="*/ 1045369 h 2266950"/>
                <a:gd name="connsiteX145" fmla="*/ 2116360 w 2266950"/>
                <a:gd name="connsiteY145" fmla="*/ 1066133 h 2266950"/>
                <a:gd name="connsiteX146" fmla="*/ 2116360 w 2266950"/>
                <a:gd name="connsiteY146" fmla="*/ 1202341 h 2266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266950" h="2266950">
                  <a:moveTo>
                    <a:pt x="2208276" y="929831"/>
                  </a:moveTo>
                  <a:lnTo>
                    <a:pt x="2097881" y="906590"/>
                  </a:lnTo>
                  <a:cubicBezTo>
                    <a:pt x="2093309" y="887444"/>
                    <a:pt x="2088166" y="868299"/>
                    <a:pt x="2082451" y="849344"/>
                  </a:cubicBezTo>
                  <a:lnTo>
                    <a:pt x="2167128" y="773430"/>
                  </a:lnTo>
                  <a:cubicBezTo>
                    <a:pt x="2191417" y="751618"/>
                    <a:pt x="2199227" y="716851"/>
                    <a:pt x="2186369" y="686848"/>
                  </a:cubicBezTo>
                  <a:cubicBezTo>
                    <a:pt x="2149602" y="601504"/>
                    <a:pt x="2102644" y="521017"/>
                    <a:pt x="2046351" y="447103"/>
                  </a:cubicBezTo>
                  <a:cubicBezTo>
                    <a:pt x="2026634" y="421100"/>
                    <a:pt x="1992630" y="410432"/>
                    <a:pt x="1961674" y="420529"/>
                  </a:cubicBezTo>
                  <a:lnTo>
                    <a:pt x="1855184" y="455485"/>
                  </a:lnTo>
                  <a:cubicBezTo>
                    <a:pt x="1841659" y="441103"/>
                    <a:pt x="1827562" y="427101"/>
                    <a:pt x="1813179" y="413480"/>
                  </a:cubicBezTo>
                  <a:lnTo>
                    <a:pt x="1848136" y="307086"/>
                  </a:lnTo>
                  <a:cubicBezTo>
                    <a:pt x="1858327" y="276130"/>
                    <a:pt x="1847660" y="242125"/>
                    <a:pt x="1821656" y="222504"/>
                  </a:cubicBezTo>
                  <a:cubicBezTo>
                    <a:pt x="1747742" y="166211"/>
                    <a:pt x="1667161" y="119158"/>
                    <a:pt x="1581817" y="82391"/>
                  </a:cubicBezTo>
                  <a:cubicBezTo>
                    <a:pt x="1551813" y="69723"/>
                    <a:pt x="1517047" y="77438"/>
                    <a:pt x="1495235" y="101632"/>
                  </a:cubicBezTo>
                  <a:lnTo>
                    <a:pt x="1419320" y="186404"/>
                  </a:lnTo>
                  <a:cubicBezTo>
                    <a:pt x="1400366" y="180594"/>
                    <a:pt x="1381220" y="175450"/>
                    <a:pt x="1362075" y="170878"/>
                  </a:cubicBezTo>
                  <a:lnTo>
                    <a:pt x="1338834" y="60484"/>
                  </a:lnTo>
                  <a:cubicBezTo>
                    <a:pt x="1331404" y="25241"/>
                    <a:pt x="1300258" y="0"/>
                    <a:pt x="1264253" y="0"/>
                  </a:cubicBezTo>
                  <a:lnTo>
                    <a:pt x="1004411" y="0"/>
                  </a:lnTo>
                  <a:cubicBezTo>
                    <a:pt x="968407" y="0"/>
                    <a:pt x="937260" y="25241"/>
                    <a:pt x="929831" y="60484"/>
                  </a:cubicBezTo>
                  <a:lnTo>
                    <a:pt x="906590" y="170878"/>
                  </a:lnTo>
                  <a:cubicBezTo>
                    <a:pt x="887444" y="175450"/>
                    <a:pt x="868299" y="180594"/>
                    <a:pt x="849344" y="186309"/>
                  </a:cubicBezTo>
                  <a:lnTo>
                    <a:pt x="773430" y="101632"/>
                  </a:lnTo>
                  <a:cubicBezTo>
                    <a:pt x="751618" y="77438"/>
                    <a:pt x="716851" y="69723"/>
                    <a:pt x="686848" y="82391"/>
                  </a:cubicBezTo>
                  <a:cubicBezTo>
                    <a:pt x="601504" y="119158"/>
                    <a:pt x="521017" y="166116"/>
                    <a:pt x="447103" y="222409"/>
                  </a:cubicBezTo>
                  <a:cubicBezTo>
                    <a:pt x="421005" y="242030"/>
                    <a:pt x="410337" y="276130"/>
                    <a:pt x="420529" y="307086"/>
                  </a:cubicBezTo>
                  <a:lnTo>
                    <a:pt x="455485" y="413575"/>
                  </a:lnTo>
                  <a:cubicBezTo>
                    <a:pt x="441103" y="427101"/>
                    <a:pt x="427101" y="441198"/>
                    <a:pt x="413480" y="455581"/>
                  </a:cubicBezTo>
                  <a:lnTo>
                    <a:pt x="307086" y="420624"/>
                  </a:lnTo>
                  <a:cubicBezTo>
                    <a:pt x="276130" y="410623"/>
                    <a:pt x="242221" y="421196"/>
                    <a:pt x="222504" y="447103"/>
                  </a:cubicBezTo>
                  <a:cubicBezTo>
                    <a:pt x="166211" y="521017"/>
                    <a:pt x="119158" y="601599"/>
                    <a:pt x="82391" y="686943"/>
                  </a:cubicBezTo>
                  <a:cubicBezTo>
                    <a:pt x="69628" y="716947"/>
                    <a:pt x="77343" y="751808"/>
                    <a:pt x="101632" y="773525"/>
                  </a:cubicBezTo>
                  <a:lnTo>
                    <a:pt x="186404" y="849440"/>
                  </a:lnTo>
                  <a:cubicBezTo>
                    <a:pt x="180594" y="868394"/>
                    <a:pt x="175450" y="887540"/>
                    <a:pt x="170878" y="906685"/>
                  </a:cubicBezTo>
                  <a:lnTo>
                    <a:pt x="60484" y="929926"/>
                  </a:lnTo>
                  <a:cubicBezTo>
                    <a:pt x="25241" y="937355"/>
                    <a:pt x="0" y="968502"/>
                    <a:pt x="0" y="1004507"/>
                  </a:cubicBezTo>
                  <a:lnTo>
                    <a:pt x="0" y="1264349"/>
                  </a:lnTo>
                  <a:cubicBezTo>
                    <a:pt x="0" y="1300353"/>
                    <a:pt x="25241" y="1331500"/>
                    <a:pt x="60484" y="1338929"/>
                  </a:cubicBezTo>
                  <a:lnTo>
                    <a:pt x="170878" y="1362170"/>
                  </a:lnTo>
                  <a:cubicBezTo>
                    <a:pt x="175450" y="1381316"/>
                    <a:pt x="180594" y="1400461"/>
                    <a:pt x="186309" y="1419416"/>
                  </a:cubicBezTo>
                  <a:lnTo>
                    <a:pt x="101632" y="1495330"/>
                  </a:lnTo>
                  <a:cubicBezTo>
                    <a:pt x="77343" y="1517142"/>
                    <a:pt x="69533" y="1551908"/>
                    <a:pt x="82391" y="1581912"/>
                  </a:cubicBezTo>
                  <a:cubicBezTo>
                    <a:pt x="119158" y="1667256"/>
                    <a:pt x="166116" y="1747742"/>
                    <a:pt x="222409" y="1821656"/>
                  </a:cubicBezTo>
                  <a:cubicBezTo>
                    <a:pt x="242125" y="1847660"/>
                    <a:pt x="276130" y="1858327"/>
                    <a:pt x="307086" y="1848231"/>
                  </a:cubicBezTo>
                  <a:lnTo>
                    <a:pt x="413575" y="1813274"/>
                  </a:lnTo>
                  <a:cubicBezTo>
                    <a:pt x="427101" y="1827657"/>
                    <a:pt x="441198" y="1841659"/>
                    <a:pt x="455581" y="1855280"/>
                  </a:cubicBezTo>
                  <a:lnTo>
                    <a:pt x="420624" y="1961674"/>
                  </a:lnTo>
                  <a:cubicBezTo>
                    <a:pt x="410432" y="1992630"/>
                    <a:pt x="421100" y="2026634"/>
                    <a:pt x="447103" y="2046256"/>
                  </a:cubicBezTo>
                  <a:cubicBezTo>
                    <a:pt x="521017" y="2102549"/>
                    <a:pt x="601599" y="2149602"/>
                    <a:pt x="686943" y="2186369"/>
                  </a:cubicBezTo>
                  <a:cubicBezTo>
                    <a:pt x="716947" y="2199227"/>
                    <a:pt x="751808" y="2191512"/>
                    <a:pt x="773525" y="2167128"/>
                  </a:cubicBezTo>
                  <a:lnTo>
                    <a:pt x="849440" y="2082356"/>
                  </a:lnTo>
                  <a:cubicBezTo>
                    <a:pt x="868394" y="2088166"/>
                    <a:pt x="887540" y="2093309"/>
                    <a:pt x="906685" y="2097882"/>
                  </a:cubicBezTo>
                  <a:lnTo>
                    <a:pt x="929926" y="2208276"/>
                  </a:lnTo>
                  <a:cubicBezTo>
                    <a:pt x="937355" y="2243519"/>
                    <a:pt x="968502" y="2268760"/>
                    <a:pt x="1004507" y="2268760"/>
                  </a:cubicBezTo>
                  <a:lnTo>
                    <a:pt x="1264349" y="2268760"/>
                  </a:lnTo>
                  <a:cubicBezTo>
                    <a:pt x="1300353" y="2268760"/>
                    <a:pt x="1331500" y="2243519"/>
                    <a:pt x="1338929" y="2208276"/>
                  </a:cubicBezTo>
                  <a:lnTo>
                    <a:pt x="1362170" y="2097882"/>
                  </a:lnTo>
                  <a:cubicBezTo>
                    <a:pt x="1381316" y="2093309"/>
                    <a:pt x="1400461" y="2088166"/>
                    <a:pt x="1419416" y="2082451"/>
                  </a:cubicBezTo>
                  <a:lnTo>
                    <a:pt x="1495330" y="2167128"/>
                  </a:lnTo>
                  <a:cubicBezTo>
                    <a:pt x="1517047" y="2191512"/>
                    <a:pt x="1551908" y="2199227"/>
                    <a:pt x="1581912" y="2186369"/>
                  </a:cubicBezTo>
                  <a:cubicBezTo>
                    <a:pt x="1667256" y="2149602"/>
                    <a:pt x="1747742" y="2102644"/>
                    <a:pt x="1821656" y="2046351"/>
                  </a:cubicBezTo>
                  <a:cubicBezTo>
                    <a:pt x="1847755" y="2026730"/>
                    <a:pt x="1858423" y="1992630"/>
                    <a:pt x="1848231" y="1961674"/>
                  </a:cubicBezTo>
                  <a:lnTo>
                    <a:pt x="1813274" y="1855184"/>
                  </a:lnTo>
                  <a:cubicBezTo>
                    <a:pt x="1827657" y="1841659"/>
                    <a:pt x="1841659" y="1827562"/>
                    <a:pt x="1855279" y="1813179"/>
                  </a:cubicBezTo>
                  <a:lnTo>
                    <a:pt x="1961674" y="1848136"/>
                  </a:lnTo>
                  <a:cubicBezTo>
                    <a:pt x="1992630" y="1858232"/>
                    <a:pt x="2026634" y="1847564"/>
                    <a:pt x="2046256" y="1821656"/>
                  </a:cubicBezTo>
                  <a:cubicBezTo>
                    <a:pt x="2102549" y="1747742"/>
                    <a:pt x="2149602" y="1667161"/>
                    <a:pt x="2186369" y="1581817"/>
                  </a:cubicBezTo>
                  <a:cubicBezTo>
                    <a:pt x="2199132" y="1551813"/>
                    <a:pt x="2191417" y="1516952"/>
                    <a:pt x="2167128" y="1495235"/>
                  </a:cubicBezTo>
                  <a:lnTo>
                    <a:pt x="2082356" y="1419320"/>
                  </a:lnTo>
                  <a:cubicBezTo>
                    <a:pt x="2088166" y="1400366"/>
                    <a:pt x="2093309" y="1381220"/>
                    <a:pt x="2097881" y="1362075"/>
                  </a:cubicBezTo>
                  <a:lnTo>
                    <a:pt x="2208276" y="1338834"/>
                  </a:lnTo>
                  <a:cubicBezTo>
                    <a:pt x="2243519" y="1331405"/>
                    <a:pt x="2268760" y="1300258"/>
                    <a:pt x="2268760" y="1264253"/>
                  </a:cubicBezTo>
                  <a:lnTo>
                    <a:pt x="2268760" y="1004411"/>
                  </a:lnTo>
                  <a:cubicBezTo>
                    <a:pt x="2268760" y="968311"/>
                    <a:pt x="2243519" y="937260"/>
                    <a:pt x="2208276" y="929831"/>
                  </a:cubicBezTo>
                  <a:close/>
                  <a:moveTo>
                    <a:pt x="2116360" y="1202341"/>
                  </a:moveTo>
                  <a:lnTo>
                    <a:pt x="2017776" y="1223105"/>
                  </a:lnTo>
                  <a:cubicBezTo>
                    <a:pt x="1987391" y="1229487"/>
                    <a:pt x="1963960" y="1253585"/>
                    <a:pt x="1958435" y="1284160"/>
                  </a:cubicBezTo>
                  <a:cubicBezTo>
                    <a:pt x="1950244" y="1329309"/>
                    <a:pt x="1938242" y="1373791"/>
                    <a:pt x="1922621" y="1417034"/>
                  </a:cubicBezTo>
                  <a:cubicBezTo>
                    <a:pt x="1912144" y="1446276"/>
                    <a:pt x="1920431" y="1478852"/>
                    <a:pt x="1943576" y="1499521"/>
                  </a:cubicBezTo>
                  <a:lnTo>
                    <a:pt x="2023491" y="1571149"/>
                  </a:lnTo>
                  <a:cubicBezTo>
                    <a:pt x="2003584" y="1610868"/>
                    <a:pt x="1981105" y="1649159"/>
                    <a:pt x="1956149" y="1685925"/>
                  </a:cubicBezTo>
                  <a:lnTo>
                    <a:pt x="1855470" y="1652778"/>
                  </a:lnTo>
                  <a:cubicBezTo>
                    <a:pt x="1825943" y="1643158"/>
                    <a:pt x="1793558" y="1652302"/>
                    <a:pt x="1773460" y="1675924"/>
                  </a:cubicBezTo>
                  <a:cubicBezTo>
                    <a:pt x="1743742" y="1711071"/>
                    <a:pt x="1711071" y="1743742"/>
                    <a:pt x="1676019" y="1773460"/>
                  </a:cubicBezTo>
                  <a:cubicBezTo>
                    <a:pt x="1652397" y="1793558"/>
                    <a:pt x="1643253" y="1825943"/>
                    <a:pt x="1652968" y="1855375"/>
                  </a:cubicBezTo>
                  <a:lnTo>
                    <a:pt x="1686116" y="1955959"/>
                  </a:lnTo>
                  <a:cubicBezTo>
                    <a:pt x="1649444" y="1980914"/>
                    <a:pt x="1611059" y="2003393"/>
                    <a:pt x="1571339" y="2023301"/>
                  </a:cubicBezTo>
                  <a:lnTo>
                    <a:pt x="1499711" y="1943386"/>
                  </a:lnTo>
                  <a:cubicBezTo>
                    <a:pt x="1478947" y="1920335"/>
                    <a:pt x="1446371" y="1912049"/>
                    <a:pt x="1417129" y="1922431"/>
                  </a:cubicBezTo>
                  <a:cubicBezTo>
                    <a:pt x="1373981" y="1938052"/>
                    <a:pt x="1329595" y="1950053"/>
                    <a:pt x="1284446" y="1958245"/>
                  </a:cubicBezTo>
                  <a:cubicBezTo>
                    <a:pt x="1253966" y="1963769"/>
                    <a:pt x="1229773" y="1987201"/>
                    <a:pt x="1223391" y="2017585"/>
                  </a:cubicBezTo>
                  <a:lnTo>
                    <a:pt x="1202627" y="2116169"/>
                  </a:lnTo>
                  <a:lnTo>
                    <a:pt x="1066419" y="2116169"/>
                  </a:lnTo>
                  <a:lnTo>
                    <a:pt x="1045654" y="2017585"/>
                  </a:lnTo>
                  <a:cubicBezTo>
                    <a:pt x="1039273" y="1987201"/>
                    <a:pt x="1015175" y="1963769"/>
                    <a:pt x="984599" y="1958245"/>
                  </a:cubicBezTo>
                  <a:cubicBezTo>
                    <a:pt x="939451" y="1950053"/>
                    <a:pt x="894969" y="1938052"/>
                    <a:pt x="851726" y="1922431"/>
                  </a:cubicBezTo>
                  <a:lnTo>
                    <a:pt x="851726" y="1922431"/>
                  </a:lnTo>
                  <a:cubicBezTo>
                    <a:pt x="822484" y="1912144"/>
                    <a:pt x="790003" y="1920335"/>
                    <a:pt x="769239" y="1943386"/>
                  </a:cubicBezTo>
                  <a:lnTo>
                    <a:pt x="697611" y="2023301"/>
                  </a:lnTo>
                  <a:cubicBezTo>
                    <a:pt x="657892" y="2003393"/>
                    <a:pt x="619601" y="1980914"/>
                    <a:pt x="582835" y="1955959"/>
                  </a:cubicBezTo>
                  <a:lnTo>
                    <a:pt x="615982" y="1855280"/>
                  </a:lnTo>
                  <a:cubicBezTo>
                    <a:pt x="625697" y="1825752"/>
                    <a:pt x="616458" y="1793367"/>
                    <a:pt x="592836" y="1773269"/>
                  </a:cubicBezTo>
                  <a:cubicBezTo>
                    <a:pt x="557689" y="1743551"/>
                    <a:pt x="525018" y="1710881"/>
                    <a:pt x="495300" y="1675828"/>
                  </a:cubicBezTo>
                  <a:cubicBezTo>
                    <a:pt x="475202" y="1652302"/>
                    <a:pt x="442817" y="1643158"/>
                    <a:pt x="413385" y="1652778"/>
                  </a:cubicBezTo>
                  <a:lnTo>
                    <a:pt x="312801" y="1685925"/>
                  </a:lnTo>
                  <a:cubicBezTo>
                    <a:pt x="287845" y="1649254"/>
                    <a:pt x="265367" y="1610868"/>
                    <a:pt x="245459" y="1571149"/>
                  </a:cubicBezTo>
                  <a:lnTo>
                    <a:pt x="325374" y="1499521"/>
                  </a:lnTo>
                  <a:cubicBezTo>
                    <a:pt x="348520" y="1478852"/>
                    <a:pt x="356807" y="1446181"/>
                    <a:pt x="346329" y="1416939"/>
                  </a:cubicBezTo>
                  <a:cubicBezTo>
                    <a:pt x="330708" y="1373791"/>
                    <a:pt x="318707" y="1329404"/>
                    <a:pt x="310515" y="1284256"/>
                  </a:cubicBezTo>
                  <a:cubicBezTo>
                    <a:pt x="304991" y="1253776"/>
                    <a:pt x="281559" y="1229582"/>
                    <a:pt x="251174" y="1223201"/>
                  </a:cubicBezTo>
                  <a:lnTo>
                    <a:pt x="152591" y="1202436"/>
                  </a:lnTo>
                  <a:lnTo>
                    <a:pt x="152591" y="1066228"/>
                  </a:lnTo>
                  <a:lnTo>
                    <a:pt x="251174" y="1045464"/>
                  </a:lnTo>
                  <a:cubicBezTo>
                    <a:pt x="281559" y="1039082"/>
                    <a:pt x="304991" y="1014984"/>
                    <a:pt x="310515" y="984409"/>
                  </a:cubicBezTo>
                  <a:cubicBezTo>
                    <a:pt x="318707" y="939260"/>
                    <a:pt x="330708" y="894778"/>
                    <a:pt x="346329" y="851535"/>
                  </a:cubicBezTo>
                  <a:cubicBezTo>
                    <a:pt x="356807" y="822293"/>
                    <a:pt x="348520" y="789718"/>
                    <a:pt x="325374" y="769049"/>
                  </a:cubicBezTo>
                  <a:lnTo>
                    <a:pt x="245459" y="697421"/>
                  </a:lnTo>
                  <a:cubicBezTo>
                    <a:pt x="265367" y="657701"/>
                    <a:pt x="287845" y="619411"/>
                    <a:pt x="312801" y="582644"/>
                  </a:cubicBezTo>
                  <a:lnTo>
                    <a:pt x="413480" y="615791"/>
                  </a:lnTo>
                  <a:cubicBezTo>
                    <a:pt x="443008" y="625411"/>
                    <a:pt x="475393" y="616268"/>
                    <a:pt x="495491" y="592646"/>
                  </a:cubicBezTo>
                  <a:cubicBezTo>
                    <a:pt x="525209" y="557498"/>
                    <a:pt x="557879" y="524827"/>
                    <a:pt x="592931" y="495109"/>
                  </a:cubicBezTo>
                  <a:cubicBezTo>
                    <a:pt x="616553" y="475012"/>
                    <a:pt x="625697" y="442627"/>
                    <a:pt x="615982" y="413194"/>
                  </a:cubicBezTo>
                  <a:lnTo>
                    <a:pt x="582835" y="312610"/>
                  </a:lnTo>
                  <a:cubicBezTo>
                    <a:pt x="619506" y="287655"/>
                    <a:pt x="657892" y="265176"/>
                    <a:pt x="697611" y="245269"/>
                  </a:cubicBezTo>
                  <a:lnTo>
                    <a:pt x="769239" y="325184"/>
                  </a:lnTo>
                  <a:cubicBezTo>
                    <a:pt x="790003" y="348234"/>
                    <a:pt x="822579" y="356521"/>
                    <a:pt x="851821" y="346139"/>
                  </a:cubicBezTo>
                  <a:cubicBezTo>
                    <a:pt x="894969" y="330517"/>
                    <a:pt x="939356" y="318516"/>
                    <a:pt x="984504" y="310325"/>
                  </a:cubicBezTo>
                  <a:cubicBezTo>
                    <a:pt x="1014984" y="304800"/>
                    <a:pt x="1039177" y="281368"/>
                    <a:pt x="1045559" y="250984"/>
                  </a:cubicBezTo>
                  <a:lnTo>
                    <a:pt x="1066324" y="152400"/>
                  </a:lnTo>
                  <a:lnTo>
                    <a:pt x="1202531" y="152400"/>
                  </a:lnTo>
                  <a:lnTo>
                    <a:pt x="1223296" y="250984"/>
                  </a:lnTo>
                  <a:cubicBezTo>
                    <a:pt x="1229677" y="281368"/>
                    <a:pt x="1253776" y="304800"/>
                    <a:pt x="1284351" y="310325"/>
                  </a:cubicBezTo>
                  <a:cubicBezTo>
                    <a:pt x="1329500" y="318516"/>
                    <a:pt x="1373981" y="330517"/>
                    <a:pt x="1417225" y="346139"/>
                  </a:cubicBezTo>
                  <a:cubicBezTo>
                    <a:pt x="1446467" y="356616"/>
                    <a:pt x="1479042" y="348329"/>
                    <a:pt x="1499711" y="325184"/>
                  </a:cubicBezTo>
                  <a:lnTo>
                    <a:pt x="1571339" y="245269"/>
                  </a:lnTo>
                  <a:cubicBezTo>
                    <a:pt x="1611059" y="265176"/>
                    <a:pt x="1649349" y="287655"/>
                    <a:pt x="1686116" y="312610"/>
                  </a:cubicBezTo>
                  <a:lnTo>
                    <a:pt x="1652968" y="413290"/>
                  </a:lnTo>
                  <a:cubicBezTo>
                    <a:pt x="1643253" y="442817"/>
                    <a:pt x="1652492" y="475202"/>
                    <a:pt x="1676114" y="495300"/>
                  </a:cubicBezTo>
                  <a:cubicBezTo>
                    <a:pt x="1711261" y="525018"/>
                    <a:pt x="1743932" y="557689"/>
                    <a:pt x="1773650" y="592741"/>
                  </a:cubicBezTo>
                  <a:cubicBezTo>
                    <a:pt x="1793843" y="616268"/>
                    <a:pt x="1826133" y="625316"/>
                    <a:pt x="1855565" y="615791"/>
                  </a:cubicBezTo>
                  <a:lnTo>
                    <a:pt x="1956149" y="582644"/>
                  </a:lnTo>
                  <a:cubicBezTo>
                    <a:pt x="1981105" y="619316"/>
                    <a:pt x="2003584" y="657701"/>
                    <a:pt x="2023491" y="697421"/>
                  </a:cubicBezTo>
                  <a:lnTo>
                    <a:pt x="1943576" y="769049"/>
                  </a:lnTo>
                  <a:cubicBezTo>
                    <a:pt x="1920431" y="789718"/>
                    <a:pt x="1912144" y="822389"/>
                    <a:pt x="1922621" y="851630"/>
                  </a:cubicBezTo>
                  <a:cubicBezTo>
                    <a:pt x="1938242" y="894778"/>
                    <a:pt x="1950244" y="939165"/>
                    <a:pt x="1958435" y="984314"/>
                  </a:cubicBezTo>
                  <a:cubicBezTo>
                    <a:pt x="1963960" y="1014793"/>
                    <a:pt x="1987391" y="1038987"/>
                    <a:pt x="2017776" y="1045369"/>
                  </a:cubicBezTo>
                  <a:lnTo>
                    <a:pt x="2116360" y="1066133"/>
                  </a:lnTo>
                  <a:lnTo>
                    <a:pt x="2116360" y="12023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028A8C32-D683-411A-9FC5-59DDF94B4248}"/>
                </a:ext>
              </a:extLst>
            </p:cNvPr>
            <p:cNvSpPr/>
            <p:nvPr/>
          </p:nvSpPr>
          <p:spPr bwMode="gray">
            <a:xfrm>
              <a:off x="16723961" y="3033807"/>
              <a:ext cx="1371600" cy="1371600"/>
            </a:xfrm>
            <a:custGeom>
              <a:avLst/>
              <a:gdLst>
                <a:gd name="connsiteX0" fmla="*/ 685800 w 1371600"/>
                <a:gd name="connsiteY0" fmla="*/ 0 h 1371600"/>
                <a:gd name="connsiteX1" fmla="*/ 0 w 1371600"/>
                <a:gd name="connsiteY1" fmla="*/ 685800 h 1371600"/>
                <a:gd name="connsiteX2" fmla="*/ 685800 w 1371600"/>
                <a:gd name="connsiteY2" fmla="*/ 1371600 h 1371600"/>
                <a:gd name="connsiteX3" fmla="*/ 1371600 w 1371600"/>
                <a:gd name="connsiteY3" fmla="*/ 685800 h 1371600"/>
                <a:gd name="connsiteX4" fmla="*/ 685800 w 1371600"/>
                <a:gd name="connsiteY4" fmla="*/ 0 h 1371600"/>
                <a:gd name="connsiteX5" fmla="*/ 685800 w 1371600"/>
                <a:gd name="connsiteY5" fmla="*/ 1219200 h 1371600"/>
                <a:gd name="connsiteX6" fmla="*/ 152400 w 1371600"/>
                <a:gd name="connsiteY6" fmla="*/ 685800 h 1371600"/>
                <a:gd name="connsiteX7" fmla="*/ 685800 w 1371600"/>
                <a:gd name="connsiteY7" fmla="*/ 152400 h 1371600"/>
                <a:gd name="connsiteX8" fmla="*/ 1219200 w 1371600"/>
                <a:gd name="connsiteY8" fmla="*/ 685800 h 1371600"/>
                <a:gd name="connsiteX9" fmla="*/ 685800 w 1371600"/>
                <a:gd name="connsiteY9" fmla="*/ 121920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71600" h="1371600">
                  <a:moveTo>
                    <a:pt x="685800" y="0"/>
                  </a:moveTo>
                  <a:cubicBezTo>
                    <a:pt x="307086" y="0"/>
                    <a:pt x="0" y="306991"/>
                    <a:pt x="0" y="685800"/>
                  </a:cubicBezTo>
                  <a:cubicBezTo>
                    <a:pt x="0" y="1064514"/>
                    <a:pt x="307086" y="1371600"/>
                    <a:pt x="685800" y="1371600"/>
                  </a:cubicBezTo>
                  <a:cubicBezTo>
                    <a:pt x="1064419" y="1371219"/>
                    <a:pt x="1371219" y="1064419"/>
                    <a:pt x="1371600" y="685800"/>
                  </a:cubicBezTo>
                  <a:cubicBezTo>
                    <a:pt x="1371600" y="306991"/>
                    <a:pt x="1064514" y="0"/>
                    <a:pt x="685800" y="0"/>
                  </a:cubicBezTo>
                  <a:close/>
                  <a:moveTo>
                    <a:pt x="685800" y="1219200"/>
                  </a:moveTo>
                  <a:cubicBezTo>
                    <a:pt x="391382" y="1218819"/>
                    <a:pt x="152781" y="980218"/>
                    <a:pt x="152400" y="685800"/>
                  </a:cubicBezTo>
                  <a:cubicBezTo>
                    <a:pt x="152400" y="391192"/>
                    <a:pt x="391192" y="152400"/>
                    <a:pt x="685800" y="152400"/>
                  </a:cubicBezTo>
                  <a:cubicBezTo>
                    <a:pt x="980408" y="152400"/>
                    <a:pt x="1219200" y="391192"/>
                    <a:pt x="1219200" y="685800"/>
                  </a:cubicBezTo>
                  <a:cubicBezTo>
                    <a:pt x="1219200" y="980408"/>
                    <a:pt x="980313" y="1219200"/>
                    <a:pt x="685800" y="12192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9BCAE2D6-642D-4050-930D-D0B3B22B9B37}"/>
                </a:ext>
              </a:extLst>
            </p:cNvPr>
            <p:cNvSpPr/>
            <p:nvPr/>
          </p:nvSpPr>
          <p:spPr bwMode="gray">
            <a:xfrm>
              <a:off x="16114361" y="1128807"/>
              <a:ext cx="609600" cy="152400"/>
            </a:xfrm>
            <a:custGeom>
              <a:avLst/>
              <a:gdLst>
                <a:gd name="connsiteX0" fmla="*/ 0 w 609600"/>
                <a:gd name="connsiteY0" fmla="*/ 0 h 152400"/>
                <a:gd name="connsiteX1" fmla="*/ 609600 w 609600"/>
                <a:gd name="connsiteY1" fmla="*/ 0 h 152400"/>
                <a:gd name="connsiteX2" fmla="*/ 609600 w 609600"/>
                <a:gd name="connsiteY2" fmla="*/ 152400 h 152400"/>
                <a:gd name="connsiteX3" fmla="*/ 0 w 6096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9600" h="152400">
                  <a:moveTo>
                    <a:pt x="0" y="0"/>
                  </a:moveTo>
                  <a:lnTo>
                    <a:pt x="609600" y="0"/>
                  </a:lnTo>
                  <a:lnTo>
                    <a:pt x="609600" y="152400"/>
                  </a:lnTo>
                  <a:lnTo>
                    <a:pt x="0" y="1524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254E1198-1585-4E0C-ACAD-03B3ED322B1E}"/>
                </a:ext>
              </a:extLst>
            </p:cNvPr>
            <p:cNvSpPr/>
            <p:nvPr/>
          </p:nvSpPr>
          <p:spPr bwMode="gray">
            <a:xfrm>
              <a:off x="14361665" y="2347912"/>
              <a:ext cx="1752600" cy="1600200"/>
            </a:xfrm>
            <a:custGeom>
              <a:avLst/>
              <a:gdLst>
                <a:gd name="connsiteX0" fmla="*/ 1746504 w 1752600"/>
                <a:gd name="connsiteY0" fmla="*/ 1265491 h 1600200"/>
                <a:gd name="connsiteX1" fmla="*/ 1706404 w 1752600"/>
                <a:gd name="connsiteY1" fmla="*/ 1225391 h 1600200"/>
                <a:gd name="connsiteX2" fmla="*/ 1706404 w 1752600"/>
                <a:gd name="connsiteY2" fmla="*/ 1225391 h 1600200"/>
                <a:gd name="connsiteX3" fmla="*/ 1173004 w 1752600"/>
                <a:gd name="connsiteY3" fmla="*/ 996791 h 1600200"/>
                <a:gd name="connsiteX4" fmla="*/ 1072991 w 1752600"/>
                <a:gd name="connsiteY4" fmla="*/ 1036701 h 1600200"/>
                <a:gd name="connsiteX5" fmla="*/ 1066800 w 1752600"/>
                <a:gd name="connsiteY5" fmla="*/ 1066800 h 1600200"/>
                <a:gd name="connsiteX6" fmla="*/ 1066800 w 1752600"/>
                <a:gd name="connsiteY6" fmla="*/ 1219200 h 1600200"/>
                <a:gd name="connsiteX7" fmla="*/ 152400 w 1752600"/>
                <a:gd name="connsiteY7" fmla="*/ 1219200 h 1600200"/>
                <a:gd name="connsiteX8" fmla="*/ 152400 w 1752600"/>
                <a:gd name="connsiteY8" fmla="*/ 0 h 1600200"/>
                <a:gd name="connsiteX9" fmla="*/ 0 w 1752600"/>
                <a:gd name="connsiteY9" fmla="*/ 0 h 1600200"/>
                <a:gd name="connsiteX10" fmla="*/ 0 w 1752600"/>
                <a:gd name="connsiteY10" fmla="*/ 1295400 h 1600200"/>
                <a:gd name="connsiteX11" fmla="*/ 76105 w 1752600"/>
                <a:gd name="connsiteY11" fmla="*/ 1371600 h 1600200"/>
                <a:gd name="connsiteX12" fmla="*/ 76200 w 1752600"/>
                <a:gd name="connsiteY12" fmla="*/ 1371600 h 1600200"/>
                <a:gd name="connsiteX13" fmla="*/ 1066800 w 1752600"/>
                <a:gd name="connsiteY13" fmla="*/ 1371600 h 1600200"/>
                <a:gd name="connsiteX14" fmla="*/ 1066800 w 1752600"/>
                <a:gd name="connsiteY14" fmla="*/ 1524000 h 1600200"/>
                <a:gd name="connsiteX15" fmla="*/ 1142905 w 1752600"/>
                <a:gd name="connsiteY15" fmla="*/ 1600200 h 1600200"/>
                <a:gd name="connsiteX16" fmla="*/ 1143000 w 1752600"/>
                <a:gd name="connsiteY16" fmla="*/ 1600200 h 1600200"/>
                <a:gd name="connsiteX17" fmla="*/ 1173004 w 1752600"/>
                <a:gd name="connsiteY17" fmla="*/ 1594009 h 1600200"/>
                <a:gd name="connsiteX18" fmla="*/ 1706404 w 1752600"/>
                <a:gd name="connsiteY18" fmla="*/ 1365409 h 1600200"/>
                <a:gd name="connsiteX19" fmla="*/ 1746504 w 1752600"/>
                <a:gd name="connsiteY19" fmla="*/ 1265491 h 1600200"/>
                <a:gd name="connsiteX20" fmla="*/ 1219295 w 1752600"/>
                <a:gd name="connsiteY20" fmla="*/ 1408462 h 1600200"/>
                <a:gd name="connsiteX21" fmla="*/ 1219295 w 1752600"/>
                <a:gd name="connsiteY21" fmla="*/ 1182434 h 1600200"/>
                <a:gd name="connsiteX22" fmla="*/ 1483043 w 1752600"/>
                <a:gd name="connsiteY22" fmla="*/ 1295495 h 1600200"/>
                <a:gd name="connsiteX23" fmla="*/ 1219295 w 1752600"/>
                <a:gd name="connsiteY23" fmla="*/ 1408462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600" h="1600200">
                  <a:moveTo>
                    <a:pt x="1746504" y="1265491"/>
                  </a:moveTo>
                  <a:cubicBezTo>
                    <a:pt x="1738789" y="1247489"/>
                    <a:pt x="1724406" y="1233106"/>
                    <a:pt x="1706404" y="1225391"/>
                  </a:cubicBezTo>
                  <a:lnTo>
                    <a:pt x="1706404" y="1225391"/>
                  </a:lnTo>
                  <a:lnTo>
                    <a:pt x="1173004" y="996791"/>
                  </a:lnTo>
                  <a:cubicBezTo>
                    <a:pt x="1134332" y="980218"/>
                    <a:pt x="1089565" y="998125"/>
                    <a:pt x="1072991" y="1036701"/>
                  </a:cubicBezTo>
                  <a:cubicBezTo>
                    <a:pt x="1068896" y="1046226"/>
                    <a:pt x="1066800" y="1056418"/>
                    <a:pt x="1066800" y="1066800"/>
                  </a:cubicBezTo>
                  <a:lnTo>
                    <a:pt x="1066800" y="1219200"/>
                  </a:lnTo>
                  <a:lnTo>
                    <a:pt x="152400" y="1219200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1295400"/>
                  </a:lnTo>
                  <a:cubicBezTo>
                    <a:pt x="0" y="1337501"/>
                    <a:pt x="34100" y="1371600"/>
                    <a:pt x="76105" y="1371600"/>
                  </a:cubicBezTo>
                  <a:cubicBezTo>
                    <a:pt x="76105" y="1371600"/>
                    <a:pt x="76200" y="1371600"/>
                    <a:pt x="76200" y="1371600"/>
                  </a:cubicBezTo>
                  <a:lnTo>
                    <a:pt x="1066800" y="1371600"/>
                  </a:lnTo>
                  <a:lnTo>
                    <a:pt x="1066800" y="1524000"/>
                  </a:lnTo>
                  <a:cubicBezTo>
                    <a:pt x="1066800" y="1566101"/>
                    <a:pt x="1100804" y="1600200"/>
                    <a:pt x="1142905" y="1600200"/>
                  </a:cubicBezTo>
                  <a:cubicBezTo>
                    <a:pt x="1142905" y="1600200"/>
                    <a:pt x="1143000" y="1600200"/>
                    <a:pt x="1143000" y="1600200"/>
                  </a:cubicBezTo>
                  <a:cubicBezTo>
                    <a:pt x="1153287" y="1600200"/>
                    <a:pt x="1163479" y="1598105"/>
                    <a:pt x="1173004" y="1594009"/>
                  </a:cubicBezTo>
                  <a:lnTo>
                    <a:pt x="1706404" y="1365409"/>
                  </a:lnTo>
                  <a:cubicBezTo>
                    <a:pt x="1745075" y="1348931"/>
                    <a:pt x="1763078" y="1304163"/>
                    <a:pt x="1746504" y="1265491"/>
                  </a:cubicBezTo>
                  <a:close/>
                  <a:moveTo>
                    <a:pt x="1219295" y="1408462"/>
                  </a:moveTo>
                  <a:lnTo>
                    <a:pt x="1219295" y="1182434"/>
                  </a:lnTo>
                  <a:lnTo>
                    <a:pt x="1483043" y="1295495"/>
                  </a:lnTo>
                  <a:lnTo>
                    <a:pt x="1219295" y="14084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648896AF-7C6B-4AA2-B967-CCD741D8A3A5}"/>
                </a:ext>
              </a:extLst>
            </p:cNvPr>
            <p:cNvSpPr/>
            <p:nvPr/>
          </p:nvSpPr>
          <p:spPr bwMode="gray">
            <a:xfrm>
              <a:off x="17051144" y="3442144"/>
              <a:ext cx="714375" cy="581025"/>
            </a:xfrm>
            <a:custGeom>
              <a:avLst/>
              <a:gdLst>
                <a:gd name="connsiteX0" fmla="*/ 604838 w 714375"/>
                <a:gd name="connsiteY0" fmla="*/ 0 h 581025"/>
                <a:gd name="connsiteX1" fmla="*/ 277273 w 714375"/>
                <a:gd name="connsiteY1" fmla="*/ 393097 h 581025"/>
                <a:gd name="connsiteX2" fmla="*/ 107728 w 714375"/>
                <a:gd name="connsiteY2" fmla="*/ 223552 h 581025"/>
                <a:gd name="connsiteX3" fmla="*/ 0 w 714375"/>
                <a:gd name="connsiteY3" fmla="*/ 331280 h 581025"/>
                <a:gd name="connsiteX4" fmla="*/ 228600 w 714375"/>
                <a:gd name="connsiteY4" fmla="*/ 559880 h 581025"/>
                <a:gd name="connsiteX5" fmla="*/ 282512 w 714375"/>
                <a:gd name="connsiteY5" fmla="*/ 582168 h 581025"/>
                <a:gd name="connsiteX6" fmla="*/ 285940 w 714375"/>
                <a:gd name="connsiteY6" fmla="*/ 582073 h 581025"/>
                <a:gd name="connsiteX7" fmla="*/ 341090 w 714375"/>
                <a:gd name="connsiteY7" fmla="*/ 554736 h 581025"/>
                <a:gd name="connsiteX8" fmla="*/ 722090 w 714375"/>
                <a:gd name="connsiteY8" fmla="*/ 97536 h 581025"/>
                <a:gd name="connsiteX9" fmla="*/ 604838 w 714375"/>
                <a:gd name="connsiteY9" fmla="*/ 0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581025">
                  <a:moveTo>
                    <a:pt x="604838" y="0"/>
                  </a:moveTo>
                  <a:lnTo>
                    <a:pt x="277273" y="393097"/>
                  </a:lnTo>
                  <a:lnTo>
                    <a:pt x="107728" y="223552"/>
                  </a:lnTo>
                  <a:lnTo>
                    <a:pt x="0" y="331280"/>
                  </a:lnTo>
                  <a:lnTo>
                    <a:pt x="228600" y="559880"/>
                  </a:lnTo>
                  <a:cubicBezTo>
                    <a:pt x="242888" y="574167"/>
                    <a:pt x="262223" y="582263"/>
                    <a:pt x="282512" y="582168"/>
                  </a:cubicBezTo>
                  <a:cubicBezTo>
                    <a:pt x="283655" y="582168"/>
                    <a:pt x="284797" y="582168"/>
                    <a:pt x="285940" y="582073"/>
                  </a:cubicBezTo>
                  <a:cubicBezTo>
                    <a:pt x="307372" y="581120"/>
                    <a:pt x="327374" y="571214"/>
                    <a:pt x="341090" y="554736"/>
                  </a:cubicBezTo>
                  <a:lnTo>
                    <a:pt x="722090" y="97536"/>
                  </a:lnTo>
                  <a:lnTo>
                    <a:pt x="604838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9" name="TextBox 16">
            <a:extLst>
              <a:ext uri="{FF2B5EF4-FFF2-40B4-BE49-F238E27FC236}">
                <a16:creationId xmlns:a16="http://schemas.microsoft.com/office/drawing/2014/main" id="{9ED5463A-6094-4844-AC12-5136E1815D7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384390" y="3650449"/>
            <a:ext cx="1215581" cy="252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 algn="ctr">
              <a:buClr>
                <a:srgbClr val="B2B2B2"/>
              </a:buClr>
              <a:defRPr/>
            </a:pP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PROCESS</a:t>
            </a:r>
            <a:b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EFFICIENCY IN</a:t>
            </a:r>
            <a:b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GB" sz="900" b="1">
                <a:solidFill>
                  <a:schemeClr val="bg1"/>
                </a:solidFill>
                <a:cs typeface="Calibri" panose="020F0502020204030204" pitchFamily="34" charset="0"/>
              </a:rPr>
              <a:t>REAL ESTATE</a:t>
            </a:r>
            <a:endParaRPr lang="en-GB" sz="900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04" name="Rechteck 764">
            <a:extLst>
              <a:ext uri="{FF2B5EF4-FFF2-40B4-BE49-F238E27FC236}">
                <a16:creationId xmlns:a16="http://schemas.microsoft.com/office/drawing/2014/main" id="{60D740C8-BD54-447E-B2A2-5E3B88C496C2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0" y="7507375"/>
            <a:ext cx="9144000" cy="9224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4684E15-13A6-4039-B121-71BDEF5C6B14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1435084" y="5416446"/>
            <a:ext cx="6310322" cy="3056251"/>
            <a:chOff x="1435084" y="1633471"/>
            <a:chExt cx="6310322" cy="3056251"/>
          </a:xfrm>
        </p:grpSpPr>
        <p:grpSp>
          <p:nvGrpSpPr>
            <p:cNvPr id="106" name="Gruppieren 11">
              <a:extLst>
                <a:ext uri="{FF2B5EF4-FFF2-40B4-BE49-F238E27FC236}">
                  <a16:creationId xmlns:a16="http://schemas.microsoft.com/office/drawing/2014/main" id="{323B8427-7F37-4D37-8613-FA8E73DD116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1435084" y="1633471"/>
              <a:ext cx="6310322" cy="3056251"/>
              <a:chOff x="1435084" y="1633471"/>
              <a:chExt cx="6310322" cy="3056251"/>
            </a:xfrm>
          </p:grpSpPr>
          <p:grpSp>
            <p:nvGrpSpPr>
              <p:cNvPr id="138" name="Gruppieren 6">
                <a:extLst>
                  <a:ext uri="{FF2B5EF4-FFF2-40B4-BE49-F238E27FC236}">
                    <a16:creationId xmlns:a16="http://schemas.microsoft.com/office/drawing/2014/main" id="{A323A505-7618-4289-93EA-60E072440C0D}"/>
                  </a:ext>
                </a:extLst>
              </p:cNvPr>
              <p:cNvGrpSpPr/>
              <p:nvPr/>
            </p:nvGrpSpPr>
            <p:grpSpPr bwMode="gray">
              <a:xfrm>
                <a:off x="1435084" y="3530307"/>
                <a:ext cx="991410" cy="687326"/>
                <a:chOff x="1249020" y="3530307"/>
                <a:chExt cx="991410" cy="687326"/>
              </a:xfrm>
            </p:grpSpPr>
            <p:grpSp>
              <p:nvGrpSpPr>
                <p:cNvPr id="775" name="Gruppierung 1870">
                  <a:extLst>
                    <a:ext uri="{FF2B5EF4-FFF2-40B4-BE49-F238E27FC236}">
                      <a16:creationId xmlns:a16="http://schemas.microsoft.com/office/drawing/2014/main" id="{126B7616-7DF9-4525-8F05-8444E21A78E5}"/>
                    </a:ext>
                  </a:extLst>
                </p:cNvPr>
                <p:cNvGrpSpPr/>
                <p:nvPr/>
              </p:nvGrpSpPr>
              <p:grpSpPr bwMode="gray">
                <a:xfrm>
                  <a:off x="1249020" y="4119567"/>
                  <a:ext cx="792000" cy="98066"/>
                  <a:chOff x="1388890" y="5238292"/>
                  <a:chExt cx="989163" cy="130038"/>
                </a:xfrm>
              </p:grpSpPr>
              <p:sp>
                <p:nvSpPr>
                  <p:cNvPr id="780" name="Rectangle 17">
                    <a:extLst>
                      <a:ext uri="{FF2B5EF4-FFF2-40B4-BE49-F238E27FC236}">
                        <a16:creationId xmlns:a16="http://schemas.microsoft.com/office/drawing/2014/main" id="{18FF6D34-CAA4-40AC-8108-5BED0702857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500674" y="5238292"/>
                    <a:ext cx="876613" cy="130038"/>
                  </a:xfrm>
                  <a:prstGeom prst="rect">
                    <a:avLst/>
                  </a:prstGeom>
                  <a:solidFill>
                    <a:srgbClr val="A3969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781" name="Rectangle 18">
                    <a:extLst>
                      <a:ext uri="{FF2B5EF4-FFF2-40B4-BE49-F238E27FC236}">
                        <a16:creationId xmlns:a16="http://schemas.microsoft.com/office/drawing/2014/main" id="{D59D7C7D-B8E6-4823-9C46-6AC569129BC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388890" y="5301341"/>
                    <a:ext cx="989163" cy="66989"/>
                  </a:xfrm>
                  <a:prstGeom prst="rect">
                    <a:avLst/>
                  </a:prstGeom>
                  <a:solidFill>
                    <a:srgbClr val="75626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</p:grpSp>
            <p:pic>
              <p:nvPicPr>
                <p:cNvPr id="776" name="Bild 1913">
                  <a:extLst>
                    <a:ext uri="{FF2B5EF4-FFF2-40B4-BE49-F238E27FC236}">
                      <a16:creationId xmlns:a16="http://schemas.microsoft.com/office/drawing/2014/main" id="{93AD6AE0-19C1-47B9-B72B-A743863DA9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9" cstate="print"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556853" y="3912470"/>
                  <a:ext cx="390044" cy="211025"/>
                </a:xfrm>
                <a:prstGeom prst="rect">
                  <a:avLst/>
                </a:prstGeom>
              </p:spPr>
            </p:pic>
            <p:grpSp>
              <p:nvGrpSpPr>
                <p:cNvPr id="777" name="Gruppierung 392">
                  <a:extLst>
                    <a:ext uri="{FF2B5EF4-FFF2-40B4-BE49-F238E27FC236}">
                      <a16:creationId xmlns:a16="http://schemas.microsoft.com/office/drawing/2014/main" id="{BD30BEF0-4D49-4184-9458-E09614AB8DC3}"/>
                    </a:ext>
                  </a:extLst>
                </p:cNvPr>
                <p:cNvGrpSpPr/>
                <p:nvPr/>
              </p:nvGrpSpPr>
              <p:grpSpPr bwMode="gray">
                <a:xfrm>
                  <a:off x="1353771" y="3530307"/>
                  <a:ext cx="886659" cy="647604"/>
                  <a:chOff x="1527244" y="4456957"/>
                  <a:chExt cx="1175733" cy="858742"/>
                </a:xfrm>
              </p:grpSpPr>
              <p:sp>
                <p:nvSpPr>
                  <p:cNvPr id="778" name="Freeform 19">
                    <a:extLst>
                      <a:ext uri="{FF2B5EF4-FFF2-40B4-BE49-F238E27FC236}">
                        <a16:creationId xmlns:a16="http://schemas.microsoft.com/office/drawing/2014/main" id="{F1AA87D4-6B8E-48A2-984B-3317C30E16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527244" y="4456957"/>
                    <a:ext cx="1175733" cy="191910"/>
                  </a:xfrm>
                  <a:custGeom>
                    <a:avLst/>
                    <a:gdLst>
                      <a:gd name="T0" fmla="*/ 38 w 1635"/>
                      <a:gd name="T1" fmla="*/ 0 h 176"/>
                      <a:gd name="T2" fmla="*/ 0 w 1635"/>
                      <a:gd name="T3" fmla="*/ 176 h 176"/>
                      <a:gd name="T4" fmla="*/ 1635 w 1635"/>
                      <a:gd name="T5" fmla="*/ 176 h 176"/>
                      <a:gd name="T6" fmla="*/ 1596 w 1635"/>
                      <a:gd name="T7" fmla="*/ 0 h 176"/>
                      <a:gd name="T8" fmla="*/ 38 w 1635"/>
                      <a:gd name="T9" fmla="*/ 0 h 1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635" h="176">
                        <a:moveTo>
                          <a:pt x="38" y="0"/>
                        </a:moveTo>
                        <a:lnTo>
                          <a:pt x="0" y="176"/>
                        </a:lnTo>
                        <a:lnTo>
                          <a:pt x="1635" y="176"/>
                        </a:lnTo>
                        <a:lnTo>
                          <a:pt x="1596" y="0"/>
                        </a:lnTo>
                        <a:lnTo>
                          <a:pt x="38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>
                      <a:latin typeface="Lucida Sans Techem"/>
                      <a:cs typeface="Calibri"/>
                    </a:endParaRPr>
                  </a:p>
                </p:txBody>
              </p:sp>
              <p:sp>
                <p:nvSpPr>
                  <p:cNvPr id="779" name="Rechteck 806">
                    <a:extLst>
                      <a:ext uri="{FF2B5EF4-FFF2-40B4-BE49-F238E27FC236}">
                        <a16:creationId xmlns:a16="http://schemas.microsoft.com/office/drawing/2014/main" id="{C7F694D5-89CE-4927-A9BD-13CDD95CF98B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01718" y="4647380"/>
                    <a:ext cx="64635" cy="668319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 err="1">
                      <a:latin typeface="Lucida Sans Techem"/>
                      <a:cs typeface="Calibri"/>
                    </a:endParaRPr>
                  </a:p>
                </p:txBody>
              </p:sp>
            </p:grpSp>
          </p:grpSp>
          <p:pic>
            <p:nvPicPr>
              <p:cNvPr id="139" name="Bild 1912">
                <a:extLst>
                  <a:ext uri="{FF2B5EF4-FFF2-40B4-BE49-F238E27FC236}">
                    <a16:creationId xmlns:a16="http://schemas.microsoft.com/office/drawing/2014/main" id="{436F2677-68A0-49BA-84F6-B1913100C3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0" cstate="print">
                <a:extLst>
                  <a:ext uri="{BEBA8EAE-BF5A-486C-A8C5-ECC9F3942E4B}">
                    <a14:imgProps xmlns:a14="http://schemas.microsoft.com/office/drawing/2010/main">
                      <a14:imgLayer r:embed="rId41">
                        <a14:imgEffect>
                          <a14:brightnessContrast brigh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70"/>
              <a:stretch/>
            </p:blipFill>
            <p:spPr bwMode="gray">
              <a:xfrm>
                <a:off x="6784139" y="3252826"/>
                <a:ext cx="961267" cy="971107"/>
              </a:xfrm>
              <a:prstGeom prst="rect">
                <a:avLst/>
              </a:prstGeom>
            </p:spPr>
          </p:pic>
          <p:grpSp>
            <p:nvGrpSpPr>
              <p:cNvPr id="140" name="Gruppieren 7">
                <a:extLst>
                  <a:ext uri="{FF2B5EF4-FFF2-40B4-BE49-F238E27FC236}">
                    <a16:creationId xmlns:a16="http://schemas.microsoft.com/office/drawing/2014/main" id="{976457A4-17F6-4B57-B66B-E26679AC18A5}"/>
                  </a:ext>
                </a:extLst>
              </p:cNvPr>
              <p:cNvGrpSpPr/>
              <p:nvPr/>
            </p:nvGrpSpPr>
            <p:grpSpPr bwMode="gray">
              <a:xfrm>
                <a:off x="1994275" y="1633471"/>
                <a:ext cx="5499026" cy="3056251"/>
                <a:chOff x="1946431" y="1633471"/>
                <a:chExt cx="5499026" cy="3056251"/>
              </a:xfrm>
            </p:grpSpPr>
            <p:grpSp>
              <p:nvGrpSpPr>
                <p:cNvPr id="142" name="Gruppieren 4">
                  <a:extLst>
                    <a:ext uri="{FF2B5EF4-FFF2-40B4-BE49-F238E27FC236}">
                      <a16:creationId xmlns:a16="http://schemas.microsoft.com/office/drawing/2014/main" id="{A933E647-FE13-440D-AE34-ACBCC7F3CC70}"/>
                    </a:ext>
                  </a:extLst>
                </p:cNvPr>
                <p:cNvGrpSpPr/>
                <p:nvPr/>
              </p:nvGrpSpPr>
              <p:grpSpPr bwMode="gray">
                <a:xfrm>
                  <a:off x="1946431" y="1633471"/>
                  <a:ext cx="5499026" cy="3056251"/>
                  <a:chOff x="874235" y="1633471"/>
                  <a:chExt cx="5499026" cy="3056251"/>
                </a:xfrm>
              </p:grpSpPr>
              <p:sp>
                <p:nvSpPr>
                  <p:cNvPr id="164" name="Freeform 20">
                    <a:extLst>
                      <a:ext uri="{FF2B5EF4-FFF2-40B4-BE49-F238E27FC236}">
                        <a16:creationId xmlns:a16="http://schemas.microsoft.com/office/drawing/2014/main" id="{63819E5C-C89D-4E28-9C6D-350076516C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720918" y="1913063"/>
                    <a:ext cx="2698492" cy="261511"/>
                  </a:xfrm>
                  <a:custGeom>
                    <a:avLst/>
                    <a:gdLst>
                      <a:gd name="T0" fmla="*/ 38 w 1635"/>
                      <a:gd name="T1" fmla="*/ 0 h 176"/>
                      <a:gd name="T2" fmla="*/ 0 w 1635"/>
                      <a:gd name="T3" fmla="*/ 176 h 176"/>
                      <a:gd name="T4" fmla="*/ 1635 w 1635"/>
                      <a:gd name="T5" fmla="*/ 176 h 176"/>
                      <a:gd name="T6" fmla="*/ 1596 w 1635"/>
                      <a:gd name="T7" fmla="*/ 0 h 176"/>
                      <a:gd name="T8" fmla="*/ 38 w 1635"/>
                      <a:gd name="T9" fmla="*/ 0 h 1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635" h="176">
                        <a:moveTo>
                          <a:pt x="38" y="0"/>
                        </a:moveTo>
                        <a:lnTo>
                          <a:pt x="0" y="176"/>
                        </a:lnTo>
                        <a:lnTo>
                          <a:pt x="1635" y="176"/>
                        </a:lnTo>
                        <a:lnTo>
                          <a:pt x="1596" y="0"/>
                        </a:lnTo>
                        <a:lnTo>
                          <a:pt x="38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65" name="Freeform 46">
                    <a:extLst>
                      <a:ext uri="{FF2B5EF4-FFF2-40B4-BE49-F238E27FC236}">
                        <a16:creationId xmlns:a16="http://schemas.microsoft.com/office/drawing/2014/main" id="{909218BE-4DF1-4C65-9C24-4C60445873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74235" y="3260739"/>
                    <a:ext cx="9903" cy="20801"/>
                  </a:xfrm>
                  <a:custGeom>
                    <a:avLst/>
                    <a:gdLst>
                      <a:gd name="T0" fmla="*/ 7 w 7"/>
                      <a:gd name="T1" fmla="*/ 1 h 17"/>
                      <a:gd name="T2" fmla="*/ 6 w 7"/>
                      <a:gd name="T3" fmla="*/ 0 h 17"/>
                      <a:gd name="T4" fmla="*/ 7 w 7"/>
                      <a:gd name="T5" fmla="*/ 1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7" h="17">
                        <a:moveTo>
                          <a:pt x="7" y="1"/>
                        </a:moveTo>
                        <a:cubicBezTo>
                          <a:pt x="7" y="1"/>
                          <a:pt x="7" y="1"/>
                          <a:pt x="6" y="0"/>
                        </a:cubicBezTo>
                        <a:cubicBezTo>
                          <a:pt x="0" y="17"/>
                          <a:pt x="7" y="1"/>
                          <a:pt x="7" y="1"/>
                        </a:cubicBezTo>
                        <a:close/>
                      </a:path>
                    </a:pathLst>
                  </a:custGeom>
                  <a:solidFill>
                    <a:srgbClr val="76956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66" name="Freeform 59">
                    <a:extLst>
                      <a:ext uri="{FF2B5EF4-FFF2-40B4-BE49-F238E27FC236}">
                        <a16:creationId xmlns:a16="http://schemas.microsoft.com/office/drawing/2014/main" id="{869EE6CC-8508-43E4-AB01-88A8025EEBD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856256" y="1942780"/>
                    <a:ext cx="278926" cy="199105"/>
                  </a:xfrm>
                  <a:custGeom>
                    <a:avLst/>
                    <a:gdLst>
                      <a:gd name="T0" fmla="*/ 31 w 169"/>
                      <a:gd name="T1" fmla="*/ 0 h 134"/>
                      <a:gd name="T2" fmla="*/ 23 w 169"/>
                      <a:gd name="T3" fmla="*/ 0 h 134"/>
                      <a:gd name="T4" fmla="*/ 22 w 169"/>
                      <a:gd name="T5" fmla="*/ 8 h 134"/>
                      <a:gd name="T6" fmla="*/ 2 w 169"/>
                      <a:gd name="T7" fmla="*/ 123 h 134"/>
                      <a:gd name="T8" fmla="*/ 0 w 169"/>
                      <a:gd name="T9" fmla="*/ 134 h 134"/>
                      <a:gd name="T10" fmla="*/ 11 w 169"/>
                      <a:gd name="T11" fmla="*/ 134 h 134"/>
                      <a:gd name="T12" fmla="*/ 143 w 169"/>
                      <a:gd name="T13" fmla="*/ 134 h 134"/>
                      <a:gd name="T14" fmla="*/ 152 w 169"/>
                      <a:gd name="T15" fmla="*/ 134 h 134"/>
                      <a:gd name="T16" fmla="*/ 152 w 169"/>
                      <a:gd name="T17" fmla="*/ 126 h 134"/>
                      <a:gd name="T18" fmla="*/ 168 w 169"/>
                      <a:gd name="T19" fmla="*/ 11 h 134"/>
                      <a:gd name="T20" fmla="*/ 169 w 169"/>
                      <a:gd name="T21" fmla="*/ 0 h 134"/>
                      <a:gd name="T22" fmla="*/ 158 w 169"/>
                      <a:gd name="T23" fmla="*/ 0 h 134"/>
                      <a:gd name="T24" fmla="*/ 31 w 169"/>
                      <a:gd name="T25" fmla="*/ 0 h 134"/>
                      <a:gd name="T26" fmla="*/ 143 w 169"/>
                      <a:gd name="T27" fmla="*/ 124 h 134"/>
                      <a:gd name="T28" fmla="*/ 11 w 169"/>
                      <a:gd name="T29" fmla="*/ 124 h 134"/>
                      <a:gd name="T30" fmla="*/ 31 w 169"/>
                      <a:gd name="T31" fmla="*/ 9 h 134"/>
                      <a:gd name="T32" fmla="*/ 158 w 169"/>
                      <a:gd name="T33" fmla="*/ 9 h 134"/>
                      <a:gd name="T34" fmla="*/ 143 w 169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69" h="134">
                        <a:moveTo>
                          <a:pt x="31" y="0"/>
                        </a:moveTo>
                        <a:lnTo>
                          <a:pt x="23" y="0"/>
                        </a:lnTo>
                        <a:lnTo>
                          <a:pt x="22" y="8"/>
                        </a:lnTo>
                        <a:lnTo>
                          <a:pt x="2" y="123"/>
                        </a:lnTo>
                        <a:lnTo>
                          <a:pt x="0" y="134"/>
                        </a:lnTo>
                        <a:lnTo>
                          <a:pt x="11" y="134"/>
                        </a:lnTo>
                        <a:lnTo>
                          <a:pt x="143" y="134"/>
                        </a:lnTo>
                        <a:lnTo>
                          <a:pt x="152" y="134"/>
                        </a:lnTo>
                        <a:lnTo>
                          <a:pt x="152" y="126"/>
                        </a:lnTo>
                        <a:lnTo>
                          <a:pt x="168" y="11"/>
                        </a:lnTo>
                        <a:lnTo>
                          <a:pt x="169" y="0"/>
                        </a:lnTo>
                        <a:lnTo>
                          <a:pt x="158" y="0"/>
                        </a:lnTo>
                        <a:lnTo>
                          <a:pt x="31" y="0"/>
                        </a:lnTo>
                        <a:moveTo>
                          <a:pt x="143" y="124"/>
                        </a:moveTo>
                        <a:lnTo>
                          <a:pt x="11" y="124"/>
                        </a:lnTo>
                        <a:lnTo>
                          <a:pt x="31" y="9"/>
                        </a:lnTo>
                        <a:lnTo>
                          <a:pt x="158" y="9"/>
                        </a:lnTo>
                        <a:lnTo>
                          <a:pt x="143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67" name="Freeform 127">
                    <a:extLst>
                      <a:ext uri="{FF2B5EF4-FFF2-40B4-BE49-F238E27FC236}">
                        <a16:creationId xmlns:a16="http://schemas.microsoft.com/office/drawing/2014/main" id="{DCC694EA-FFCC-4910-94FD-705764371A2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090621" y="1942780"/>
                    <a:ext cx="270675" cy="199105"/>
                  </a:xfrm>
                  <a:custGeom>
                    <a:avLst/>
                    <a:gdLst>
                      <a:gd name="T0" fmla="*/ 26 w 164"/>
                      <a:gd name="T1" fmla="*/ 0 h 134"/>
                      <a:gd name="T2" fmla="*/ 17 w 164"/>
                      <a:gd name="T3" fmla="*/ 0 h 134"/>
                      <a:gd name="T4" fmla="*/ 16 w 164"/>
                      <a:gd name="T5" fmla="*/ 9 h 134"/>
                      <a:gd name="T6" fmla="*/ 2 w 164"/>
                      <a:gd name="T7" fmla="*/ 123 h 134"/>
                      <a:gd name="T8" fmla="*/ 0 w 164"/>
                      <a:gd name="T9" fmla="*/ 134 h 134"/>
                      <a:gd name="T10" fmla="*/ 10 w 164"/>
                      <a:gd name="T11" fmla="*/ 134 h 134"/>
                      <a:gd name="T12" fmla="*/ 143 w 164"/>
                      <a:gd name="T13" fmla="*/ 134 h 134"/>
                      <a:gd name="T14" fmla="*/ 152 w 164"/>
                      <a:gd name="T15" fmla="*/ 134 h 134"/>
                      <a:gd name="T16" fmla="*/ 153 w 164"/>
                      <a:gd name="T17" fmla="*/ 125 h 134"/>
                      <a:gd name="T18" fmla="*/ 163 w 164"/>
                      <a:gd name="T19" fmla="*/ 10 h 134"/>
                      <a:gd name="T20" fmla="*/ 164 w 164"/>
                      <a:gd name="T21" fmla="*/ 0 h 134"/>
                      <a:gd name="T22" fmla="*/ 153 w 164"/>
                      <a:gd name="T23" fmla="*/ 0 h 134"/>
                      <a:gd name="T24" fmla="*/ 26 w 164"/>
                      <a:gd name="T25" fmla="*/ 0 h 134"/>
                      <a:gd name="T26" fmla="*/ 143 w 164"/>
                      <a:gd name="T27" fmla="*/ 124 h 134"/>
                      <a:gd name="T28" fmla="*/ 10 w 164"/>
                      <a:gd name="T29" fmla="*/ 124 h 134"/>
                      <a:gd name="T30" fmla="*/ 26 w 164"/>
                      <a:gd name="T31" fmla="*/ 9 h 134"/>
                      <a:gd name="T32" fmla="*/ 153 w 164"/>
                      <a:gd name="T33" fmla="*/ 9 h 134"/>
                      <a:gd name="T34" fmla="*/ 143 w 164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64" h="134">
                        <a:moveTo>
                          <a:pt x="26" y="0"/>
                        </a:moveTo>
                        <a:lnTo>
                          <a:pt x="17" y="0"/>
                        </a:lnTo>
                        <a:lnTo>
                          <a:pt x="16" y="9"/>
                        </a:lnTo>
                        <a:lnTo>
                          <a:pt x="2" y="123"/>
                        </a:lnTo>
                        <a:lnTo>
                          <a:pt x="0" y="134"/>
                        </a:lnTo>
                        <a:lnTo>
                          <a:pt x="10" y="134"/>
                        </a:lnTo>
                        <a:lnTo>
                          <a:pt x="143" y="134"/>
                        </a:lnTo>
                        <a:lnTo>
                          <a:pt x="152" y="134"/>
                        </a:lnTo>
                        <a:lnTo>
                          <a:pt x="153" y="125"/>
                        </a:lnTo>
                        <a:lnTo>
                          <a:pt x="163" y="10"/>
                        </a:lnTo>
                        <a:lnTo>
                          <a:pt x="164" y="0"/>
                        </a:lnTo>
                        <a:lnTo>
                          <a:pt x="153" y="0"/>
                        </a:lnTo>
                        <a:lnTo>
                          <a:pt x="26" y="0"/>
                        </a:lnTo>
                        <a:moveTo>
                          <a:pt x="143" y="124"/>
                        </a:moveTo>
                        <a:lnTo>
                          <a:pt x="10" y="124"/>
                        </a:lnTo>
                        <a:lnTo>
                          <a:pt x="26" y="9"/>
                        </a:lnTo>
                        <a:lnTo>
                          <a:pt x="153" y="9"/>
                        </a:lnTo>
                        <a:lnTo>
                          <a:pt x="143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68" name="Freeform 197">
                    <a:extLst>
                      <a:ext uri="{FF2B5EF4-FFF2-40B4-BE49-F238E27FC236}">
                        <a16:creationId xmlns:a16="http://schemas.microsoft.com/office/drawing/2014/main" id="{0A20E9D8-5399-4EE8-A20F-2C8FB3611A8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326635" y="1942780"/>
                    <a:ext cx="260771" cy="199105"/>
                  </a:xfrm>
                  <a:custGeom>
                    <a:avLst/>
                    <a:gdLst>
                      <a:gd name="T0" fmla="*/ 20 w 158"/>
                      <a:gd name="T1" fmla="*/ 0 h 134"/>
                      <a:gd name="T2" fmla="*/ 11 w 158"/>
                      <a:gd name="T3" fmla="*/ 0 h 134"/>
                      <a:gd name="T4" fmla="*/ 11 w 158"/>
                      <a:gd name="T5" fmla="*/ 9 h 134"/>
                      <a:gd name="T6" fmla="*/ 1 w 158"/>
                      <a:gd name="T7" fmla="*/ 123 h 134"/>
                      <a:gd name="T8" fmla="*/ 0 w 158"/>
                      <a:gd name="T9" fmla="*/ 134 h 134"/>
                      <a:gd name="T10" fmla="*/ 10 w 158"/>
                      <a:gd name="T11" fmla="*/ 134 h 134"/>
                      <a:gd name="T12" fmla="*/ 144 w 158"/>
                      <a:gd name="T13" fmla="*/ 134 h 134"/>
                      <a:gd name="T14" fmla="*/ 152 w 158"/>
                      <a:gd name="T15" fmla="*/ 134 h 134"/>
                      <a:gd name="T16" fmla="*/ 152 w 158"/>
                      <a:gd name="T17" fmla="*/ 125 h 134"/>
                      <a:gd name="T18" fmla="*/ 158 w 158"/>
                      <a:gd name="T19" fmla="*/ 10 h 134"/>
                      <a:gd name="T20" fmla="*/ 158 w 158"/>
                      <a:gd name="T21" fmla="*/ 0 h 134"/>
                      <a:gd name="T22" fmla="*/ 148 w 158"/>
                      <a:gd name="T23" fmla="*/ 0 h 134"/>
                      <a:gd name="T24" fmla="*/ 20 w 158"/>
                      <a:gd name="T25" fmla="*/ 0 h 134"/>
                      <a:gd name="T26" fmla="*/ 144 w 158"/>
                      <a:gd name="T27" fmla="*/ 124 h 134"/>
                      <a:gd name="T28" fmla="*/ 10 w 158"/>
                      <a:gd name="T29" fmla="*/ 124 h 134"/>
                      <a:gd name="T30" fmla="*/ 21 w 158"/>
                      <a:gd name="T31" fmla="*/ 9 h 134"/>
                      <a:gd name="T32" fmla="*/ 148 w 158"/>
                      <a:gd name="T33" fmla="*/ 9 h 134"/>
                      <a:gd name="T34" fmla="*/ 144 w 158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58" h="134">
                        <a:moveTo>
                          <a:pt x="20" y="0"/>
                        </a:moveTo>
                        <a:lnTo>
                          <a:pt x="11" y="0"/>
                        </a:lnTo>
                        <a:lnTo>
                          <a:pt x="11" y="9"/>
                        </a:lnTo>
                        <a:lnTo>
                          <a:pt x="1" y="123"/>
                        </a:lnTo>
                        <a:lnTo>
                          <a:pt x="0" y="134"/>
                        </a:lnTo>
                        <a:lnTo>
                          <a:pt x="10" y="134"/>
                        </a:lnTo>
                        <a:lnTo>
                          <a:pt x="144" y="134"/>
                        </a:lnTo>
                        <a:lnTo>
                          <a:pt x="152" y="134"/>
                        </a:lnTo>
                        <a:lnTo>
                          <a:pt x="152" y="125"/>
                        </a:lnTo>
                        <a:lnTo>
                          <a:pt x="158" y="10"/>
                        </a:lnTo>
                        <a:lnTo>
                          <a:pt x="158" y="0"/>
                        </a:lnTo>
                        <a:lnTo>
                          <a:pt x="148" y="0"/>
                        </a:lnTo>
                        <a:lnTo>
                          <a:pt x="20" y="0"/>
                        </a:lnTo>
                        <a:moveTo>
                          <a:pt x="144" y="124"/>
                        </a:moveTo>
                        <a:lnTo>
                          <a:pt x="10" y="124"/>
                        </a:lnTo>
                        <a:lnTo>
                          <a:pt x="21" y="9"/>
                        </a:lnTo>
                        <a:lnTo>
                          <a:pt x="148" y="9"/>
                        </a:lnTo>
                        <a:lnTo>
                          <a:pt x="144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69" name="Freeform 590">
                    <a:extLst>
                      <a:ext uri="{FF2B5EF4-FFF2-40B4-BE49-F238E27FC236}">
                        <a16:creationId xmlns:a16="http://schemas.microsoft.com/office/drawing/2014/main" id="{F9598DDC-50A3-41DE-9009-C459656817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21805" y="2176060"/>
                    <a:ext cx="4588262" cy="2041572"/>
                  </a:xfrm>
                  <a:custGeom>
                    <a:avLst/>
                    <a:gdLst>
                      <a:gd name="T0" fmla="*/ 2632 w 2780"/>
                      <a:gd name="T1" fmla="*/ 880 h 1374"/>
                      <a:gd name="T2" fmla="*/ 2633 w 2780"/>
                      <a:gd name="T3" fmla="*/ 474 h 1374"/>
                      <a:gd name="T4" fmla="*/ 2633 w 2780"/>
                      <a:gd name="T5" fmla="*/ 474 h 1374"/>
                      <a:gd name="T6" fmla="*/ 2633 w 2780"/>
                      <a:gd name="T7" fmla="*/ 270 h 1374"/>
                      <a:gd name="T8" fmla="*/ 2571 w 2780"/>
                      <a:gd name="T9" fmla="*/ 270 h 1374"/>
                      <a:gd name="T10" fmla="*/ 2571 w 2780"/>
                      <a:gd name="T11" fmla="*/ 422 h 1374"/>
                      <a:gd name="T12" fmla="*/ 1933 w 2780"/>
                      <a:gd name="T13" fmla="*/ 422 h 1374"/>
                      <a:gd name="T14" fmla="*/ 1933 w 2780"/>
                      <a:gd name="T15" fmla="*/ 0 h 1374"/>
                      <a:gd name="T16" fmla="*/ 428 w 2780"/>
                      <a:gd name="T17" fmla="*/ 0 h 1374"/>
                      <a:gd name="T18" fmla="*/ 428 w 2780"/>
                      <a:gd name="T19" fmla="*/ 466 h 1374"/>
                      <a:gd name="T20" fmla="*/ 428 w 2780"/>
                      <a:gd name="T21" fmla="*/ 466 h 1374"/>
                      <a:gd name="T22" fmla="*/ 428 w 2780"/>
                      <a:gd name="T23" fmla="*/ 888 h 1374"/>
                      <a:gd name="T24" fmla="*/ 35 w 2780"/>
                      <a:gd name="T25" fmla="*/ 888 h 1374"/>
                      <a:gd name="T26" fmla="*/ 0 w 2780"/>
                      <a:gd name="T27" fmla="*/ 987 h 1374"/>
                      <a:gd name="T28" fmla="*/ 50 w 2780"/>
                      <a:gd name="T29" fmla="*/ 987 h 1374"/>
                      <a:gd name="T30" fmla="*/ 50 w 2780"/>
                      <a:gd name="T31" fmla="*/ 1374 h 1374"/>
                      <a:gd name="T32" fmla="*/ 87 w 2780"/>
                      <a:gd name="T33" fmla="*/ 1374 h 1374"/>
                      <a:gd name="T34" fmla="*/ 87 w 2780"/>
                      <a:gd name="T35" fmla="*/ 987 h 1374"/>
                      <a:gd name="T36" fmla="*/ 428 w 2780"/>
                      <a:gd name="T37" fmla="*/ 987 h 1374"/>
                      <a:gd name="T38" fmla="*/ 428 w 2780"/>
                      <a:gd name="T39" fmla="*/ 1373 h 1374"/>
                      <a:gd name="T40" fmla="*/ 2754 w 2780"/>
                      <a:gd name="T41" fmla="*/ 1373 h 1374"/>
                      <a:gd name="T42" fmla="*/ 2754 w 2780"/>
                      <a:gd name="T43" fmla="*/ 937 h 1374"/>
                      <a:gd name="T44" fmla="*/ 2780 w 2780"/>
                      <a:gd name="T45" fmla="*/ 937 h 1374"/>
                      <a:gd name="T46" fmla="*/ 2769 w 2780"/>
                      <a:gd name="T47" fmla="*/ 880 h 1374"/>
                      <a:gd name="T48" fmla="*/ 2632 w 2780"/>
                      <a:gd name="T49" fmla="*/ 880 h 13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2780" h="1374">
                        <a:moveTo>
                          <a:pt x="2632" y="880"/>
                        </a:moveTo>
                        <a:lnTo>
                          <a:pt x="2633" y="474"/>
                        </a:lnTo>
                        <a:lnTo>
                          <a:pt x="2633" y="474"/>
                        </a:lnTo>
                        <a:lnTo>
                          <a:pt x="2633" y="270"/>
                        </a:lnTo>
                        <a:lnTo>
                          <a:pt x="2571" y="270"/>
                        </a:lnTo>
                        <a:lnTo>
                          <a:pt x="2571" y="422"/>
                        </a:lnTo>
                        <a:lnTo>
                          <a:pt x="1933" y="422"/>
                        </a:lnTo>
                        <a:lnTo>
                          <a:pt x="1933" y="0"/>
                        </a:lnTo>
                        <a:lnTo>
                          <a:pt x="428" y="0"/>
                        </a:lnTo>
                        <a:lnTo>
                          <a:pt x="428" y="466"/>
                        </a:lnTo>
                        <a:lnTo>
                          <a:pt x="428" y="466"/>
                        </a:lnTo>
                        <a:lnTo>
                          <a:pt x="428" y="888"/>
                        </a:lnTo>
                        <a:lnTo>
                          <a:pt x="35" y="888"/>
                        </a:lnTo>
                        <a:lnTo>
                          <a:pt x="0" y="987"/>
                        </a:lnTo>
                        <a:lnTo>
                          <a:pt x="50" y="987"/>
                        </a:lnTo>
                        <a:lnTo>
                          <a:pt x="50" y="1374"/>
                        </a:lnTo>
                        <a:lnTo>
                          <a:pt x="87" y="1374"/>
                        </a:lnTo>
                        <a:lnTo>
                          <a:pt x="87" y="987"/>
                        </a:lnTo>
                        <a:lnTo>
                          <a:pt x="428" y="987"/>
                        </a:lnTo>
                        <a:lnTo>
                          <a:pt x="428" y="1373"/>
                        </a:lnTo>
                        <a:lnTo>
                          <a:pt x="2754" y="1373"/>
                        </a:lnTo>
                        <a:lnTo>
                          <a:pt x="2754" y="937"/>
                        </a:lnTo>
                        <a:lnTo>
                          <a:pt x="2780" y="937"/>
                        </a:lnTo>
                        <a:lnTo>
                          <a:pt x="2769" y="880"/>
                        </a:lnTo>
                        <a:lnTo>
                          <a:pt x="2632" y="88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0" name="Rectangle 598">
                    <a:extLst>
                      <a:ext uri="{FF2B5EF4-FFF2-40B4-BE49-F238E27FC236}">
                        <a16:creationId xmlns:a16="http://schemas.microsoft.com/office/drawing/2014/main" id="{F31FFAFB-C2C1-4A38-B7C3-3A3D5C8A9DF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061087" y="3532652"/>
                    <a:ext cx="1104154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1" name="Rectangle 601">
                    <a:extLst>
                      <a:ext uri="{FF2B5EF4-FFF2-40B4-BE49-F238E27FC236}">
                        <a16:creationId xmlns:a16="http://schemas.microsoft.com/office/drawing/2014/main" id="{2F6CD2C4-D8EA-4BA3-8518-F30BE787629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788937" y="3693123"/>
                    <a:ext cx="184851" cy="42941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172" name="Gruppierung 27">
                    <a:extLst>
                      <a:ext uri="{FF2B5EF4-FFF2-40B4-BE49-F238E27FC236}">
                        <a16:creationId xmlns:a16="http://schemas.microsoft.com/office/drawing/2014/main" id="{4B8874F4-9614-45B6-B1E2-69C5BE7A1E69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252365" y="4488046"/>
                    <a:ext cx="41262" cy="34174"/>
                    <a:chOff x="2368062" y="6213561"/>
                    <a:chExt cx="70723" cy="58575"/>
                  </a:xfrm>
                </p:grpSpPr>
                <p:sp>
                  <p:nvSpPr>
                    <p:cNvPr id="770" name="Freeform 731">
                      <a:extLst>
                        <a:ext uri="{FF2B5EF4-FFF2-40B4-BE49-F238E27FC236}">
                          <a16:creationId xmlns:a16="http://schemas.microsoft.com/office/drawing/2014/main" id="{40B55F85-4F4A-428B-8582-F1FF4AD474B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2370891" y="6216106"/>
                      <a:ext cx="62235" cy="56028"/>
                    </a:xfrm>
                    <a:custGeom>
                      <a:avLst/>
                      <a:gdLst>
                        <a:gd name="T0" fmla="*/ 11 w 27"/>
                        <a:gd name="T1" fmla="*/ 1 h 27"/>
                        <a:gd name="T2" fmla="*/ 1 w 27"/>
                        <a:gd name="T3" fmla="*/ 16 h 27"/>
                        <a:gd name="T4" fmla="*/ 16 w 27"/>
                        <a:gd name="T5" fmla="*/ 26 h 27"/>
                        <a:gd name="T6" fmla="*/ 26 w 27"/>
                        <a:gd name="T7" fmla="*/ 11 h 27"/>
                        <a:gd name="T8" fmla="*/ 11 w 27"/>
                        <a:gd name="T9" fmla="*/ 1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27">
                          <a:moveTo>
                            <a:pt x="11" y="1"/>
                          </a:moveTo>
                          <a:cubicBezTo>
                            <a:pt x="5" y="3"/>
                            <a:pt x="0" y="9"/>
                            <a:pt x="1" y="16"/>
                          </a:cubicBezTo>
                          <a:cubicBezTo>
                            <a:pt x="3" y="23"/>
                            <a:pt x="9" y="27"/>
                            <a:pt x="16" y="26"/>
                          </a:cubicBezTo>
                          <a:cubicBezTo>
                            <a:pt x="23" y="25"/>
                            <a:pt x="27" y="18"/>
                            <a:pt x="26" y="11"/>
                          </a:cubicBezTo>
                          <a:cubicBezTo>
                            <a:pt x="25" y="4"/>
                            <a:pt x="18" y="0"/>
                            <a:pt x="11" y="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771" name="Freeform 732">
                      <a:extLst>
                        <a:ext uri="{FF2B5EF4-FFF2-40B4-BE49-F238E27FC236}">
                          <a16:creationId xmlns:a16="http://schemas.microsoft.com/office/drawing/2014/main" id="{F64F4ED1-5439-4BAC-BCD3-3A73C5DA2AA6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2368062" y="6213561"/>
                      <a:ext cx="70723" cy="58575"/>
                    </a:xfrm>
                    <a:custGeom>
                      <a:avLst/>
                      <a:gdLst>
                        <a:gd name="T0" fmla="*/ 16 w 31"/>
                        <a:gd name="T1" fmla="*/ 0 h 29"/>
                        <a:gd name="T2" fmla="*/ 13 w 31"/>
                        <a:gd name="T3" fmla="*/ 0 h 29"/>
                        <a:gd name="T4" fmla="*/ 2 w 31"/>
                        <a:gd name="T5" fmla="*/ 17 h 29"/>
                        <a:gd name="T6" fmla="*/ 16 w 31"/>
                        <a:gd name="T7" fmla="*/ 29 h 29"/>
                        <a:gd name="T8" fmla="*/ 18 w 31"/>
                        <a:gd name="T9" fmla="*/ 29 h 29"/>
                        <a:gd name="T10" fmla="*/ 28 w 31"/>
                        <a:gd name="T11" fmla="*/ 23 h 29"/>
                        <a:gd name="T12" fmla="*/ 30 w 31"/>
                        <a:gd name="T13" fmla="*/ 12 h 29"/>
                        <a:gd name="T14" fmla="*/ 16 w 31"/>
                        <a:gd name="T15" fmla="*/ 0 h 29"/>
                        <a:gd name="T16" fmla="*/ 25 w 31"/>
                        <a:gd name="T17" fmla="*/ 21 h 29"/>
                        <a:gd name="T18" fmla="*/ 18 w 31"/>
                        <a:gd name="T19" fmla="*/ 25 h 29"/>
                        <a:gd name="T20" fmla="*/ 5 w 31"/>
                        <a:gd name="T21" fmla="*/ 17 h 29"/>
                        <a:gd name="T22" fmla="*/ 14 w 31"/>
                        <a:gd name="T23" fmla="*/ 4 h 29"/>
                        <a:gd name="T24" fmla="*/ 16 w 31"/>
                        <a:gd name="T25" fmla="*/ 4 h 29"/>
                        <a:gd name="T26" fmla="*/ 26 w 31"/>
                        <a:gd name="T27" fmla="*/ 13 h 29"/>
                        <a:gd name="T28" fmla="*/ 25 w 31"/>
                        <a:gd name="T29" fmla="*/ 21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1" h="29">
                          <a:moveTo>
                            <a:pt x="16" y="0"/>
                          </a:moveTo>
                          <a:cubicBezTo>
                            <a:pt x="15" y="0"/>
                            <a:pt x="14" y="0"/>
                            <a:pt x="13" y="0"/>
                          </a:cubicBezTo>
                          <a:cubicBezTo>
                            <a:pt x="5" y="2"/>
                            <a:pt x="0" y="9"/>
                            <a:pt x="2" y="17"/>
                          </a:cubicBezTo>
                          <a:cubicBezTo>
                            <a:pt x="3" y="24"/>
                            <a:pt x="9" y="29"/>
                            <a:pt x="16" y="29"/>
                          </a:cubicBezTo>
                          <a:cubicBezTo>
                            <a:pt x="17" y="29"/>
                            <a:pt x="18" y="29"/>
                            <a:pt x="18" y="29"/>
                          </a:cubicBezTo>
                          <a:cubicBezTo>
                            <a:pt x="22" y="28"/>
                            <a:pt x="26" y="26"/>
                            <a:pt x="28" y="23"/>
                          </a:cubicBezTo>
                          <a:cubicBezTo>
                            <a:pt x="30" y="19"/>
                            <a:pt x="31" y="16"/>
                            <a:pt x="30" y="12"/>
                          </a:cubicBezTo>
                          <a:cubicBezTo>
                            <a:pt x="29" y="5"/>
                            <a:pt x="23" y="0"/>
                            <a:pt x="16" y="0"/>
                          </a:cubicBezTo>
                          <a:close/>
                          <a:moveTo>
                            <a:pt x="25" y="21"/>
                          </a:moveTo>
                          <a:cubicBezTo>
                            <a:pt x="23" y="23"/>
                            <a:pt x="21" y="25"/>
                            <a:pt x="18" y="25"/>
                          </a:cubicBezTo>
                          <a:cubicBezTo>
                            <a:pt x="12" y="26"/>
                            <a:pt x="6" y="22"/>
                            <a:pt x="5" y="17"/>
                          </a:cubicBezTo>
                          <a:cubicBezTo>
                            <a:pt x="4" y="11"/>
                            <a:pt x="8" y="5"/>
                            <a:pt x="14" y="4"/>
                          </a:cubicBezTo>
                          <a:cubicBezTo>
                            <a:pt x="14" y="4"/>
                            <a:pt x="15" y="4"/>
                            <a:pt x="16" y="4"/>
                          </a:cubicBezTo>
                          <a:cubicBezTo>
                            <a:pt x="21" y="4"/>
                            <a:pt x="25" y="8"/>
                            <a:pt x="26" y="13"/>
                          </a:cubicBezTo>
                          <a:cubicBezTo>
                            <a:pt x="27" y="15"/>
                            <a:pt x="26" y="18"/>
                            <a:pt x="25" y="21"/>
                          </a:cubicBezTo>
                          <a:close/>
                        </a:path>
                      </a:pathLst>
                    </a:cu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grpSp>
                  <p:nvGrpSpPr>
                    <p:cNvPr id="772" name="Gruppierung 19">
                      <a:extLst>
                        <a:ext uri="{FF2B5EF4-FFF2-40B4-BE49-F238E27FC236}">
                          <a16:creationId xmlns:a16="http://schemas.microsoft.com/office/drawing/2014/main" id="{518036C4-9E35-46B1-8302-C765CB445CA2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2387864" y="6228840"/>
                      <a:ext cx="22631" cy="20376"/>
                      <a:chOff x="2387864" y="6228840"/>
                      <a:chExt cx="22631" cy="20376"/>
                    </a:xfrm>
                  </p:grpSpPr>
                  <p:sp>
                    <p:nvSpPr>
                      <p:cNvPr id="773" name="Freeform 733">
                        <a:extLst>
                          <a:ext uri="{FF2B5EF4-FFF2-40B4-BE49-F238E27FC236}">
                            <a16:creationId xmlns:a16="http://schemas.microsoft.com/office/drawing/2014/main" id="{1888B4A2-14CC-47E8-AB69-DB90F0BA0F26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2396350" y="6236482"/>
                        <a:ext cx="14145" cy="12734"/>
                      </a:xfrm>
                      <a:custGeom>
                        <a:avLst/>
                        <a:gdLst>
                          <a:gd name="T0" fmla="*/ 2 w 6"/>
                          <a:gd name="T1" fmla="*/ 1 h 7"/>
                          <a:gd name="T2" fmla="*/ 0 w 6"/>
                          <a:gd name="T3" fmla="*/ 4 h 7"/>
                          <a:gd name="T4" fmla="*/ 3 w 6"/>
                          <a:gd name="T5" fmla="*/ 6 h 7"/>
                          <a:gd name="T6" fmla="*/ 6 w 6"/>
                          <a:gd name="T7" fmla="*/ 3 h 7"/>
                          <a:gd name="T8" fmla="*/ 2 w 6"/>
                          <a:gd name="T9" fmla="*/ 1 h 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6" h="7">
                            <a:moveTo>
                              <a:pt x="2" y="1"/>
                            </a:moveTo>
                            <a:cubicBezTo>
                              <a:pt x="1" y="1"/>
                              <a:pt x="0" y="3"/>
                              <a:pt x="0" y="4"/>
                            </a:cubicBezTo>
                            <a:cubicBezTo>
                              <a:pt x="0" y="6"/>
                              <a:pt x="2" y="7"/>
                              <a:pt x="3" y="6"/>
                            </a:cubicBezTo>
                            <a:cubicBezTo>
                              <a:pt x="5" y="6"/>
                              <a:pt x="6" y="5"/>
                              <a:pt x="6" y="3"/>
                            </a:cubicBezTo>
                            <a:cubicBezTo>
                              <a:pt x="5" y="1"/>
                              <a:pt x="4" y="0"/>
                              <a:pt x="2" y="1"/>
                            </a:cubicBezTo>
                            <a:close/>
                          </a:path>
                        </a:pathLst>
                      </a:cu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74" name="Freeform 734">
                        <a:extLst>
                          <a:ext uri="{FF2B5EF4-FFF2-40B4-BE49-F238E27FC236}">
                            <a16:creationId xmlns:a16="http://schemas.microsoft.com/office/drawing/2014/main" id="{62065A1F-5300-4CD9-ABE5-F4CC5577B6B7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2387864" y="6228840"/>
                        <a:ext cx="16973" cy="17827"/>
                      </a:xfrm>
                      <a:custGeom>
                        <a:avLst/>
                        <a:gdLst>
                          <a:gd name="T0" fmla="*/ 2 w 8"/>
                          <a:gd name="T1" fmla="*/ 1 h 9"/>
                          <a:gd name="T2" fmla="*/ 1 w 8"/>
                          <a:gd name="T3" fmla="*/ 1 h 9"/>
                          <a:gd name="T4" fmla="*/ 1 w 8"/>
                          <a:gd name="T5" fmla="*/ 3 h 9"/>
                          <a:gd name="T6" fmla="*/ 6 w 8"/>
                          <a:gd name="T7" fmla="*/ 8 h 9"/>
                          <a:gd name="T8" fmla="*/ 7 w 8"/>
                          <a:gd name="T9" fmla="*/ 9 h 9"/>
                          <a:gd name="T10" fmla="*/ 8 w 8"/>
                          <a:gd name="T11" fmla="*/ 9 h 9"/>
                          <a:gd name="T12" fmla="*/ 8 w 8"/>
                          <a:gd name="T13" fmla="*/ 7 h 9"/>
                          <a:gd name="T14" fmla="*/ 2 w 8"/>
                          <a:gd name="T15" fmla="*/ 1 h 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8" h="9">
                            <a:moveTo>
                              <a:pt x="2" y="1"/>
                            </a:moveTo>
                            <a:cubicBezTo>
                              <a:pt x="2" y="0"/>
                              <a:pt x="1" y="0"/>
                              <a:pt x="1" y="1"/>
                            </a:cubicBezTo>
                            <a:cubicBezTo>
                              <a:pt x="0" y="1"/>
                              <a:pt x="0" y="2"/>
                              <a:pt x="1" y="3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7" y="9"/>
                              <a:pt x="7" y="9"/>
                              <a:pt x="7" y="9"/>
                            </a:cubicBezTo>
                            <a:cubicBezTo>
                              <a:pt x="8" y="9"/>
                              <a:pt x="8" y="9"/>
                              <a:pt x="8" y="9"/>
                            </a:cubicBezTo>
                            <a:cubicBezTo>
                              <a:pt x="8" y="8"/>
                              <a:pt x="8" y="7"/>
                              <a:pt x="8" y="7"/>
                            </a:cubicBezTo>
                            <a:lnTo>
                              <a:pt x="2" y="1"/>
                            </a:lnTo>
                            <a:close/>
                          </a:path>
                        </a:pathLst>
                      </a:cu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</p:grpSp>
              <p:sp>
                <p:nvSpPr>
                  <p:cNvPr id="173" name="Rectangle 745">
                    <a:extLst>
                      <a:ext uri="{FF2B5EF4-FFF2-40B4-BE49-F238E27FC236}">
                        <a16:creationId xmlns:a16="http://schemas.microsoft.com/office/drawing/2014/main" id="{3886B006-F3FC-43A1-9701-466B4A2DDF2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884313" y="3532651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4" name="Rectangle 759">
                    <a:extLst>
                      <a:ext uri="{FF2B5EF4-FFF2-40B4-BE49-F238E27FC236}">
                        <a16:creationId xmlns:a16="http://schemas.microsoft.com/office/drawing/2014/main" id="{005BBB7A-8387-4D32-9C6C-C30A952675B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996544" y="3694610"/>
                    <a:ext cx="305333" cy="16344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5" name="Rectangle 793">
                    <a:extLst>
                      <a:ext uri="{FF2B5EF4-FFF2-40B4-BE49-F238E27FC236}">
                        <a16:creationId xmlns:a16="http://schemas.microsoft.com/office/drawing/2014/main" id="{949CE8B1-F0E3-4A50-B272-84F11E1B874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884313" y="2294930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6" name="Rectangle 887">
                    <a:extLst>
                      <a:ext uri="{FF2B5EF4-FFF2-40B4-BE49-F238E27FC236}">
                        <a16:creationId xmlns:a16="http://schemas.microsoft.com/office/drawing/2014/main" id="{7D34988D-36AD-4721-BB9E-926BD60F83F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064388" y="2294930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7" name="Rectangle 966">
                    <a:extLst>
                      <a:ext uri="{FF2B5EF4-FFF2-40B4-BE49-F238E27FC236}">
                        <a16:creationId xmlns:a16="http://schemas.microsoft.com/office/drawing/2014/main" id="{BCF49771-B29C-4364-A895-67660CFBE98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359995" y="3529679"/>
                    <a:ext cx="1249394" cy="5928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78" name="Rectangle 1166">
                    <a:extLst>
                      <a:ext uri="{FF2B5EF4-FFF2-40B4-BE49-F238E27FC236}">
                        <a16:creationId xmlns:a16="http://schemas.microsoft.com/office/drawing/2014/main" id="{D677C2E4-0A71-4EC4-A826-8D9FAC5F4B0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752348" y="3466355"/>
                    <a:ext cx="620913" cy="0"/>
                  </a:xfrm>
                  <a:prstGeom prst="rect">
                    <a:avLst/>
                  </a:pr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179" name="Gruppieren 2067">
                    <a:extLst>
                      <a:ext uri="{FF2B5EF4-FFF2-40B4-BE49-F238E27FC236}">
                        <a16:creationId xmlns:a16="http://schemas.microsoft.com/office/drawing/2014/main" id="{0E862561-FC69-4483-BFA0-D3D414763AF8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 rot="2700000">
                    <a:off x="1778874" y="3181346"/>
                    <a:ext cx="144000" cy="144000"/>
                    <a:chOff x="5591795" y="3647298"/>
                    <a:chExt cx="1008000" cy="1008000"/>
                  </a:xfrm>
                </p:grpSpPr>
                <p:sp>
                  <p:nvSpPr>
                    <p:cNvPr id="767" name="Bogen 2068">
                      <a:extLst>
                        <a:ext uri="{FF2B5EF4-FFF2-40B4-BE49-F238E27FC236}">
                          <a16:creationId xmlns:a16="http://schemas.microsoft.com/office/drawing/2014/main" id="{A6B84A40-C9AF-4033-AF07-D51535CEE2A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880000" y="3934199"/>
                      <a:ext cx="432000" cy="432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768" name="Bogen 2069">
                      <a:extLst>
                        <a:ext uri="{FF2B5EF4-FFF2-40B4-BE49-F238E27FC236}">
                          <a16:creationId xmlns:a16="http://schemas.microsoft.com/office/drawing/2014/main" id="{BB70DC6B-C0A8-41FB-B4B7-820A924AEA8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735795" y="3790199"/>
                      <a:ext cx="720000" cy="720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769" name="Bogen 2070">
                      <a:extLst>
                        <a:ext uri="{FF2B5EF4-FFF2-40B4-BE49-F238E27FC236}">
                          <a16:creationId xmlns:a16="http://schemas.microsoft.com/office/drawing/2014/main" id="{D353BD23-9DB1-40CD-AE4C-599FA37759B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591795" y="3647298"/>
                      <a:ext cx="1008000" cy="1008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sp>
                <p:nvSpPr>
                  <p:cNvPr id="180" name="Rechteck: abgerundete Ecken 27">
                    <a:extLst>
                      <a:ext uri="{FF2B5EF4-FFF2-40B4-BE49-F238E27FC236}">
                        <a16:creationId xmlns:a16="http://schemas.microsoft.com/office/drawing/2014/main" id="{9F3D19D2-2114-4989-974C-B8813B12599A}"/>
                      </a:ext>
                    </a:extLst>
                  </p:cNvPr>
                  <p:cNvSpPr>
                    <a:spLocks noChangeAspect="1"/>
                  </p:cNvSpPr>
                  <p:nvPr>
                    <p:custDataLst>
                      <p:tags r:id="rId31"/>
                    </p:custDataLst>
                  </p:nvPr>
                </p:nvSpPr>
                <p:spPr bwMode="gray">
                  <a:xfrm>
                    <a:off x="1280119" y="2975242"/>
                    <a:ext cx="90001" cy="90000"/>
                  </a:xfrm>
                  <a:prstGeom prst="roundRect">
                    <a:avLst>
                      <a:gd name="adj" fmla="val 11024"/>
                    </a:avLst>
                  </a:prstGeom>
                  <a:solidFill>
                    <a:schemeClr val="accent1"/>
                  </a:solidFill>
                  <a:ln w="63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tIns="57600" rtlCol="0" anchor="ctr">
                    <a:noAutofit/>
                  </a:bodyPr>
                  <a:lstStyle/>
                  <a:p>
                    <a:pPr marL="0" marR="0" lvl="0" indent="0" algn="ctr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5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rPr>
                      <a:t>1</a:t>
                    </a:r>
                    <a:endParaRPr kumimoji="0" lang="en-GB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181" name="Rectangle 681">
                    <a:extLst>
                      <a:ext uri="{FF2B5EF4-FFF2-40B4-BE49-F238E27FC236}">
                        <a16:creationId xmlns:a16="http://schemas.microsoft.com/office/drawing/2014/main" id="{52D010E4-DA93-4B1A-848B-E5611851EA3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106870" y="2128374"/>
                    <a:ext cx="4571138" cy="2561348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182" name="Gruppieren 1379">
                    <a:extLst>
                      <a:ext uri="{FF2B5EF4-FFF2-40B4-BE49-F238E27FC236}">
                        <a16:creationId xmlns:a16="http://schemas.microsoft.com/office/drawing/2014/main" id="{0BC0BBC4-F418-4151-968A-60A7EADD6CD4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3466350" y="2180234"/>
                    <a:ext cx="812477" cy="1867001"/>
                    <a:chOff x="4240856" y="2180234"/>
                    <a:chExt cx="812477" cy="1867001"/>
                  </a:xfrm>
                </p:grpSpPr>
                <p:grpSp>
                  <p:nvGrpSpPr>
                    <p:cNvPr id="722" name="Gruppieren 1658">
                      <a:extLst>
                        <a:ext uri="{FF2B5EF4-FFF2-40B4-BE49-F238E27FC236}">
                          <a16:creationId xmlns:a16="http://schemas.microsoft.com/office/drawing/2014/main" id="{3697B961-7A00-4943-8B13-F05C528419F7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59" y="2180234"/>
                      <a:ext cx="812470" cy="588807"/>
                      <a:chOff x="4240305" y="2254998"/>
                      <a:chExt cx="812470" cy="588807"/>
                    </a:xfrm>
                  </p:grpSpPr>
                  <p:sp>
                    <p:nvSpPr>
                      <p:cNvPr id="753" name="Rectangle 965">
                        <a:extLst>
                          <a:ext uri="{FF2B5EF4-FFF2-40B4-BE49-F238E27FC236}">
                            <a16:creationId xmlns:a16="http://schemas.microsoft.com/office/drawing/2014/main" id="{E6479547-71F6-430E-B110-9204BDA8E9A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54" name="Rectangle 998">
                        <a:extLst>
                          <a:ext uri="{FF2B5EF4-FFF2-40B4-BE49-F238E27FC236}">
                            <a16:creationId xmlns:a16="http://schemas.microsoft.com/office/drawing/2014/main" id="{18ED347D-7A0A-4B25-A786-1BDA28C5044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55" name="Rectangle 1166">
                        <a:extLst>
                          <a:ext uri="{FF2B5EF4-FFF2-40B4-BE49-F238E27FC236}">
                            <a16:creationId xmlns:a16="http://schemas.microsoft.com/office/drawing/2014/main" id="{477F803B-DE36-441D-A4BD-E1AF2379B08B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756" name="Bild 2217">
                        <a:extLst>
                          <a:ext uri="{FF2B5EF4-FFF2-40B4-BE49-F238E27FC236}">
                            <a16:creationId xmlns:a16="http://schemas.microsoft.com/office/drawing/2014/main" id="{FFB8C810-5EB6-4380-AE5C-6423F012C944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757" name="Bild 2218">
                        <a:extLst>
                          <a:ext uri="{FF2B5EF4-FFF2-40B4-BE49-F238E27FC236}">
                            <a16:creationId xmlns:a16="http://schemas.microsoft.com/office/drawing/2014/main" id="{26D200B1-03A6-4340-B00E-B00F6AC6002C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758" name="Gruppieren 1694">
                        <a:extLst>
                          <a:ext uri="{FF2B5EF4-FFF2-40B4-BE49-F238E27FC236}">
                            <a16:creationId xmlns:a16="http://schemas.microsoft.com/office/drawing/2014/main" id="{409FE3F7-6632-4D69-8B2D-4B06A708CD6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764" name="Bild 2220">
                          <a:extLst>
                            <a:ext uri="{FF2B5EF4-FFF2-40B4-BE49-F238E27FC236}">
                              <a16:creationId xmlns:a16="http://schemas.microsoft.com/office/drawing/2014/main" id="{93AEDD54-9CEB-4D91-ABBA-DDC1965298EA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65" name="Bild 2224">
                          <a:extLst>
                            <a:ext uri="{FF2B5EF4-FFF2-40B4-BE49-F238E27FC236}">
                              <a16:creationId xmlns:a16="http://schemas.microsoft.com/office/drawing/2014/main" id="{11C1EFA0-1D56-4E89-AAF1-D06A8BC6769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66" name="Bild 1859">
                          <a:extLst>
                            <a:ext uri="{FF2B5EF4-FFF2-40B4-BE49-F238E27FC236}">
                              <a16:creationId xmlns:a16="http://schemas.microsoft.com/office/drawing/2014/main" id="{516E3A7D-4B13-4C4F-8CAE-7E3DA135282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759" name="Rectangle 965">
                        <a:extLst>
                          <a:ext uri="{FF2B5EF4-FFF2-40B4-BE49-F238E27FC236}">
                            <a16:creationId xmlns:a16="http://schemas.microsoft.com/office/drawing/2014/main" id="{B8F54E66-4961-4270-BE0D-A970DB54525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760" name="Gruppieren 1696">
                        <a:extLst>
                          <a:ext uri="{FF2B5EF4-FFF2-40B4-BE49-F238E27FC236}">
                            <a16:creationId xmlns:a16="http://schemas.microsoft.com/office/drawing/2014/main" id="{C633516F-A2BF-4602-A179-83A32D5FF76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761" name="Bild 1031">
                          <a:extLst>
                            <a:ext uri="{FF2B5EF4-FFF2-40B4-BE49-F238E27FC236}">
                              <a16:creationId xmlns:a16="http://schemas.microsoft.com/office/drawing/2014/main" id="{2F35DD38-919A-45D7-BFD3-07CB361FECA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62" name="Bild 1032">
                          <a:extLst>
                            <a:ext uri="{FF2B5EF4-FFF2-40B4-BE49-F238E27FC236}">
                              <a16:creationId xmlns:a16="http://schemas.microsoft.com/office/drawing/2014/main" id="{3C205093-3559-46FE-8F1E-A802EF21594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63" name="Bild 1858">
                          <a:extLst>
                            <a:ext uri="{FF2B5EF4-FFF2-40B4-BE49-F238E27FC236}">
                              <a16:creationId xmlns:a16="http://schemas.microsoft.com/office/drawing/2014/main" id="{158F3E47-98CC-47B6-9BF8-24FA6AD721C6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723" name="Gruppieren 1659">
                      <a:extLst>
                        <a:ext uri="{FF2B5EF4-FFF2-40B4-BE49-F238E27FC236}">
                          <a16:creationId xmlns:a16="http://schemas.microsoft.com/office/drawing/2014/main" id="{169A2875-07E0-4F98-AE36-A1B95E721E5C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56" y="3456835"/>
                      <a:ext cx="812470" cy="590400"/>
                      <a:chOff x="4240305" y="2254998"/>
                      <a:chExt cx="812470" cy="588807"/>
                    </a:xfrm>
                  </p:grpSpPr>
                  <p:sp>
                    <p:nvSpPr>
                      <p:cNvPr id="739" name="Rectangle 965">
                        <a:extLst>
                          <a:ext uri="{FF2B5EF4-FFF2-40B4-BE49-F238E27FC236}">
                            <a16:creationId xmlns:a16="http://schemas.microsoft.com/office/drawing/2014/main" id="{1C498E58-68F0-43E3-A93D-112FC3FCAB5C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40" name="Rectangle 998">
                        <a:extLst>
                          <a:ext uri="{FF2B5EF4-FFF2-40B4-BE49-F238E27FC236}">
                            <a16:creationId xmlns:a16="http://schemas.microsoft.com/office/drawing/2014/main" id="{6ED64B4C-3D41-4779-8858-700EE5187D37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41" name="Rectangle 1166">
                        <a:extLst>
                          <a:ext uri="{FF2B5EF4-FFF2-40B4-BE49-F238E27FC236}">
                            <a16:creationId xmlns:a16="http://schemas.microsoft.com/office/drawing/2014/main" id="{6CD3EEDB-71F9-4A75-81C8-FF412A82BDD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742" name="Bild 2217">
                        <a:extLst>
                          <a:ext uri="{FF2B5EF4-FFF2-40B4-BE49-F238E27FC236}">
                            <a16:creationId xmlns:a16="http://schemas.microsoft.com/office/drawing/2014/main" id="{84737351-41B3-4328-93AF-2D55EF477A6C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743" name="Bild 2218">
                        <a:extLst>
                          <a:ext uri="{FF2B5EF4-FFF2-40B4-BE49-F238E27FC236}">
                            <a16:creationId xmlns:a16="http://schemas.microsoft.com/office/drawing/2014/main" id="{F6481E9C-608A-4990-8B16-A9B5279935A0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744" name="Gruppieren 1680">
                        <a:extLst>
                          <a:ext uri="{FF2B5EF4-FFF2-40B4-BE49-F238E27FC236}">
                            <a16:creationId xmlns:a16="http://schemas.microsoft.com/office/drawing/2014/main" id="{815989A6-2A4F-4389-ABF0-074F09F8CA8C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750" name="Bild 2220">
                          <a:extLst>
                            <a:ext uri="{FF2B5EF4-FFF2-40B4-BE49-F238E27FC236}">
                              <a16:creationId xmlns:a16="http://schemas.microsoft.com/office/drawing/2014/main" id="{EEAFE62D-A2AB-4720-8931-E95EAB401AFA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51" name="Bild 2224">
                          <a:extLst>
                            <a:ext uri="{FF2B5EF4-FFF2-40B4-BE49-F238E27FC236}">
                              <a16:creationId xmlns:a16="http://schemas.microsoft.com/office/drawing/2014/main" id="{35EFC86D-8302-417D-A1A9-DA12A4DD999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52" name="Bild 1859">
                          <a:extLst>
                            <a:ext uri="{FF2B5EF4-FFF2-40B4-BE49-F238E27FC236}">
                              <a16:creationId xmlns:a16="http://schemas.microsoft.com/office/drawing/2014/main" id="{C9FB1E9D-230A-4652-A5E8-4D894284308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745" name="Rectangle 965">
                        <a:extLst>
                          <a:ext uri="{FF2B5EF4-FFF2-40B4-BE49-F238E27FC236}">
                            <a16:creationId xmlns:a16="http://schemas.microsoft.com/office/drawing/2014/main" id="{0632D757-1E43-40DC-9B48-DA417721181F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746" name="Gruppieren 1682">
                        <a:extLst>
                          <a:ext uri="{FF2B5EF4-FFF2-40B4-BE49-F238E27FC236}">
                            <a16:creationId xmlns:a16="http://schemas.microsoft.com/office/drawing/2014/main" id="{864B6D9D-D1CE-4083-ACD5-1B9C59915E8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747" name="Bild 1031">
                          <a:extLst>
                            <a:ext uri="{FF2B5EF4-FFF2-40B4-BE49-F238E27FC236}">
                              <a16:creationId xmlns:a16="http://schemas.microsoft.com/office/drawing/2014/main" id="{043DA86A-6B99-41B4-8F85-EE47C8A948C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48" name="Bild 1032">
                          <a:extLst>
                            <a:ext uri="{FF2B5EF4-FFF2-40B4-BE49-F238E27FC236}">
                              <a16:creationId xmlns:a16="http://schemas.microsoft.com/office/drawing/2014/main" id="{7AE0E3E0-1F03-49DD-A96C-48D62DDD30B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49" name="Bild 1858">
                          <a:extLst>
                            <a:ext uri="{FF2B5EF4-FFF2-40B4-BE49-F238E27FC236}">
                              <a16:creationId xmlns:a16="http://schemas.microsoft.com/office/drawing/2014/main" id="{9877C1D1-A88A-4B98-BB94-F5F75E1EB79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724" name="Gruppieren 1660">
                      <a:extLst>
                        <a:ext uri="{FF2B5EF4-FFF2-40B4-BE49-F238E27FC236}">
                          <a16:creationId xmlns:a16="http://schemas.microsoft.com/office/drawing/2014/main" id="{08047983-D419-4912-9A50-B775B3D83D8B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63" y="2823176"/>
                      <a:ext cx="812470" cy="588807"/>
                      <a:chOff x="4240305" y="2254998"/>
                      <a:chExt cx="812470" cy="588807"/>
                    </a:xfrm>
                  </p:grpSpPr>
                  <p:sp>
                    <p:nvSpPr>
                      <p:cNvPr id="725" name="Rectangle 965">
                        <a:extLst>
                          <a:ext uri="{FF2B5EF4-FFF2-40B4-BE49-F238E27FC236}">
                            <a16:creationId xmlns:a16="http://schemas.microsoft.com/office/drawing/2014/main" id="{4D8BDAC6-C014-4780-93B6-A22228A53B8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26" name="Rectangle 998">
                        <a:extLst>
                          <a:ext uri="{FF2B5EF4-FFF2-40B4-BE49-F238E27FC236}">
                            <a16:creationId xmlns:a16="http://schemas.microsoft.com/office/drawing/2014/main" id="{6ACC8F0B-06AD-4EF2-A598-314E7478A16F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727" name="Rectangle 1166">
                        <a:extLst>
                          <a:ext uri="{FF2B5EF4-FFF2-40B4-BE49-F238E27FC236}">
                            <a16:creationId xmlns:a16="http://schemas.microsoft.com/office/drawing/2014/main" id="{96257A84-89E5-4880-A444-9BA918B33EDA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728" name="Bild 2217">
                        <a:extLst>
                          <a:ext uri="{FF2B5EF4-FFF2-40B4-BE49-F238E27FC236}">
                            <a16:creationId xmlns:a16="http://schemas.microsoft.com/office/drawing/2014/main" id="{69391CDA-E9C0-4CDB-9034-B6B6D82A1482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729" name="Bild 2218">
                        <a:extLst>
                          <a:ext uri="{FF2B5EF4-FFF2-40B4-BE49-F238E27FC236}">
                            <a16:creationId xmlns:a16="http://schemas.microsoft.com/office/drawing/2014/main" id="{A95F4657-2F1F-451A-B0BB-20D6E5975111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4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730" name="Gruppieren 1666">
                        <a:extLst>
                          <a:ext uri="{FF2B5EF4-FFF2-40B4-BE49-F238E27FC236}">
                            <a16:creationId xmlns:a16="http://schemas.microsoft.com/office/drawing/2014/main" id="{4BB0E272-08DD-4475-9C2E-AA5E13186BDA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736" name="Bild 2220">
                          <a:extLst>
                            <a:ext uri="{FF2B5EF4-FFF2-40B4-BE49-F238E27FC236}">
                              <a16:creationId xmlns:a16="http://schemas.microsoft.com/office/drawing/2014/main" id="{3E74CB29-8643-43AD-8439-75A73687C43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37" name="Bild 2224">
                          <a:extLst>
                            <a:ext uri="{FF2B5EF4-FFF2-40B4-BE49-F238E27FC236}">
                              <a16:creationId xmlns:a16="http://schemas.microsoft.com/office/drawing/2014/main" id="{92195F9C-379C-4224-99A1-7E0CA544D98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38" name="Bild 1859">
                          <a:extLst>
                            <a:ext uri="{FF2B5EF4-FFF2-40B4-BE49-F238E27FC236}">
                              <a16:creationId xmlns:a16="http://schemas.microsoft.com/office/drawing/2014/main" id="{508908FC-A360-4D0F-98EF-F99C80D0B9D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731" name="Rectangle 965">
                        <a:extLst>
                          <a:ext uri="{FF2B5EF4-FFF2-40B4-BE49-F238E27FC236}">
                            <a16:creationId xmlns:a16="http://schemas.microsoft.com/office/drawing/2014/main" id="{51E6D111-EF14-43E4-9A22-7D50316DD08B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732" name="Gruppieren 1668">
                        <a:extLst>
                          <a:ext uri="{FF2B5EF4-FFF2-40B4-BE49-F238E27FC236}">
                            <a16:creationId xmlns:a16="http://schemas.microsoft.com/office/drawing/2014/main" id="{FDC52886-3AC5-4B0D-B24E-62BBF863F5FE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733" name="Bild 1031">
                          <a:extLst>
                            <a:ext uri="{FF2B5EF4-FFF2-40B4-BE49-F238E27FC236}">
                              <a16:creationId xmlns:a16="http://schemas.microsoft.com/office/drawing/2014/main" id="{AAB50EA3-043E-42CC-B70E-D71AA5B9704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34" name="Bild 1032">
                          <a:extLst>
                            <a:ext uri="{FF2B5EF4-FFF2-40B4-BE49-F238E27FC236}">
                              <a16:creationId xmlns:a16="http://schemas.microsoft.com/office/drawing/2014/main" id="{CA132B90-9A51-4C3C-94A3-EA7551D6E75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35" name="Bild 1858">
                          <a:extLst>
                            <a:ext uri="{FF2B5EF4-FFF2-40B4-BE49-F238E27FC236}">
                              <a16:creationId xmlns:a16="http://schemas.microsoft.com/office/drawing/2014/main" id="{882BBFF8-D4AC-43A8-AAE7-AC7B430CFA9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183" name="Gruppieren 1380">
                    <a:extLst>
                      <a:ext uri="{FF2B5EF4-FFF2-40B4-BE49-F238E27FC236}">
                        <a16:creationId xmlns:a16="http://schemas.microsoft.com/office/drawing/2014/main" id="{73505AE7-045C-4F80-B724-6A3CAEA5E6F4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892" y="2179424"/>
                    <a:ext cx="1105254" cy="1865530"/>
                    <a:chOff x="3091398" y="2179424"/>
                    <a:chExt cx="1105254" cy="1865530"/>
                  </a:xfrm>
                </p:grpSpPr>
                <p:grpSp>
                  <p:nvGrpSpPr>
                    <p:cNvPr id="683" name="Gruppieren 1619">
                      <a:extLst>
                        <a:ext uri="{FF2B5EF4-FFF2-40B4-BE49-F238E27FC236}">
                          <a16:creationId xmlns:a16="http://schemas.microsoft.com/office/drawing/2014/main" id="{36B772F0-7FFA-4174-A6D7-8CF9C6E9D861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452" y="2179424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710" name="Gruppierung 2228">
                        <a:extLst>
                          <a:ext uri="{FF2B5EF4-FFF2-40B4-BE49-F238E27FC236}">
                            <a16:creationId xmlns:a16="http://schemas.microsoft.com/office/drawing/2014/main" id="{87F30028-20D6-41CE-9D6C-B4424072035C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719" name="Rectangle 1175">
                          <a:extLst>
                            <a:ext uri="{FF2B5EF4-FFF2-40B4-BE49-F238E27FC236}">
                              <a16:creationId xmlns:a16="http://schemas.microsoft.com/office/drawing/2014/main" id="{66E635E9-58F1-461F-84A8-3E907026777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720" name="Rectangle 1166">
                          <a:extLst>
                            <a:ext uri="{FF2B5EF4-FFF2-40B4-BE49-F238E27FC236}">
                              <a16:creationId xmlns:a16="http://schemas.microsoft.com/office/drawing/2014/main" id="{FB55C2B2-8F22-42D7-B701-6F8F858ABA7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721" name="Rectangle 599">
                          <a:extLst>
                            <a:ext uri="{FF2B5EF4-FFF2-40B4-BE49-F238E27FC236}">
                              <a16:creationId xmlns:a16="http://schemas.microsoft.com/office/drawing/2014/main" id="{732F2108-D7DD-408D-BAD5-94EDB432D6D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711" name="Gruppierung 2229">
                        <a:extLst>
                          <a:ext uri="{FF2B5EF4-FFF2-40B4-BE49-F238E27FC236}">
                            <a16:creationId xmlns:a16="http://schemas.microsoft.com/office/drawing/2014/main" id="{79F46709-2894-4280-8DF9-59BE3B4BD84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712" name="Gruppierung 2230">
                          <a:extLst>
                            <a:ext uri="{FF2B5EF4-FFF2-40B4-BE49-F238E27FC236}">
                              <a16:creationId xmlns:a16="http://schemas.microsoft.com/office/drawing/2014/main" id="{A29D009A-3719-4B07-8FFA-0D8867FE53C6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716" name="Rectangle 1156">
                            <a:extLst>
                              <a:ext uri="{FF2B5EF4-FFF2-40B4-BE49-F238E27FC236}">
                                <a16:creationId xmlns:a16="http://schemas.microsoft.com/office/drawing/2014/main" id="{FEC5EAB9-EEEB-4DF4-8673-75AB5BE563CB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717" name="Rectangle 1157">
                            <a:extLst>
                              <a:ext uri="{FF2B5EF4-FFF2-40B4-BE49-F238E27FC236}">
                                <a16:creationId xmlns:a16="http://schemas.microsoft.com/office/drawing/2014/main" id="{039F4878-797D-445E-9B3A-4E07C08F891F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718" name="Freeform 1158">
                            <a:extLst>
                              <a:ext uri="{FF2B5EF4-FFF2-40B4-BE49-F238E27FC236}">
                                <a16:creationId xmlns:a16="http://schemas.microsoft.com/office/drawing/2014/main" id="{6079A37A-0A45-4846-9A41-CBDF3B3850A3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713" name="Bild 2231">
                          <a:extLst>
                            <a:ext uri="{FF2B5EF4-FFF2-40B4-BE49-F238E27FC236}">
                              <a16:creationId xmlns:a16="http://schemas.microsoft.com/office/drawing/2014/main" id="{8325ABF8-D2E1-41C5-9E7E-16E7B4F6C866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14" name="Bild 2232">
                          <a:extLst>
                            <a:ext uri="{FF2B5EF4-FFF2-40B4-BE49-F238E27FC236}">
                              <a16:creationId xmlns:a16="http://schemas.microsoft.com/office/drawing/2014/main" id="{E545791A-9B37-4FBB-BC7D-4E27F07843D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15" name="Bild 2233">
                          <a:extLst>
                            <a:ext uri="{FF2B5EF4-FFF2-40B4-BE49-F238E27FC236}">
                              <a16:creationId xmlns:a16="http://schemas.microsoft.com/office/drawing/2014/main" id="{11B356BC-1C14-495B-8E56-76A91FDB605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684" name="Gruppieren 1620">
                      <a:extLst>
                        <a:ext uri="{FF2B5EF4-FFF2-40B4-BE49-F238E27FC236}">
                          <a16:creationId xmlns:a16="http://schemas.microsoft.com/office/drawing/2014/main" id="{7A2FB3CF-16B0-4B8F-8148-8598D4C5D3B7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398" y="2822382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698" name="Gruppierung 2228">
                        <a:extLst>
                          <a:ext uri="{FF2B5EF4-FFF2-40B4-BE49-F238E27FC236}">
                            <a16:creationId xmlns:a16="http://schemas.microsoft.com/office/drawing/2014/main" id="{C5403846-CE94-4000-93B0-BF407C187C4F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707" name="Rectangle 1175">
                          <a:extLst>
                            <a:ext uri="{FF2B5EF4-FFF2-40B4-BE49-F238E27FC236}">
                              <a16:creationId xmlns:a16="http://schemas.microsoft.com/office/drawing/2014/main" id="{B130E7EB-214D-4D5D-A14C-A4D03FA3871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708" name="Rectangle 1166">
                          <a:extLst>
                            <a:ext uri="{FF2B5EF4-FFF2-40B4-BE49-F238E27FC236}">
                              <a16:creationId xmlns:a16="http://schemas.microsoft.com/office/drawing/2014/main" id="{0E00007A-6A6E-4513-9412-23081EC1006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709" name="Rectangle 599">
                          <a:extLst>
                            <a:ext uri="{FF2B5EF4-FFF2-40B4-BE49-F238E27FC236}">
                              <a16:creationId xmlns:a16="http://schemas.microsoft.com/office/drawing/2014/main" id="{21C0557C-872C-40A0-871E-98623C6C914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699" name="Gruppierung 2229">
                        <a:extLst>
                          <a:ext uri="{FF2B5EF4-FFF2-40B4-BE49-F238E27FC236}">
                            <a16:creationId xmlns:a16="http://schemas.microsoft.com/office/drawing/2014/main" id="{C56231D2-92EC-4311-9EA2-D233A8D5F28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700" name="Gruppierung 2230">
                          <a:extLst>
                            <a:ext uri="{FF2B5EF4-FFF2-40B4-BE49-F238E27FC236}">
                              <a16:creationId xmlns:a16="http://schemas.microsoft.com/office/drawing/2014/main" id="{D353BFEE-45A2-4AD4-963B-74E12E83133F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704" name="Rectangle 1156">
                            <a:extLst>
                              <a:ext uri="{FF2B5EF4-FFF2-40B4-BE49-F238E27FC236}">
                                <a16:creationId xmlns:a16="http://schemas.microsoft.com/office/drawing/2014/main" id="{820DB179-2F9B-46B3-AF22-5E939EB98AC6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705" name="Rectangle 1157">
                            <a:extLst>
                              <a:ext uri="{FF2B5EF4-FFF2-40B4-BE49-F238E27FC236}">
                                <a16:creationId xmlns:a16="http://schemas.microsoft.com/office/drawing/2014/main" id="{6BAB3D00-5203-4E42-B721-E45C274C82EA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706" name="Freeform 1158">
                            <a:extLst>
                              <a:ext uri="{FF2B5EF4-FFF2-40B4-BE49-F238E27FC236}">
                                <a16:creationId xmlns:a16="http://schemas.microsoft.com/office/drawing/2014/main" id="{562E513F-43E4-4271-85A5-CDC4B7C0C003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701" name="Bild 2231">
                          <a:extLst>
                            <a:ext uri="{FF2B5EF4-FFF2-40B4-BE49-F238E27FC236}">
                              <a16:creationId xmlns:a16="http://schemas.microsoft.com/office/drawing/2014/main" id="{B25A8597-8C99-4A0F-A0C4-4057F178426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02" name="Bild 2232">
                          <a:extLst>
                            <a:ext uri="{FF2B5EF4-FFF2-40B4-BE49-F238E27FC236}">
                              <a16:creationId xmlns:a16="http://schemas.microsoft.com/office/drawing/2014/main" id="{DA7DE308-4003-4286-BD5D-6DA3232394C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03" name="Bild 2233">
                          <a:extLst>
                            <a:ext uri="{FF2B5EF4-FFF2-40B4-BE49-F238E27FC236}">
                              <a16:creationId xmlns:a16="http://schemas.microsoft.com/office/drawing/2014/main" id="{413A88A1-721D-4E71-A79B-8D0FEF85C97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685" name="Gruppieren 1621">
                      <a:extLst>
                        <a:ext uri="{FF2B5EF4-FFF2-40B4-BE49-F238E27FC236}">
                          <a16:creationId xmlns:a16="http://schemas.microsoft.com/office/drawing/2014/main" id="{E72C84AB-6767-4C26-92D4-84AFBC7FDE41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398" y="3455776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686" name="Gruppierung 2228">
                        <a:extLst>
                          <a:ext uri="{FF2B5EF4-FFF2-40B4-BE49-F238E27FC236}">
                            <a16:creationId xmlns:a16="http://schemas.microsoft.com/office/drawing/2014/main" id="{8B6E702F-B283-4D42-902B-FDFC4F4C309B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695" name="Rectangle 1175">
                          <a:extLst>
                            <a:ext uri="{FF2B5EF4-FFF2-40B4-BE49-F238E27FC236}">
                              <a16:creationId xmlns:a16="http://schemas.microsoft.com/office/drawing/2014/main" id="{237D1A12-B14D-45DB-88C5-4615175DE6C3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96" name="Rectangle 1166">
                          <a:extLst>
                            <a:ext uri="{FF2B5EF4-FFF2-40B4-BE49-F238E27FC236}">
                              <a16:creationId xmlns:a16="http://schemas.microsoft.com/office/drawing/2014/main" id="{7BD1252E-5B08-47F2-B97E-4C13ABC4CC63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97" name="Rectangle 599">
                          <a:extLst>
                            <a:ext uri="{FF2B5EF4-FFF2-40B4-BE49-F238E27FC236}">
                              <a16:creationId xmlns:a16="http://schemas.microsoft.com/office/drawing/2014/main" id="{43200895-B36C-4BFF-980E-93FD7608A1C2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687" name="Gruppierung 2229">
                        <a:extLst>
                          <a:ext uri="{FF2B5EF4-FFF2-40B4-BE49-F238E27FC236}">
                            <a16:creationId xmlns:a16="http://schemas.microsoft.com/office/drawing/2014/main" id="{EE79020A-E5AF-411E-953A-485BD049DBD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688" name="Gruppierung 2230">
                          <a:extLst>
                            <a:ext uri="{FF2B5EF4-FFF2-40B4-BE49-F238E27FC236}">
                              <a16:creationId xmlns:a16="http://schemas.microsoft.com/office/drawing/2014/main" id="{D6196717-3840-4E99-B89C-8DDF15B6F5CA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692" name="Rectangle 1156">
                            <a:extLst>
                              <a:ext uri="{FF2B5EF4-FFF2-40B4-BE49-F238E27FC236}">
                                <a16:creationId xmlns:a16="http://schemas.microsoft.com/office/drawing/2014/main" id="{123C24E0-A705-4BF6-AD94-3B24F8D59C8A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693" name="Rectangle 1157">
                            <a:extLst>
                              <a:ext uri="{FF2B5EF4-FFF2-40B4-BE49-F238E27FC236}">
                                <a16:creationId xmlns:a16="http://schemas.microsoft.com/office/drawing/2014/main" id="{352664EB-267F-4E48-B0CC-DA65F0906C51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694" name="Freeform 1158">
                            <a:extLst>
                              <a:ext uri="{FF2B5EF4-FFF2-40B4-BE49-F238E27FC236}">
                                <a16:creationId xmlns:a16="http://schemas.microsoft.com/office/drawing/2014/main" id="{458E3242-1B29-4495-9459-EAB30AC7C044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689" name="Bild 2231">
                          <a:extLst>
                            <a:ext uri="{FF2B5EF4-FFF2-40B4-BE49-F238E27FC236}">
                              <a16:creationId xmlns:a16="http://schemas.microsoft.com/office/drawing/2014/main" id="{7B799E5D-F9D0-4547-96B8-8E877C1B89D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690" name="Bild 2232">
                          <a:extLst>
                            <a:ext uri="{FF2B5EF4-FFF2-40B4-BE49-F238E27FC236}">
                              <a16:creationId xmlns:a16="http://schemas.microsoft.com/office/drawing/2014/main" id="{6C7E4F6F-58B2-41AF-827C-3922C351DB0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691" name="Bild 2233">
                          <a:extLst>
                            <a:ext uri="{FF2B5EF4-FFF2-40B4-BE49-F238E27FC236}">
                              <a16:creationId xmlns:a16="http://schemas.microsoft.com/office/drawing/2014/main" id="{0970D2AC-73AF-4DD0-A095-C8911ED0AA7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184" name="Gruppieren 1381">
                    <a:extLst>
                      <a:ext uri="{FF2B5EF4-FFF2-40B4-BE49-F238E27FC236}">
                        <a16:creationId xmlns:a16="http://schemas.microsoft.com/office/drawing/2014/main" id="{37655233-10B3-40C7-AD11-31C4A54DAF6E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327803" y="2180446"/>
                    <a:ext cx="598410" cy="1867764"/>
                    <a:chOff x="5102309" y="2180446"/>
                    <a:chExt cx="598410" cy="1867764"/>
                  </a:xfrm>
                </p:grpSpPr>
                <p:grpSp>
                  <p:nvGrpSpPr>
                    <p:cNvPr id="602" name="Gruppieren 1538">
                      <a:extLst>
                        <a:ext uri="{FF2B5EF4-FFF2-40B4-BE49-F238E27FC236}">
                          <a16:creationId xmlns:a16="http://schemas.microsoft.com/office/drawing/2014/main" id="{7F863842-3625-4E5A-A130-51E9313E0A30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428" y="2822990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657" name="Gruppieren 1593">
                        <a:extLst>
                          <a:ext uri="{FF2B5EF4-FFF2-40B4-BE49-F238E27FC236}">
                            <a16:creationId xmlns:a16="http://schemas.microsoft.com/office/drawing/2014/main" id="{E60A0F47-0D65-4471-9773-F959B364F16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680" name="Rectangle 998">
                          <a:extLst>
                            <a:ext uri="{FF2B5EF4-FFF2-40B4-BE49-F238E27FC236}">
                              <a16:creationId xmlns:a16="http://schemas.microsoft.com/office/drawing/2014/main" id="{4D1D15D2-8269-4101-82D8-F6D765108CE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81" name="Rectangle 965">
                          <a:extLst>
                            <a:ext uri="{FF2B5EF4-FFF2-40B4-BE49-F238E27FC236}">
                              <a16:creationId xmlns:a16="http://schemas.microsoft.com/office/drawing/2014/main" id="{359188E3-1B25-4220-A276-9D5BEF4AA47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82" name="Rectangle 1166">
                          <a:extLst>
                            <a:ext uri="{FF2B5EF4-FFF2-40B4-BE49-F238E27FC236}">
                              <a16:creationId xmlns:a16="http://schemas.microsoft.com/office/drawing/2014/main" id="{C0F3C991-4187-42E7-A2B4-D9806F8527E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658" name="Gruppieren 1594">
                        <a:extLst>
                          <a:ext uri="{FF2B5EF4-FFF2-40B4-BE49-F238E27FC236}">
                            <a16:creationId xmlns:a16="http://schemas.microsoft.com/office/drawing/2014/main" id="{416C6AB4-7A0D-4C9E-8776-D2715E9BCB88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659" name="Gruppieren 1595">
                          <a:extLst>
                            <a:ext uri="{FF2B5EF4-FFF2-40B4-BE49-F238E27FC236}">
                              <a16:creationId xmlns:a16="http://schemas.microsoft.com/office/drawing/2014/main" id="{72C1B8A1-EB2B-47BB-BE5F-AAAA9E0D306A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671" name="Gruppieren 1607">
                            <a:extLst>
                              <a:ext uri="{FF2B5EF4-FFF2-40B4-BE49-F238E27FC236}">
                                <a16:creationId xmlns:a16="http://schemas.microsoft.com/office/drawing/2014/main" id="{59F0B8F5-350F-4D38-89A9-318F7585C6AC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677" name="Rectangle 1156">
                              <a:extLst>
                                <a:ext uri="{FF2B5EF4-FFF2-40B4-BE49-F238E27FC236}">
                                  <a16:creationId xmlns:a16="http://schemas.microsoft.com/office/drawing/2014/main" id="{57BCD932-DB88-4078-AC99-C1E49C37C34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78" name="Rectangle 1157">
                              <a:extLst>
                                <a:ext uri="{FF2B5EF4-FFF2-40B4-BE49-F238E27FC236}">
                                  <a16:creationId xmlns:a16="http://schemas.microsoft.com/office/drawing/2014/main" id="{7FC13D3F-3118-4F98-A20E-27156F3BB2B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5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79" name="Freeform 1158">
                              <a:extLst>
                                <a:ext uri="{FF2B5EF4-FFF2-40B4-BE49-F238E27FC236}">
                                  <a16:creationId xmlns:a16="http://schemas.microsoft.com/office/drawing/2014/main" id="{4F5955B8-49BB-43B9-BCD5-A777796C4C68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672" name="Gruppieren 1608">
                            <a:extLst>
                              <a:ext uri="{FF2B5EF4-FFF2-40B4-BE49-F238E27FC236}">
                                <a16:creationId xmlns:a16="http://schemas.microsoft.com/office/drawing/2014/main" id="{F2F2970E-F09B-483C-B1EF-FA256EC851ED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673" name="Gruppieren 1609">
                              <a:extLst>
                                <a:ext uri="{FF2B5EF4-FFF2-40B4-BE49-F238E27FC236}">
                                  <a16:creationId xmlns:a16="http://schemas.microsoft.com/office/drawing/2014/main" id="{7BC748F8-4207-4D37-9D69-874232D4D27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675" name="Grafik 1611" descr="Waschbecken">
                                <a:extLst>
                                  <a:ext uri="{FF2B5EF4-FFF2-40B4-BE49-F238E27FC236}">
                                    <a16:creationId xmlns:a16="http://schemas.microsoft.com/office/drawing/2014/main" id="{F36759E6-0199-46CF-AC14-91196E1A0E01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52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53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676" name="Rechteck 1612">
                                <a:extLst>
                                  <a:ext uri="{FF2B5EF4-FFF2-40B4-BE49-F238E27FC236}">
                                    <a16:creationId xmlns:a16="http://schemas.microsoft.com/office/drawing/2014/main" id="{56FE3B89-33D8-48EB-B62B-9FE79CDC860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674" name="Rechteck 1610">
                              <a:extLst>
                                <a:ext uri="{FF2B5EF4-FFF2-40B4-BE49-F238E27FC236}">
                                  <a16:creationId xmlns:a16="http://schemas.microsoft.com/office/drawing/2014/main" id="{CD3F29E7-0689-45AE-BE72-3744D0E91264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660" name="Gruppieren 1596">
                          <a:extLst>
                            <a:ext uri="{FF2B5EF4-FFF2-40B4-BE49-F238E27FC236}">
                              <a16:creationId xmlns:a16="http://schemas.microsoft.com/office/drawing/2014/main" id="{A599B3C9-8649-4B1B-B49F-7714EDE061EB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661" name="Gruppieren 1597">
                            <a:extLst>
                              <a:ext uri="{FF2B5EF4-FFF2-40B4-BE49-F238E27FC236}">
                                <a16:creationId xmlns:a16="http://schemas.microsoft.com/office/drawing/2014/main" id="{C1A9812D-1E64-4802-87B2-DA4E9274951C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669" name="Grafik 1605" descr="Handtuch">
                              <a:extLst>
                                <a:ext uri="{FF2B5EF4-FFF2-40B4-BE49-F238E27FC236}">
                                  <a16:creationId xmlns:a16="http://schemas.microsoft.com/office/drawing/2014/main" id="{90396B8D-08DC-48C1-83FC-44E35356006E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4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5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670" name="Grafik 1606" descr="Handtuch">
                              <a:extLst>
                                <a:ext uri="{FF2B5EF4-FFF2-40B4-BE49-F238E27FC236}">
                                  <a16:creationId xmlns:a16="http://schemas.microsoft.com/office/drawing/2014/main" id="{D6F9C6A7-E736-47C9-853D-99B43A19DF10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6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7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662" name="Gruppieren 1598">
                            <a:extLst>
                              <a:ext uri="{FF2B5EF4-FFF2-40B4-BE49-F238E27FC236}">
                                <a16:creationId xmlns:a16="http://schemas.microsoft.com/office/drawing/2014/main" id="{B2C8C62E-F2F9-4784-9251-F7DE911E7548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667" name="Grafik 1603" descr="Dusche">
                              <a:extLst>
                                <a:ext uri="{FF2B5EF4-FFF2-40B4-BE49-F238E27FC236}">
                                  <a16:creationId xmlns:a16="http://schemas.microsoft.com/office/drawing/2014/main" id="{B93729F9-B961-4696-BC3A-80C932DEEC9A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8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9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68" name="Rechteck 1604">
                              <a:extLst>
                                <a:ext uri="{FF2B5EF4-FFF2-40B4-BE49-F238E27FC236}">
                                  <a16:creationId xmlns:a16="http://schemas.microsoft.com/office/drawing/2014/main" id="{719C000F-2653-4825-9F4D-2B36474FDF54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663" name="Rechteck 1599">
                            <a:extLst>
                              <a:ext uri="{FF2B5EF4-FFF2-40B4-BE49-F238E27FC236}">
                                <a16:creationId xmlns:a16="http://schemas.microsoft.com/office/drawing/2014/main" id="{62C8A2E6-5D52-47DD-8911-0EF9999E21B4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664" name="Gruppieren 1600">
                            <a:extLst>
                              <a:ext uri="{FF2B5EF4-FFF2-40B4-BE49-F238E27FC236}">
                                <a16:creationId xmlns:a16="http://schemas.microsoft.com/office/drawing/2014/main" id="{AC5EDD23-D4A6-45F5-AD8F-AB64152653A1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665" name="Grafik 1601" descr="Gummiente">
                              <a:extLst>
                                <a:ext uri="{FF2B5EF4-FFF2-40B4-BE49-F238E27FC236}">
                                  <a16:creationId xmlns:a16="http://schemas.microsoft.com/office/drawing/2014/main" id="{7CDDECC8-2305-464B-ABED-00CCEBE24BF5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60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61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66" name="Ellipse 1602">
                              <a:extLst>
                                <a:ext uri="{FF2B5EF4-FFF2-40B4-BE49-F238E27FC236}">
                                  <a16:creationId xmlns:a16="http://schemas.microsoft.com/office/drawing/2014/main" id="{7C4CCDA8-CB05-486A-A873-ADE57B9C38EF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grpSp>
                  <p:nvGrpSpPr>
                    <p:cNvPr id="603" name="Gruppieren 1539">
                      <a:extLst>
                        <a:ext uri="{FF2B5EF4-FFF2-40B4-BE49-F238E27FC236}">
                          <a16:creationId xmlns:a16="http://schemas.microsoft.com/office/drawing/2014/main" id="{B36B7885-4498-4E61-8553-13C98D046B61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428" y="2180446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631" name="Gruppieren 1567">
                        <a:extLst>
                          <a:ext uri="{FF2B5EF4-FFF2-40B4-BE49-F238E27FC236}">
                            <a16:creationId xmlns:a16="http://schemas.microsoft.com/office/drawing/2014/main" id="{FFE0E9FB-7D37-4B0E-841D-902B5AF83FA4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654" name="Rectangle 998">
                          <a:extLst>
                            <a:ext uri="{FF2B5EF4-FFF2-40B4-BE49-F238E27FC236}">
                              <a16:creationId xmlns:a16="http://schemas.microsoft.com/office/drawing/2014/main" id="{0D695DBB-F8FF-47F2-BE2F-53E2778FBB7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55" name="Rectangle 965">
                          <a:extLst>
                            <a:ext uri="{FF2B5EF4-FFF2-40B4-BE49-F238E27FC236}">
                              <a16:creationId xmlns:a16="http://schemas.microsoft.com/office/drawing/2014/main" id="{6E6A0126-4D48-4837-90AC-52E1EE37E6E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56" name="Rectangle 1166">
                          <a:extLst>
                            <a:ext uri="{FF2B5EF4-FFF2-40B4-BE49-F238E27FC236}">
                              <a16:creationId xmlns:a16="http://schemas.microsoft.com/office/drawing/2014/main" id="{B4CAAECA-5822-4410-9016-8343ACC417E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632" name="Gruppieren 1568">
                        <a:extLst>
                          <a:ext uri="{FF2B5EF4-FFF2-40B4-BE49-F238E27FC236}">
                            <a16:creationId xmlns:a16="http://schemas.microsoft.com/office/drawing/2014/main" id="{2938724C-B4C3-4859-968C-3729A8B00BC3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633" name="Gruppieren 1569">
                          <a:extLst>
                            <a:ext uri="{FF2B5EF4-FFF2-40B4-BE49-F238E27FC236}">
                              <a16:creationId xmlns:a16="http://schemas.microsoft.com/office/drawing/2014/main" id="{8D81043C-F0F6-43BD-9527-E7C21FD5F5C0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645" name="Gruppieren 1581">
                            <a:extLst>
                              <a:ext uri="{FF2B5EF4-FFF2-40B4-BE49-F238E27FC236}">
                                <a16:creationId xmlns:a16="http://schemas.microsoft.com/office/drawing/2014/main" id="{2CA32448-F6A9-4C3E-B1BD-847D3CDF067F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651" name="Rectangle 1156">
                              <a:extLst>
                                <a:ext uri="{FF2B5EF4-FFF2-40B4-BE49-F238E27FC236}">
                                  <a16:creationId xmlns:a16="http://schemas.microsoft.com/office/drawing/2014/main" id="{2E4D8F75-22F3-41F1-8F74-B427B7F8CA0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52" name="Rectangle 1157">
                              <a:extLst>
                                <a:ext uri="{FF2B5EF4-FFF2-40B4-BE49-F238E27FC236}">
                                  <a16:creationId xmlns:a16="http://schemas.microsoft.com/office/drawing/2014/main" id="{FC60D45E-A2A2-4EA3-8EBF-2167C56410A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2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53" name="Freeform 1158">
                              <a:extLst>
                                <a:ext uri="{FF2B5EF4-FFF2-40B4-BE49-F238E27FC236}">
                                  <a16:creationId xmlns:a16="http://schemas.microsoft.com/office/drawing/2014/main" id="{19831967-3C8E-4707-B52F-B4F78AF067FF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646" name="Gruppieren 1582">
                            <a:extLst>
                              <a:ext uri="{FF2B5EF4-FFF2-40B4-BE49-F238E27FC236}">
                                <a16:creationId xmlns:a16="http://schemas.microsoft.com/office/drawing/2014/main" id="{91CCED00-1B62-4091-9E89-9B32EA9CFF5B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647" name="Gruppieren 1583">
                              <a:extLst>
                                <a:ext uri="{FF2B5EF4-FFF2-40B4-BE49-F238E27FC236}">
                                  <a16:creationId xmlns:a16="http://schemas.microsoft.com/office/drawing/2014/main" id="{903CB35C-7C01-4BFD-9465-435AE91552B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649" name="Grafik 1585" descr="Waschbecken">
                                <a:extLst>
                                  <a:ext uri="{FF2B5EF4-FFF2-40B4-BE49-F238E27FC236}">
                                    <a16:creationId xmlns:a16="http://schemas.microsoft.com/office/drawing/2014/main" id="{5D094720-5F7A-4D76-B97E-654E0AD484A3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52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53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650" name="Rechteck 1586">
                                <a:extLst>
                                  <a:ext uri="{FF2B5EF4-FFF2-40B4-BE49-F238E27FC236}">
                                    <a16:creationId xmlns:a16="http://schemas.microsoft.com/office/drawing/2014/main" id="{AC76F619-ECF3-4FEC-8B59-E25F5507BE4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648" name="Rechteck 1584">
                              <a:extLst>
                                <a:ext uri="{FF2B5EF4-FFF2-40B4-BE49-F238E27FC236}">
                                  <a16:creationId xmlns:a16="http://schemas.microsoft.com/office/drawing/2014/main" id="{D7A70860-D06A-4C7A-80EB-F211EE9A9294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634" name="Gruppieren 1570">
                          <a:extLst>
                            <a:ext uri="{FF2B5EF4-FFF2-40B4-BE49-F238E27FC236}">
                              <a16:creationId xmlns:a16="http://schemas.microsoft.com/office/drawing/2014/main" id="{EB2BBA25-E11D-43FE-8584-83F5A24B7EA0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635" name="Gruppieren 1571">
                            <a:extLst>
                              <a:ext uri="{FF2B5EF4-FFF2-40B4-BE49-F238E27FC236}">
                                <a16:creationId xmlns:a16="http://schemas.microsoft.com/office/drawing/2014/main" id="{2A7388F4-1528-45D2-A1BB-70F9626A67A9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643" name="Grafik 1579" descr="Handtuch">
                              <a:extLst>
                                <a:ext uri="{FF2B5EF4-FFF2-40B4-BE49-F238E27FC236}">
                                  <a16:creationId xmlns:a16="http://schemas.microsoft.com/office/drawing/2014/main" id="{1CD154D6-7F62-4857-8283-3652347F8EF8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4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5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644" name="Grafik 1580" descr="Handtuch">
                              <a:extLst>
                                <a:ext uri="{FF2B5EF4-FFF2-40B4-BE49-F238E27FC236}">
                                  <a16:creationId xmlns:a16="http://schemas.microsoft.com/office/drawing/2014/main" id="{153A9F46-D71D-456E-965D-14F955D0ABD6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6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7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636" name="Gruppieren 1572">
                            <a:extLst>
                              <a:ext uri="{FF2B5EF4-FFF2-40B4-BE49-F238E27FC236}">
                                <a16:creationId xmlns:a16="http://schemas.microsoft.com/office/drawing/2014/main" id="{3BC0A4B7-68FF-4165-92D8-143B74988A41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641" name="Grafik 1577" descr="Dusche">
                              <a:extLst>
                                <a:ext uri="{FF2B5EF4-FFF2-40B4-BE49-F238E27FC236}">
                                  <a16:creationId xmlns:a16="http://schemas.microsoft.com/office/drawing/2014/main" id="{A0E8A318-1619-42CD-BBE4-C6F2F26D1619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8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9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42" name="Rechteck 1578">
                              <a:extLst>
                                <a:ext uri="{FF2B5EF4-FFF2-40B4-BE49-F238E27FC236}">
                                  <a16:creationId xmlns:a16="http://schemas.microsoft.com/office/drawing/2014/main" id="{A328BE66-56FA-4645-B285-B03232FB1572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637" name="Rechteck 1573">
                            <a:extLst>
                              <a:ext uri="{FF2B5EF4-FFF2-40B4-BE49-F238E27FC236}">
                                <a16:creationId xmlns:a16="http://schemas.microsoft.com/office/drawing/2014/main" id="{254FAC65-A6AD-4C6B-8C6F-A0B2EA7A41DD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638" name="Gruppieren 1574">
                            <a:extLst>
                              <a:ext uri="{FF2B5EF4-FFF2-40B4-BE49-F238E27FC236}">
                                <a16:creationId xmlns:a16="http://schemas.microsoft.com/office/drawing/2014/main" id="{87D3092C-FC4F-4D37-955B-432738CC46FD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639" name="Grafik 1575" descr="Gummiente">
                              <a:extLst>
                                <a:ext uri="{FF2B5EF4-FFF2-40B4-BE49-F238E27FC236}">
                                  <a16:creationId xmlns:a16="http://schemas.microsoft.com/office/drawing/2014/main" id="{ABFFCE68-5481-4218-BDED-A93DC16F5A17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60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61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40" name="Ellipse 1576">
                              <a:extLst>
                                <a:ext uri="{FF2B5EF4-FFF2-40B4-BE49-F238E27FC236}">
                                  <a16:creationId xmlns:a16="http://schemas.microsoft.com/office/drawing/2014/main" id="{98993763-C16B-4A74-B552-47E76FEB7548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grpSp>
                  <p:nvGrpSpPr>
                    <p:cNvPr id="604" name="Gruppieren 1540">
                      <a:extLst>
                        <a:ext uri="{FF2B5EF4-FFF2-40B4-BE49-F238E27FC236}">
                          <a16:creationId xmlns:a16="http://schemas.microsoft.com/office/drawing/2014/main" id="{F110BF4D-D2A2-4CCE-89D5-F916182EBF5B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309" y="3456345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605" name="Gruppieren 1541">
                        <a:extLst>
                          <a:ext uri="{FF2B5EF4-FFF2-40B4-BE49-F238E27FC236}">
                            <a16:creationId xmlns:a16="http://schemas.microsoft.com/office/drawing/2014/main" id="{1C9571EE-54A9-483E-940F-C17EF3F88F22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628" name="Rectangle 998">
                          <a:extLst>
                            <a:ext uri="{FF2B5EF4-FFF2-40B4-BE49-F238E27FC236}">
                              <a16:creationId xmlns:a16="http://schemas.microsoft.com/office/drawing/2014/main" id="{224715FA-037F-498F-B039-E677822E8FD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29" name="Rectangle 965">
                          <a:extLst>
                            <a:ext uri="{FF2B5EF4-FFF2-40B4-BE49-F238E27FC236}">
                              <a16:creationId xmlns:a16="http://schemas.microsoft.com/office/drawing/2014/main" id="{66631FD9-7B17-44EF-94CA-8E0443D0528F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30" name="Rectangle 1166">
                          <a:extLst>
                            <a:ext uri="{FF2B5EF4-FFF2-40B4-BE49-F238E27FC236}">
                              <a16:creationId xmlns:a16="http://schemas.microsoft.com/office/drawing/2014/main" id="{9981CB70-6CAC-4080-A5D8-3B586571702A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606" name="Gruppieren 1542">
                        <a:extLst>
                          <a:ext uri="{FF2B5EF4-FFF2-40B4-BE49-F238E27FC236}">
                            <a16:creationId xmlns:a16="http://schemas.microsoft.com/office/drawing/2014/main" id="{B98DA8B1-A130-4346-9FE6-D18CC7B592D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607" name="Gruppieren 1543">
                          <a:extLst>
                            <a:ext uri="{FF2B5EF4-FFF2-40B4-BE49-F238E27FC236}">
                              <a16:creationId xmlns:a16="http://schemas.microsoft.com/office/drawing/2014/main" id="{2480AD89-CCB6-4C97-9B98-AB5F6F820F3D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619" name="Gruppieren 1555">
                            <a:extLst>
                              <a:ext uri="{FF2B5EF4-FFF2-40B4-BE49-F238E27FC236}">
                                <a16:creationId xmlns:a16="http://schemas.microsoft.com/office/drawing/2014/main" id="{F4CF7D75-052D-4F2C-97F4-B3FD05FEB754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625" name="Rectangle 1156">
                              <a:extLst>
                                <a:ext uri="{FF2B5EF4-FFF2-40B4-BE49-F238E27FC236}">
                                  <a16:creationId xmlns:a16="http://schemas.microsoft.com/office/drawing/2014/main" id="{6982A40D-9628-4B88-9114-B25CA23D336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26" name="Rectangle 1157">
                              <a:extLst>
                                <a:ext uri="{FF2B5EF4-FFF2-40B4-BE49-F238E27FC236}">
                                  <a16:creationId xmlns:a16="http://schemas.microsoft.com/office/drawing/2014/main" id="{94BC88AC-35EB-417A-AFBD-F2ECF7BFA55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5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627" name="Freeform 1158">
                              <a:extLst>
                                <a:ext uri="{FF2B5EF4-FFF2-40B4-BE49-F238E27FC236}">
                                  <a16:creationId xmlns:a16="http://schemas.microsoft.com/office/drawing/2014/main" id="{FA0B4308-1FC9-4CB5-BA1F-706DA8971673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620" name="Gruppieren 1556">
                            <a:extLst>
                              <a:ext uri="{FF2B5EF4-FFF2-40B4-BE49-F238E27FC236}">
                                <a16:creationId xmlns:a16="http://schemas.microsoft.com/office/drawing/2014/main" id="{9D4928ED-30A0-4849-B92F-A6C48D911D45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621" name="Gruppieren 1557">
                              <a:extLst>
                                <a:ext uri="{FF2B5EF4-FFF2-40B4-BE49-F238E27FC236}">
                                  <a16:creationId xmlns:a16="http://schemas.microsoft.com/office/drawing/2014/main" id="{046B7442-3414-44D7-AC28-6E7CFB9DBEE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623" name="Grafik 1559" descr="Waschbecken">
                                <a:extLst>
                                  <a:ext uri="{FF2B5EF4-FFF2-40B4-BE49-F238E27FC236}">
                                    <a16:creationId xmlns:a16="http://schemas.microsoft.com/office/drawing/2014/main" id="{A73B03D0-452C-41FB-B52B-613FA68D5D92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52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53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624" name="Rechteck 1560">
                                <a:extLst>
                                  <a:ext uri="{FF2B5EF4-FFF2-40B4-BE49-F238E27FC236}">
                                    <a16:creationId xmlns:a16="http://schemas.microsoft.com/office/drawing/2014/main" id="{8788CFBD-C035-4596-A6A5-3B77EC15E6DF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622" name="Rechteck 1558">
                              <a:extLst>
                                <a:ext uri="{FF2B5EF4-FFF2-40B4-BE49-F238E27FC236}">
                                  <a16:creationId xmlns:a16="http://schemas.microsoft.com/office/drawing/2014/main" id="{1B5452C4-7D8C-457A-8838-4C1E952234DD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608" name="Gruppieren 1544">
                          <a:extLst>
                            <a:ext uri="{FF2B5EF4-FFF2-40B4-BE49-F238E27FC236}">
                              <a16:creationId xmlns:a16="http://schemas.microsoft.com/office/drawing/2014/main" id="{792E18ED-00E4-4BBA-AF5A-50F87B83B93C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609" name="Gruppieren 1545">
                            <a:extLst>
                              <a:ext uri="{FF2B5EF4-FFF2-40B4-BE49-F238E27FC236}">
                                <a16:creationId xmlns:a16="http://schemas.microsoft.com/office/drawing/2014/main" id="{0C6A6B5B-73A4-464E-8545-5C2C6BB43C55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617" name="Grafik 1553" descr="Handtuch">
                              <a:extLst>
                                <a:ext uri="{FF2B5EF4-FFF2-40B4-BE49-F238E27FC236}">
                                  <a16:creationId xmlns:a16="http://schemas.microsoft.com/office/drawing/2014/main" id="{A148C2C9-570D-4693-A944-4A0422DA940C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4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5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618" name="Grafik 1554" descr="Handtuch">
                              <a:extLst>
                                <a:ext uri="{FF2B5EF4-FFF2-40B4-BE49-F238E27FC236}">
                                  <a16:creationId xmlns:a16="http://schemas.microsoft.com/office/drawing/2014/main" id="{D369B26C-29B8-4617-A76B-025BFCBDAC4B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6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7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610" name="Gruppieren 1546">
                            <a:extLst>
                              <a:ext uri="{FF2B5EF4-FFF2-40B4-BE49-F238E27FC236}">
                                <a16:creationId xmlns:a16="http://schemas.microsoft.com/office/drawing/2014/main" id="{7C6690E4-36C3-44E0-8C5E-2AC3F522A045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615" name="Grafik 1551" descr="Dusche">
                              <a:extLst>
                                <a:ext uri="{FF2B5EF4-FFF2-40B4-BE49-F238E27FC236}">
                                  <a16:creationId xmlns:a16="http://schemas.microsoft.com/office/drawing/2014/main" id="{0DE9C807-2F33-479B-9E67-1D1303107B57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8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59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16" name="Rechteck 1552">
                              <a:extLst>
                                <a:ext uri="{FF2B5EF4-FFF2-40B4-BE49-F238E27FC236}">
                                  <a16:creationId xmlns:a16="http://schemas.microsoft.com/office/drawing/2014/main" id="{2FA3ABE1-A354-4FF9-A0DF-79870319D56E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611" name="Rechteck 1547">
                            <a:extLst>
                              <a:ext uri="{FF2B5EF4-FFF2-40B4-BE49-F238E27FC236}">
                                <a16:creationId xmlns:a16="http://schemas.microsoft.com/office/drawing/2014/main" id="{9DACF122-E198-4F60-86DC-AA79CCCDF25F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612" name="Gruppieren 1548">
                            <a:extLst>
                              <a:ext uri="{FF2B5EF4-FFF2-40B4-BE49-F238E27FC236}">
                                <a16:creationId xmlns:a16="http://schemas.microsoft.com/office/drawing/2014/main" id="{776F78C9-D4D3-47BF-B8BE-E86DAFF4F666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613" name="Grafik 1549" descr="Gummiente">
                              <a:extLst>
                                <a:ext uri="{FF2B5EF4-FFF2-40B4-BE49-F238E27FC236}">
                                  <a16:creationId xmlns:a16="http://schemas.microsoft.com/office/drawing/2014/main" id="{C0D9ADDA-7562-49A6-AC6F-5CBF8FDB8B65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60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61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614" name="Ellipse 1550">
                              <a:extLst>
                                <a:ext uri="{FF2B5EF4-FFF2-40B4-BE49-F238E27FC236}">
                                  <a16:creationId xmlns:a16="http://schemas.microsoft.com/office/drawing/2014/main" id="{C393DAA1-32B2-4ABD-B20C-4842634A0A8F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</p:grpSp>
              <p:grpSp>
                <p:nvGrpSpPr>
                  <p:cNvPr id="185" name="Gruppieren 1382">
                    <a:extLst>
                      <a:ext uri="{FF2B5EF4-FFF2-40B4-BE49-F238E27FC236}">
                        <a16:creationId xmlns:a16="http://schemas.microsoft.com/office/drawing/2014/main" id="{5F4901EA-85AD-49B8-9A77-73CFFE0ED619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164010" y="2178889"/>
                    <a:ext cx="1105710" cy="1868361"/>
                    <a:chOff x="1938516" y="2178889"/>
                    <a:chExt cx="1105710" cy="1868361"/>
                  </a:xfrm>
                </p:grpSpPr>
                <p:grpSp>
                  <p:nvGrpSpPr>
                    <p:cNvPr id="570" name="Gruppieren 1506">
                      <a:extLst>
                        <a:ext uri="{FF2B5EF4-FFF2-40B4-BE49-F238E27FC236}">
                          <a16:creationId xmlns:a16="http://schemas.microsoft.com/office/drawing/2014/main" id="{BF1EEC93-053D-4E8B-BF5C-9D3CD9D11FA7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8516" y="3456836"/>
                      <a:ext cx="1105200" cy="590414"/>
                      <a:chOff x="1933200" y="3532651"/>
                      <a:chExt cx="1105200" cy="590414"/>
                    </a:xfrm>
                  </p:grpSpPr>
                  <p:grpSp>
                    <p:nvGrpSpPr>
                      <p:cNvPr id="592" name="Gruppieren 1528">
                        <a:extLst>
                          <a:ext uri="{FF2B5EF4-FFF2-40B4-BE49-F238E27FC236}">
                            <a16:creationId xmlns:a16="http://schemas.microsoft.com/office/drawing/2014/main" id="{C7316A1B-4028-4218-A783-480A4C2B930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3200" y="3532651"/>
                        <a:ext cx="1105200" cy="590414"/>
                        <a:chOff x="1933200" y="3532651"/>
                        <a:chExt cx="1105200" cy="590414"/>
                      </a:xfrm>
                    </p:grpSpPr>
                    <p:sp>
                      <p:nvSpPr>
                        <p:cNvPr id="599" name="Rectangle 744">
                          <a:extLst>
                            <a:ext uri="{FF2B5EF4-FFF2-40B4-BE49-F238E27FC236}">
                              <a16:creationId xmlns:a16="http://schemas.microsoft.com/office/drawing/2014/main" id="{D974A110-A5FA-4D24-BE27-57AFE5B44D8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71688"/>
                          <a:ext cx="1105200" cy="526397"/>
                        </a:xfrm>
                        <a:prstGeom prst="rect">
                          <a:avLst/>
                        </a:prstGeom>
                        <a:solidFill>
                          <a:srgbClr val="99C57D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00" name="Rectangle 746">
                          <a:extLst>
                            <a:ext uri="{FF2B5EF4-FFF2-40B4-BE49-F238E27FC236}">
                              <a16:creationId xmlns:a16="http://schemas.microsoft.com/office/drawing/2014/main" id="{B4EC8AB1-8879-4A5B-8A17-5F2FB523332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32651"/>
                          <a:ext cx="1105200" cy="46062"/>
                        </a:xfrm>
                        <a:prstGeom prst="rect">
                          <a:avLst/>
                        </a:prstGeom>
                        <a:solidFill>
                          <a:srgbClr val="5D7A5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601" name="Rectangle 747">
                          <a:extLst>
                            <a:ext uri="{FF2B5EF4-FFF2-40B4-BE49-F238E27FC236}">
                              <a16:creationId xmlns:a16="http://schemas.microsoft.com/office/drawing/2014/main" id="{E7B5B32B-486E-4DAC-AA1C-A9F17925598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4094758"/>
                          <a:ext cx="1105200" cy="28307"/>
                        </a:xfrm>
                        <a:prstGeom prst="rect">
                          <a:avLst/>
                        </a:prstGeom>
                        <a:solidFill>
                          <a:srgbClr val="4D633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593" name="Gruppieren 1529">
                        <a:extLst>
                          <a:ext uri="{FF2B5EF4-FFF2-40B4-BE49-F238E27FC236}">
                            <a16:creationId xmlns:a16="http://schemas.microsoft.com/office/drawing/2014/main" id="{87C00E4B-BCD2-46B7-99B0-15823376B1E4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3892" y="3694713"/>
                        <a:ext cx="1049573" cy="40104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594" name="Bild 35">
                          <a:extLst>
                            <a:ext uri="{FF2B5EF4-FFF2-40B4-BE49-F238E27FC236}">
                              <a16:creationId xmlns:a16="http://schemas.microsoft.com/office/drawing/2014/main" id="{A20A92E3-0BCF-4DB0-B462-339D9B43F2C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95" name="Bild 37">
                          <a:extLst>
                            <a:ext uri="{FF2B5EF4-FFF2-40B4-BE49-F238E27FC236}">
                              <a16:creationId xmlns:a16="http://schemas.microsoft.com/office/drawing/2014/main" id="{075C35A8-D614-4311-AEFB-E3D186772CF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96" name="Bild 38">
                          <a:extLst>
                            <a:ext uri="{FF2B5EF4-FFF2-40B4-BE49-F238E27FC236}">
                              <a16:creationId xmlns:a16="http://schemas.microsoft.com/office/drawing/2014/main" id="{B29A994B-AB3E-414C-A72E-BD5D99773A0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97" name="Bild 41">
                          <a:extLst>
                            <a:ext uri="{FF2B5EF4-FFF2-40B4-BE49-F238E27FC236}">
                              <a16:creationId xmlns:a16="http://schemas.microsoft.com/office/drawing/2014/main" id="{B77F7C6C-FB81-481C-8D85-A550C43B24F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98" name="Bild 2175">
                          <a:extLst>
                            <a:ext uri="{FF2B5EF4-FFF2-40B4-BE49-F238E27FC236}">
                              <a16:creationId xmlns:a16="http://schemas.microsoft.com/office/drawing/2014/main" id="{470DAB33-A199-4F10-A95B-46E2967736A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571" name="Gruppieren 1507">
                      <a:extLst>
                        <a:ext uri="{FF2B5EF4-FFF2-40B4-BE49-F238E27FC236}">
                          <a16:creationId xmlns:a16="http://schemas.microsoft.com/office/drawing/2014/main" id="{BD7CBA10-9205-4F4D-87E0-FA22909BA964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9026" y="2178889"/>
                      <a:ext cx="1105200" cy="590414"/>
                      <a:chOff x="1933200" y="3532651"/>
                      <a:chExt cx="1105200" cy="590414"/>
                    </a:xfrm>
                  </p:grpSpPr>
                  <p:grpSp>
                    <p:nvGrpSpPr>
                      <p:cNvPr id="582" name="Gruppieren 1518">
                        <a:extLst>
                          <a:ext uri="{FF2B5EF4-FFF2-40B4-BE49-F238E27FC236}">
                            <a16:creationId xmlns:a16="http://schemas.microsoft.com/office/drawing/2014/main" id="{E05252B5-5382-4CA4-A1BD-42F4C9E3DD6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3200" y="3532651"/>
                        <a:ext cx="1105200" cy="590414"/>
                        <a:chOff x="1933200" y="3532651"/>
                        <a:chExt cx="1105200" cy="590414"/>
                      </a:xfrm>
                    </p:grpSpPr>
                    <p:sp>
                      <p:nvSpPr>
                        <p:cNvPr id="589" name="Rectangle 744">
                          <a:extLst>
                            <a:ext uri="{FF2B5EF4-FFF2-40B4-BE49-F238E27FC236}">
                              <a16:creationId xmlns:a16="http://schemas.microsoft.com/office/drawing/2014/main" id="{CDCC1498-BC7B-4C7D-A67C-7FD0ED48238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71688"/>
                          <a:ext cx="1105200" cy="526397"/>
                        </a:xfrm>
                        <a:prstGeom prst="rect">
                          <a:avLst/>
                        </a:prstGeom>
                        <a:solidFill>
                          <a:srgbClr val="99C57D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90" name="Rectangle 746">
                          <a:extLst>
                            <a:ext uri="{FF2B5EF4-FFF2-40B4-BE49-F238E27FC236}">
                              <a16:creationId xmlns:a16="http://schemas.microsoft.com/office/drawing/2014/main" id="{99E19296-28AD-4432-9ABE-7ECB5B6C9757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32651"/>
                          <a:ext cx="1105200" cy="46062"/>
                        </a:xfrm>
                        <a:prstGeom prst="rect">
                          <a:avLst/>
                        </a:prstGeom>
                        <a:solidFill>
                          <a:srgbClr val="5D7A5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91" name="Rectangle 747">
                          <a:extLst>
                            <a:ext uri="{FF2B5EF4-FFF2-40B4-BE49-F238E27FC236}">
                              <a16:creationId xmlns:a16="http://schemas.microsoft.com/office/drawing/2014/main" id="{8BD630F5-5A10-462D-B23A-44331655F46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4094758"/>
                          <a:ext cx="1105200" cy="28307"/>
                        </a:xfrm>
                        <a:prstGeom prst="rect">
                          <a:avLst/>
                        </a:prstGeom>
                        <a:solidFill>
                          <a:srgbClr val="4D633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583" name="Gruppieren 1519">
                        <a:extLst>
                          <a:ext uri="{FF2B5EF4-FFF2-40B4-BE49-F238E27FC236}">
                            <a16:creationId xmlns:a16="http://schemas.microsoft.com/office/drawing/2014/main" id="{816D9FDF-FA9A-4136-B3AC-965B3A168F8C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3892" y="3694713"/>
                        <a:ext cx="1049573" cy="40104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584" name="Bild 35">
                          <a:extLst>
                            <a:ext uri="{FF2B5EF4-FFF2-40B4-BE49-F238E27FC236}">
                              <a16:creationId xmlns:a16="http://schemas.microsoft.com/office/drawing/2014/main" id="{0FBE68D3-0039-4228-A980-49AFB3B4861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5" name="Bild 37">
                          <a:extLst>
                            <a:ext uri="{FF2B5EF4-FFF2-40B4-BE49-F238E27FC236}">
                              <a16:creationId xmlns:a16="http://schemas.microsoft.com/office/drawing/2014/main" id="{CF4A220E-5170-4507-822A-85D4C9583CB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6" name="Bild 38">
                          <a:extLst>
                            <a:ext uri="{FF2B5EF4-FFF2-40B4-BE49-F238E27FC236}">
                              <a16:creationId xmlns:a16="http://schemas.microsoft.com/office/drawing/2014/main" id="{B15A83CE-9829-41F9-B6D8-C493403751D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7" name="Bild 41">
                          <a:extLst>
                            <a:ext uri="{FF2B5EF4-FFF2-40B4-BE49-F238E27FC236}">
                              <a16:creationId xmlns:a16="http://schemas.microsoft.com/office/drawing/2014/main" id="{0798B1EF-2F70-443F-89AC-28678D29202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8" name="Bild 2175">
                          <a:extLst>
                            <a:ext uri="{FF2B5EF4-FFF2-40B4-BE49-F238E27FC236}">
                              <a16:creationId xmlns:a16="http://schemas.microsoft.com/office/drawing/2014/main" id="{4D6D5E15-A0B2-4CB3-B8A4-BCD06C6EF756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572" name="Gruppieren 1508">
                      <a:extLst>
                        <a:ext uri="{FF2B5EF4-FFF2-40B4-BE49-F238E27FC236}">
                          <a16:creationId xmlns:a16="http://schemas.microsoft.com/office/drawing/2014/main" id="{EEC246C6-3A42-4711-850A-B2DD6132531F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9026" y="2820855"/>
                      <a:ext cx="1105200" cy="590400"/>
                      <a:chOff x="1933710" y="2898000"/>
                      <a:chExt cx="1105200" cy="590400"/>
                    </a:xfrm>
                  </p:grpSpPr>
                  <p:sp>
                    <p:nvSpPr>
                      <p:cNvPr id="573" name="Rectangle 747">
                        <a:extLst>
                          <a:ext uri="{FF2B5EF4-FFF2-40B4-BE49-F238E27FC236}">
                            <a16:creationId xmlns:a16="http://schemas.microsoft.com/office/drawing/2014/main" id="{220BFAC8-DBCF-45AE-9B2F-196E810EF769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3460094"/>
                        <a:ext cx="1105200" cy="28306"/>
                      </a:xfrm>
                      <a:prstGeom prst="rect">
                        <a:avLst/>
                      </a:prstGeom>
                      <a:solidFill>
                        <a:srgbClr val="4D633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74" name="Rectangle 744">
                        <a:extLst>
                          <a:ext uri="{FF2B5EF4-FFF2-40B4-BE49-F238E27FC236}">
                            <a16:creationId xmlns:a16="http://schemas.microsoft.com/office/drawing/2014/main" id="{8D22553A-62E1-479F-978F-230F93E5D02F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2937036"/>
                        <a:ext cx="1105200" cy="526385"/>
                      </a:xfrm>
                      <a:prstGeom prst="rect">
                        <a:avLst/>
                      </a:prstGeom>
                      <a:solidFill>
                        <a:srgbClr val="99C57D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75" name="Rectangle 746">
                        <a:extLst>
                          <a:ext uri="{FF2B5EF4-FFF2-40B4-BE49-F238E27FC236}">
                            <a16:creationId xmlns:a16="http://schemas.microsoft.com/office/drawing/2014/main" id="{748201FE-05CC-48B5-B29E-24A2DE3C2234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2898000"/>
                        <a:ext cx="1105200" cy="46061"/>
                      </a:xfrm>
                      <a:prstGeom prst="rect">
                        <a:avLst/>
                      </a:prstGeom>
                      <a:solidFill>
                        <a:srgbClr val="5D7A5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576" name="Gruppieren 1512">
                        <a:extLst>
                          <a:ext uri="{FF2B5EF4-FFF2-40B4-BE49-F238E27FC236}">
                            <a16:creationId xmlns:a16="http://schemas.microsoft.com/office/drawing/2014/main" id="{57E2F1CC-667B-4644-8634-D636102830B1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4402" y="3060058"/>
                        <a:ext cx="1049573" cy="40103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577" name="Bild 35">
                          <a:extLst>
                            <a:ext uri="{FF2B5EF4-FFF2-40B4-BE49-F238E27FC236}">
                              <a16:creationId xmlns:a16="http://schemas.microsoft.com/office/drawing/2014/main" id="{1D09B0B9-61B1-41A3-96BA-668B868B00F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78" name="Bild 37">
                          <a:extLst>
                            <a:ext uri="{FF2B5EF4-FFF2-40B4-BE49-F238E27FC236}">
                              <a16:creationId xmlns:a16="http://schemas.microsoft.com/office/drawing/2014/main" id="{11006924-A167-4B2B-B791-51CEFB81FB4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79" name="Bild 38">
                          <a:extLst>
                            <a:ext uri="{FF2B5EF4-FFF2-40B4-BE49-F238E27FC236}">
                              <a16:creationId xmlns:a16="http://schemas.microsoft.com/office/drawing/2014/main" id="{42C155AF-7324-4366-A33D-6351635142AB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0" name="Bild 41">
                          <a:extLst>
                            <a:ext uri="{FF2B5EF4-FFF2-40B4-BE49-F238E27FC236}">
                              <a16:creationId xmlns:a16="http://schemas.microsoft.com/office/drawing/2014/main" id="{7358D2AB-4C35-4346-BC0C-4B0DDA4138C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581" name="Bild 2175">
                          <a:extLst>
                            <a:ext uri="{FF2B5EF4-FFF2-40B4-BE49-F238E27FC236}">
                              <a16:creationId xmlns:a16="http://schemas.microsoft.com/office/drawing/2014/main" id="{B7D6BCC6-80D9-4903-AA98-8C3B4A59E99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186" name="Gruppieren 1492">
                    <a:extLst>
                      <a:ext uri="{FF2B5EF4-FFF2-40B4-BE49-F238E27FC236}">
                        <a16:creationId xmlns:a16="http://schemas.microsoft.com/office/drawing/2014/main" id="{0B4FF9F8-16C4-4240-A4A3-8F5D90327470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5869" y="4096743"/>
                    <a:ext cx="626401" cy="540000"/>
                    <a:chOff x="5745599" y="3570939"/>
                    <a:chExt cx="626401" cy="551652"/>
                  </a:xfrm>
                </p:grpSpPr>
                <p:sp>
                  <p:nvSpPr>
                    <p:cNvPr id="568" name="Rectangle 965">
                      <a:extLst>
                        <a:ext uri="{FF2B5EF4-FFF2-40B4-BE49-F238E27FC236}">
                          <a16:creationId xmlns:a16="http://schemas.microsoft.com/office/drawing/2014/main" id="{B9268CB3-F1EF-4C1F-A5A1-15E023AED58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569" name="Rectangle 1166">
                      <a:extLst>
                        <a:ext uri="{FF2B5EF4-FFF2-40B4-BE49-F238E27FC236}">
                          <a16:creationId xmlns:a16="http://schemas.microsoft.com/office/drawing/2014/main" id="{0D8DFAD9-FCFA-4306-B98E-20EC43782FB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195" name="Gruppieren 1489">
                    <a:extLst>
                      <a:ext uri="{FF2B5EF4-FFF2-40B4-BE49-F238E27FC236}">
                        <a16:creationId xmlns:a16="http://schemas.microsoft.com/office/drawing/2014/main" id="{6A97DF43-0266-45B7-BE21-51D939AAD5B2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016292" y="4203209"/>
                    <a:ext cx="189405" cy="409375"/>
                    <a:chOff x="5785963" y="3682543"/>
                    <a:chExt cx="189405" cy="418208"/>
                  </a:xfrm>
                </p:grpSpPr>
                <p:sp>
                  <p:nvSpPr>
                    <p:cNvPr id="566" name="Rechteck 1490">
                      <a:extLst>
                        <a:ext uri="{FF2B5EF4-FFF2-40B4-BE49-F238E27FC236}">
                          <a16:creationId xmlns:a16="http://schemas.microsoft.com/office/drawing/2014/main" id="{CE3F702B-5F14-4469-9409-D269D8CBD70C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5785963" y="3682543"/>
                      <a:ext cx="189405" cy="41820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567" name="Ellipse 1491">
                      <a:extLst>
                        <a:ext uri="{FF2B5EF4-FFF2-40B4-BE49-F238E27FC236}">
                          <a16:creationId xmlns:a16="http://schemas.microsoft.com/office/drawing/2014/main" id="{71DD0785-470B-480B-8D80-2CED49CE362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802514" y="3888608"/>
                      <a:ext cx="25200" cy="25200"/>
                    </a:xfrm>
                    <a:prstGeom prst="ellips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6350"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196" name="Gruppieren 1436">
                    <a:extLst>
                      <a:ext uri="{FF2B5EF4-FFF2-40B4-BE49-F238E27FC236}">
                        <a16:creationId xmlns:a16="http://schemas.microsoft.com/office/drawing/2014/main" id="{37A859A3-1A6D-494D-BD65-8A00B9DDF960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197" y="2822400"/>
                    <a:ext cx="626401" cy="590991"/>
                    <a:chOff x="5745387" y="2822400"/>
                    <a:chExt cx="626401" cy="590991"/>
                  </a:xfrm>
                </p:grpSpPr>
                <p:grpSp>
                  <p:nvGrpSpPr>
                    <p:cNvPr id="545" name="Gruppieren 1467">
                      <a:extLst>
                        <a:ext uri="{FF2B5EF4-FFF2-40B4-BE49-F238E27FC236}">
                          <a16:creationId xmlns:a16="http://schemas.microsoft.com/office/drawing/2014/main" id="{D9C645D2-5CA8-4E1B-B885-049C6E92D30C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387" y="2822400"/>
                      <a:ext cx="626401" cy="590991"/>
                      <a:chOff x="5745540" y="3532060"/>
                      <a:chExt cx="626401" cy="590991"/>
                    </a:xfrm>
                  </p:grpSpPr>
                  <p:grpSp>
                    <p:nvGrpSpPr>
                      <p:cNvPr id="547" name="Gruppieren 1469">
                        <a:extLst>
                          <a:ext uri="{FF2B5EF4-FFF2-40B4-BE49-F238E27FC236}">
                            <a16:creationId xmlns:a16="http://schemas.microsoft.com/office/drawing/2014/main" id="{E259C789-7C16-408A-A1C3-EFFACF488FC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45540" y="3532060"/>
                        <a:ext cx="626401" cy="590991"/>
                        <a:chOff x="5745599" y="3531600"/>
                        <a:chExt cx="626401" cy="590991"/>
                      </a:xfrm>
                    </p:grpSpPr>
                    <p:grpSp>
                      <p:nvGrpSpPr>
                        <p:cNvPr id="551" name="Gruppieren 1473">
                          <a:extLst>
                            <a:ext uri="{FF2B5EF4-FFF2-40B4-BE49-F238E27FC236}">
                              <a16:creationId xmlns:a16="http://schemas.microsoft.com/office/drawing/2014/main" id="{BE681621-7251-45E7-ADE8-8A767FDFBA65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745599" y="3531600"/>
                          <a:ext cx="626401" cy="590991"/>
                          <a:chOff x="5745599" y="3531600"/>
                          <a:chExt cx="626401" cy="590991"/>
                        </a:xfrm>
                      </p:grpSpPr>
                      <p:sp>
                        <p:nvSpPr>
                          <p:cNvPr id="563" name="Rectangle 998">
                            <a:extLst>
                              <a:ext uri="{FF2B5EF4-FFF2-40B4-BE49-F238E27FC236}">
                                <a16:creationId xmlns:a16="http://schemas.microsoft.com/office/drawing/2014/main" id="{5AADD7D3-A245-4CED-9AE6-48809069A890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31600"/>
                            <a:ext cx="626400" cy="50474"/>
                          </a:xfrm>
                          <a:prstGeom prst="rect">
                            <a:avLst/>
                          </a:prstGeom>
                          <a:solidFill>
                            <a:srgbClr val="E4E5E8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64" name="Rectangle 965">
                            <a:extLst>
                              <a:ext uri="{FF2B5EF4-FFF2-40B4-BE49-F238E27FC236}">
                                <a16:creationId xmlns:a16="http://schemas.microsoft.com/office/drawing/2014/main" id="{0A1F8D73-9E20-4E18-940A-629916CFA9D0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70939"/>
                            <a:ext cx="626400" cy="532193"/>
                          </a:xfrm>
                          <a:prstGeom prst="rect">
                            <a:avLst/>
                          </a:prstGeom>
                          <a:solidFill>
                            <a:srgbClr val="B2B2B2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65" name="Rectangle 1166">
                            <a:extLst>
                              <a:ext uri="{FF2B5EF4-FFF2-40B4-BE49-F238E27FC236}">
                                <a16:creationId xmlns:a16="http://schemas.microsoft.com/office/drawing/2014/main" id="{AF86172C-1DF4-4E7B-83CE-F126F4BECBE1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599" y="4097391"/>
                            <a:ext cx="626400" cy="252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lumMod val="25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552" name="Gruppieren 1474">
                          <a:extLst>
                            <a:ext uri="{FF2B5EF4-FFF2-40B4-BE49-F238E27FC236}">
                              <a16:creationId xmlns:a16="http://schemas.microsoft.com/office/drawing/2014/main" id="{903BE6A3-5B9C-4AE1-9417-C6EC9AAD697A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6025342" y="3572207"/>
                          <a:ext cx="326590" cy="525600"/>
                          <a:chOff x="6034866" y="3676578"/>
                          <a:chExt cx="326590" cy="418176"/>
                        </a:xfrm>
                      </p:grpSpPr>
                      <p:sp>
                        <p:nvSpPr>
                          <p:cNvPr id="553" name="Rechteck 1475">
                            <a:extLst>
                              <a:ext uri="{FF2B5EF4-FFF2-40B4-BE49-F238E27FC236}">
                                <a16:creationId xmlns:a16="http://schemas.microsoft.com/office/drawing/2014/main" id="{2B0D731E-1392-41FA-8B67-07858F6FBE9E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70" y="406235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4" name="Rechteck 1476">
                            <a:extLst>
                              <a:ext uri="{FF2B5EF4-FFF2-40B4-BE49-F238E27FC236}">
                                <a16:creationId xmlns:a16="http://schemas.microsoft.com/office/drawing/2014/main" id="{5CB9F847-FBD9-4AF2-A42F-79D1711438BC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32" y="401949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5" name="Rechteck 1477">
                            <a:extLst>
                              <a:ext uri="{FF2B5EF4-FFF2-40B4-BE49-F238E27FC236}">
                                <a16:creationId xmlns:a16="http://schemas.microsoft.com/office/drawing/2014/main" id="{87536932-3889-4412-80A0-D219C15E2E14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97662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6" name="Rechteck 1478">
                            <a:extLst>
                              <a:ext uri="{FF2B5EF4-FFF2-40B4-BE49-F238E27FC236}">
                                <a16:creationId xmlns:a16="http://schemas.microsoft.com/office/drawing/2014/main" id="{93B99022-0DE7-4902-AB95-DA48213B0069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56" y="393376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7" name="Rechteck 1479">
                            <a:extLst>
                              <a:ext uri="{FF2B5EF4-FFF2-40B4-BE49-F238E27FC236}">
                                <a16:creationId xmlns:a16="http://schemas.microsoft.com/office/drawing/2014/main" id="{76772B7B-18E3-4547-95FA-3848D87BC3BE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89089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8" name="Rechteck 1480">
                            <a:extLst>
                              <a:ext uri="{FF2B5EF4-FFF2-40B4-BE49-F238E27FC236}">
                                <a16:creationId xmlns:a16="http://schemas.microsoft.com/office/drawing/2014/main" id="{8DC87F6C-5407-4C86-BFC9-9A552B3E0A01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9" y="384803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59" name="Rechteck 1481">
                            <a:extLst>
                              <a:ext uri="{FF2B5EF4-FFF2-40B4-BE49-F238E27FC236}">
                                <a16:creationId xmlns:a16="http://schemas.microsoft.com/office/drawing/2014/main" id="{9AA46064-72BE-4B67-92E7-8CC4C6812862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66" y="380517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60" name="Rechteck 1482">
                            <a:extLst>
                              <a:ext uri="{FF2B5EF4-FFF2-40B4-BE49-F238E27FC236}">
                                <a16:creationId xmlns:a16="http://schemas.microsoft.com/office/drawing/2014/main" id="{6FD51679-482C-4F18-A636-7C8243E5F169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1" y="376230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61" name="Rechteck 1483">
                            <a:extLst>
                              <a:ext uri="{FF2B5EF4-FFF2-40B4-BE49-F238E27FC236}">
                                <a16:creationId xmlns:a16="http://schemas.microsoft.com/office/drawing/2014/main" id="{4A32ACE0-98C6-4828-B94F-2ABB5229E346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2973" y="371944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62" name="Rechteck 1484">
                            <a:extLst>
                              <a:ext uri="{FF2B5EF4-FFF2-40B4-BE49-F238E27FC236}">
                                <a16:creationId xmlns:a16="http://schemas.microsoft.com/office/drawing/2014/main" id="{0003B8B7-BDBD-42E7-A612-52BAE9D1E72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48" y="367657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548" name="Gruppieren 1470">
                        <a:extLst>
                          <a:ext uri="{FF2B5EF4-FFF2-40B4-BE49-F238E27FC236}">
                            <a16:creationId xmlns:a16="http://schemas.microsoft.com/office/drawing/2014/main" id="{BBC10EE7-2198-474D-8FD1-091075DBE47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85963" y="3680162"/>
                        <a:ext cx="189405" cy="418208"/>
                        <a:chOff x="5785963" y="3682543"/>
                        <a:chExt cx="189405" cy="418208"/>
                      </a:xfrm>
                    </p:grpSpPr>
                    <p:sp>
                      <p:nvSpPr>
                        <p:cNvPr id="549" name="Rechteck 1471">
                          <a:extLst>
                            <a:ext uri="{FF2B5EF4-FFF2-40B4-BE49-F238E27FC236}">
                              <a16:creationId xmlns:a16="http://schemas.microsoft.com/office/drawing/2014/main" id="{8C43F295-9850-4F07-845F-BE4CCEA413AD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5785963" y="3682543"/>
                          <a:ext cx="189405" cy="418208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50" name="Ellipse 1472">
                          <a:extLst>
                            <a:ext uri="{FF2B5EF4-FFF2-40B4-BE49-F238E27FC236}">
                              <a16:creationId xmlns:a16="http://schemas.microsoft.com/office/drawing/2014/main" id="{77FC4A5B-F27C-41BF-83B8-31EC7144CDEF}"/>
                            </a:ext>
                          </a:extLst>
                        </p:cNvPr>
                        <p:cNvSpPr>
                          <a:spLocks noChangeAspect="1"/>
                        </p:cNvSpPr>
                        <p:nvPr/>
                      </p:nvSpPr>
                      <p:spPr bwMode="gray">
                        <a:xfrm>
                          <a:off x="5802514" y="3888608"/>
                          <a:ext cx="25200" cy="2520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2">
                              <a:lumMod val="50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pic>
                  <p:nvPicPr>
                    <p:cNvPr id="546" name="Grafik 1468" descr="Mann">
                      <a:extLst>
                        <a:ext uri="{FF2B5EF4-FFF2-40B4-BE49-F238E27FC236}">
                          <a16:creationId xmlns:a16="http://schemas.microsoft.com/office/drawing/2014/main" id="{359D5A21-C1A2-4DB4-B8F8-6764A8B5BF9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6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7"/>
                        </a:ext>
                      </a:extLst>
                    </a:blip>
                    <a:stretch>
                      <a:fillRect/>
                    </a:stretch>
                  </p:blipFill>
                  <p:spPr bwMode="gray">
                    <a:xfrm>
                      <a:off x="5807736" y="3034526"/>
                      <a:ext cx="364117" cy="364117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97" name="Gruppieren 1437">
                    <a:extLst>
                      <a:ext uri="{FF2B5EF4-FFF2-40B4-BE49-F238E27FC236}">
                        <a16:creationId xmlns:a16="http://schemas.microsoft.com/office/drawing/2014/main" id="{8C3C64EC-A6AC-46F1-9C5A-88F636ABB35A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410" y="2178836"/>
                    <a:ext cx="626401" cy="590991"/>
                    <a:chOff x="5745600" y="2253600"/>
                    <a:chExt cx="626401" cy="590991"/>
                  </a:xfrm>
                </p:grpSpPr>
                <p:grpSp>
                  <p:nvGrpSpPr>
                    <p:cNvPr id="538" name="Gruppieren 1460">
                      <a:extLst>
                        <a:ext uri="{FF2B5EF4-FFF2-40B4-BE49-F238E27FC236}">
                          <a16:creationId xmlns:a16="http://schemas.microsoft.com/office/drawing/2014/main" id="{EA257A9C-D2B5-4072-B7CB-9C5E6F6593F6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600" y="2253600"/>
                      <a:ext cx="626401" cy="590991"/>
                      <a:chOff x="5745599" y="3531600"/>
                      <a:chExt cx="626401" cy="590991"/>
                    </a:xfrm>
                  </p:grpSpPr>
                  <p:sp>
                    <p:nvSpPr>
                      <p:cNvPr id="542" name="Rectangle 998">
                        <a:extLst>
                          <a:ext uri="{FF2B5EF4-FFF2-40B4-BE49-F238E27FC236}">
                            <a16:creationId xmlns:a16="http://schemas.microsoft.com/office/drawing/2014/main" id="{9034D158-C036-4070-8D02-8A4ADC568C96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600" y="3531600"/>
                        <a:ext cx="626400" cy="50474"/>
                      </a:xfrm>
                      <a:prstGeom prst="rect">
                        <a:avLst/>
                      </a:prstGeom>
                      <a:solidFill>
                        <a:srgbClr val="E4E5E8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43" name="Rectangle 965">
                        <a:extLst>
                          <a:ext uri="{FF2B5EF4-FFF2-40B4-BE49-F238E27FC236}">
                            <a16:creationId xmlns:a16="http://schemas.microsoft.com/office/drawing/2014/main" id="{2EBF7F0A-E3B2-46B1-81A4-0A5120DF4902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600" y="3570939"/>
                        <a:ext cx="626400" cy="532193"/>
                      </a:xfrm>
                      <a:prstGeom prst="rect">
                        <a:avLst/>
                      </a:prstGeom>
                      <a:solidFill>
                        <a:srgbClr val="B2B2B2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44" name="Rectangle 1166">
                        <a:extLst>
                          <a:ext uri="{FF2B5EF4-FFF2-40B4-BE49-F238E27FC236}">
                            <a16:creationId xmlns:a16="http://schemas.microsoft.com/office/drawing/2014/main" id="{5EDF19D0-B515-4CAE-B926-EDFB851C9227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599" y="4097391"/>
                        <a:ext cx="626400" cy="25200"/>
                      </a:xfrm>
                      <a:prstGeom prst="rect">
                        <a:avLst/>
                      </a:prstGeom>
                      <a:solidFill>
                        <a:schemeClr val="bg2">
                          <a:lumMod val="25000"/>
                        </a:scheme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  <p:grpSp>
                  <p:nvGrpSpPr>
                    <p:cNvPr id="539" name="Gruppieren 1461">
                      <a:extLst>
                        <a:ext uri="{FF2B5EF4-FFF2-40B4-BE49-F238E27FC236}">
                          <a16:creationId xmlns:a16="http://schemas.microsoft.com/office/drawing/2014/main" id="{413EF236-4731-4DDF-A80B-25D7D74F5794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86023" y="2401702"/>
                      <a:ext cx="189405" cy="418208"/>
                      <a:chOff x="5785963" y="3682543"/>
                      <a:chExt cx="189405" cy="418208"/>
                    </a:xfrm>
                  </p:grpSpPr>
                  <p:sp>
                    <p:nvSpPr>
                      <p:cNvPr id="540" name="Rechteck 1462">
                        <a:extLst>
                          <a:ext uri="{FF2B5EF4-FFF2-40B4-BE49-F238E27FC236}">
                            <a16:creationId xmlns:a16="http://schemas.microsoft.com/office/drawing/2014/main" id="{AE3F2122-1419-44CC-AAB2-996144D59DA2}"/>
                          </a:ext>
                        </a:extLst>
                      </p:cNvPr>
                      <p:cNvSpPr/>
                      <p:nvPr/>
                    </p:nvSpPr>
                    <p:spPr bwMode="gray">
                      <a:xfrm>
                        <a:off x="5785963" y="3682543"/>
                        <a:ext cx="189405" cy="4182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41" name="Ellipse 1463">
                        <a:extLst>
                          <a:ext uri="{FF2B5EF4-FFF2-40B4-BE49-F238E27FC236}">
                            <a16:creationId xmlns:a16="http://schemas.microsoft.com/office/drawing/2014/main" id="{AB5709BF-18D6-44F9-9599-5A146F2313CE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5802514" y="3888608"/>
                        <a:ext cx="25200" cy="252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</a:schemeClr>
                      </a:solidFill>
                      <a:ln w="6350">
                        <a:solidFill>
                          <a:schemeClr val="bg2">
                            <a:lumMod val="5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</p:grpSp>
              <p:grpSp>
                <p:nvGrpSpPr>
                  <p:cNvPr id="198" name="Gruppieren 1438">
                    <a:extLst>
                      <a:ext uri="{FF2B5EF4-FFF2-40B4-BE49-F238E27FC236}">
                        <a16:creationId xmlns:a16="http://schemas.microsoft.com/office/drawing/2014/main" id="{F1EF5BBA-205B-4624-B1B2-E88E01F104BC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350" y="3457296"/>
                    <a:ext cx="626401" cy="590991"/>
                    <a:chOff x="5745540" y="3457296"/>
                    <a:chExt cx="626401" cy="590991"/>
                  </a:xfrm>
                </p:grpSpPr>
                <p:grpSp>
                  <p:nvGrpSpPr>
                    <p:cNvPr id="517" name="Gruppieren 1439">
                      <a:extLst>
                        <a:ext uri="{FF2B5EF4-FFF2-40B4-BE49-F238E27FC236}">
                          <a16:creationId xmlns:a16="http://schemas.microsoft.com/office/drawing/2014/main" id="{8B8FC61F-74AB-4361-9BF0-D9D6316397D0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540" y="3457296"/>
                      <a:ext cx="626401" cy="590991"/>
                      <a:chOff x="5745540" y="3532060"/>
                      <a:chExt cx="626401" cy="590991"/>
                    </a:xfrm>
                  </p:grpSpPr>
                  <p:grpSp>
                    <p:nvGrpSpPr>
                      <p:cNvPr id="519" name="Gruppieren 1441">
                        <a:extLst>
                          <a:ext uri="{FF2B5EF4-FFF2-40B4-BE49-F238E27FC236}">
                            <a16:creationId xmlns:a16="http://schemas.microsoft.com/office/drawing/2014/main" id="{CC31C37A-58DD-4791-94EE-6BC4C1CB0A6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45540" y="3532060"/>
                        <a:ext cx="626401" cy="590991"/>
                        <a:chOff x="5745599" y="3531600"/>
                        <a:chExt cx="626401" cy="590991"/>
                      </a:xfrm>
                    </p:grpSpPr>
                    <p:grpSp>
                      <p:nvGrpSpPr>
                        <p:cNvPr id="523" name="Gruppieren 1445">
                          <a:extLst>
                            <a:ext uri="{FF2B5EF4-FFF2-40B4-BE49-F238E27FC236}">
                              <a16:creationId xmlns:a16="http://schemas.microsoft.com/office/drawing/2014/main" id="{47116018-E5D9-4718-930C-530B8ED01048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745599" y="3531600"/>
                          <a:ext cx="626401" cy="590991"/>
                          <a:chOff x="5745599" y="3531600"/>
                          <a:chExt cx="626401" cy="590991"/>
                        </a:xfrm>
                      </p:grpSpPr>
                      <p:sp>
                        <p:nvSpPr>
                          <p:cNvPr id="535" name="Rectangle 998">
                            <a:extLst>
                              <a:ext uri="{FF2B5EF4-FFF2-40B4-BE49-F238E27FC236}">
                                <a16:creationId xmlns:a16="http://schemas.microsoft.com/office/drawing/2014/main" id="{1CCF89A5-3A85-4FE8-930E-8CEED9CB4656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31600"/>
                            <a:ext cx="626400" cy="50474"/>
                          </a:xfrm>
                          <a:prstGeom prst="rect">
                            <a:avLst/>
                          </a:prstGeom>
                          <a:solidFill>
                            <a:srgbClr val="E4E5E8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6" name="Rectangle 965">
                            <a:extLst>
                              <a:ext uri="{FF2B5EF4-FFF2-40B4-BE49-F238E27FC236}">
                                <a16:creationId xmlns:a16="http://schemas.microsoft.com/office/drawing/2014/main" id="{C7C17AAD-C574-49B0-B281-5ADEA09342A3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70939"/>
                            <a:ext cx="626400" cy="532193"/>
                          </a:xfrm>
                          <a:prstGeom prst="rect">
                            <a:avLst/>
                          </a:prstGeom>
                          <a:solidFill>
                            <a:srgbClr val="B2B2B2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7" name="Rectangle 1166">
                            <a:extLst>
                              <a:ext uri="{FF2B5EF4-FFF2-40B4-BE49-F238E27FC236}">
                                <a16:creationId xmlns:a16="http://schemas.microsoft.com/office/drawing/2014/main" id="{8FDE76F0-236E-4A17-B220-30192122291D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599" y="4097391"/>
                            <a:ext cx="626400" cy="252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lumMod val="25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524" name="Gruppieren 1446">
                          <a:extLst>
                            <a:ext uri="{FF2B5EF4-FFF2-40B4-BE49-F238E27FC236}">
                              <a16:creationId xmlns:a16="http://schemas.microsoft.com/office/drawing/2014/main" id="{E21205B1-58F8-4F31-A37E-1F30E9C46BBB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6025342" y="3572207"/>
                          <a:ext cx="326590" cy="525600"/>
                          <a:chOff x="6034866" y="3676578"/>
                          <a:chExt cx="326590" cy="418176"/>
                        </a:xfrm>
                      </p:grpSpPr>
                      <p:sp>
                        <p:nvSpPr>
                          <p:cNvPr id="525" name="Rechteck 1447">
                            <a:extLst>
                              <a:ext uri="{FF2B5EF4-FFF2-40B4-BE49-F238E27FC236}">
                                <a16:creationId xmlns:a16="http://schemas.microsoft.com/office/drawing/2014/main" id="{8CA16467-6E1E-4C62-8759-C2324360A701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70" y="406235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26" name="Rechteck 1448">
                            <a:extLst>
                              <a:ext uri="{FF2B5EF4-FFF2-40B4-BE49-F238E27FC236}">
                                <a16:creationId xmlns:a16="http://schemas.microsoft.com/office/drawing/2014/main" id="{8582DDA4-8D2D-469A-8943-D5FDEDC6CD70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32" y="401949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27" name="Rechteck 1449">
                            <a:extLst>
                              <a:ext uri="{FF2B5EF4-FFF2-40B4-BE49-F238E27FC236}">
                                <a16:creationId xmlns:a16="http://schemas.microsoft.com/office/drawing/2014/main" id="{B6C4995A-1073-446D-BFB5-2E0EB6817598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97662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28" name="Rechteck 1450">
                            <a:extLst>
                              <a:ext uri="{FF2B5EF4-FFF2-40B4-BE49-F238E27FC236}">
                                <a16:creationId xmlns:a16="http://schemas.microsoft.com/office/drawing/2014/main" id="{9A3F7E74-CC15-42B8-9258-347EDB56C557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56" y="393376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29" name="Rechteck 1451">
                            <a:extLst>
                              <a:ext uri="{FF2B5EF4-FFF2-40B4-BE49-F238E27FC236}">
                                <a16:creationId xmlns:a16="http://schemas.microsoft.com/office/drawing/2014/main" id="{8CD3EFD5-797B-4B22-883B-BC65887E5A22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89089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0" name="Rechteck 1452">
                            <a:extLst>
                              <a:ext uri="{FF2B5EF4-FFF2-40B4-BE49-F238E27FC236}">
                                <a16:creationId xmlns:a16="http://schemas.microsoft.com/office/drawing/2014/main" id="{DFD8F8C4-CAA9-4F82-BF19-00E76BE92C4F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9" y="384803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1" name="Rechteck 1453">
                            <a:extLst>
                              <a:ext uri="{FF2B5EF4-FFF2-40B4-BE49-F238E27FC236}">
                                <a16:creationId xmlns:a16="http://schemas.microsoft.com/office/drawing/2014/main" id="{0CF90DFB-8CBA-48FC-9F89-CD86DE6F3FF8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66" y="380517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2" name="Rechteck 1454">
                            <a:extLst>
                              <a:ext uri="{FF2B5EF4-FFF2-40B4-BE49-F238E27FC236}">
                                <a16:creationId xmlns:a16="http://schemas.microsoft.com/office/drawing/2014/main" id="{DEF521A0-3677-405A-9395-5B2CD37B6EF1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1" y="376230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3" name="Rechteck 1455">
                            <a:extLst>
                              <a:ext uri="{FF2B5EF4-FFF2-40B4-BE49-F238E27FC236}">
                                <a16:creationId xmlns:a16="http://schemas.microsoft.com/office/drawing/2014/main" id="{CDA31741-94F7-457B-AC18-6560FBB2C43E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2973" y="371944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534" name="Rechteck 1456">
                            <a:extLst>
                              <a:ext uri="{FF2B5EF4-FFF2-40B4-BE49-F238E27FC236}">
                                <a16:creationId xmlns:a16="http://schemas.microsoft.com/office/drawing/2014/main" id="{ED7DF2B9-EB80-4EB4-BECA-04C288EDCCBF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48" y="367657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520" name="Gruppieren 1442">
                        <a:extLst>
                          <a:ext uri="{FF2B5EF4-FFF2-40B4-BE49-F238E27FC236}">
                            <a16:creationId xmlns:a16="http://schemas.microsoft.com/office/drawing/2014/main" id="{BE926280-7DE8-4151-A764-2518514DB709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85963" y="3680162"/>
                        <a:ext cx="189405" cy="418208"/>
                        <a:chOff x="5785963" y="3682543"/>
                        <a:chExt cx="189405" cy="418208"/>
                      </a:xfrm>
                    </p:grpSpPr>
                    <p:sp>
                      <p:nvSpPr>
                        <p:cNvPr id="521" name="Rechteck 1443">
                          <a:extLst>
                            <a:ext uri="{FF2B5EF4-FFF2-40B4-BE49-F238E27FC236}">
                              <a16:creationId xmlns:a16="http://schemas.microsoft.com/office/drawing/2014/main" id="{C7857269-27E2-4694-A210-41FAE2D61C82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5785963" y="3682543"/>
                          <a:ext cx="189405" cy="418208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22" name="Ellipse 1444">
                          <a:extLst>
                            <a:ext uri="{FF2B5EF4-FFF2-40B4-BE49-F238E27FC236}">
                              <a16:creationId xmlns:a16="http://schemas.microsoft.com/office/drawing/2014/main" id="{BE187243-E299-40F4-A88A-59251E0BCDF5}"/>
                            </a:ext>
                          </a:extLst>
                        </p:cNvPr>
                        <p:cNvSpPr>
                          <a:spLocks noChangeAspect="1"/>
                        </p:cNvSpPr>
                        <p:nvPr/>
                      </p:nvSpPr>
                      <p:spPr bwMode="gray">
                        <a:xfrm>
                          <a:off x="5802514" y="3888608"/>
                          <a:ext cx="25200" cy="2520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2">
                              <a:lumMod val="50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pic>
                  <p:nvPicPr>
                    <p:cNvPr id="518" name="Grafik 1440" descr="Frau">
                      <a:extLst>
                        <a:ext uri="{FF2B5EF4-FFF2-40B4-BE49-F238E27FC236}">
                          <a16:creationId xmlns:a16="http://schemas.microsoft.com/office/drawing/2014/main" id="{FCA4E555-0E73-4B88-9EB7-71277476583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8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9"/>
                        </a:ext>
                      </a:extLst>
                    </a:blip>
                    <a:stretch>
                      <a:fillRect/>
                    </a:stretch>
                  </p:blipFill>
                  <p:spPr bwMode="gray">
                    <a:xfrm>
                      <a:off x="5981732" y="3674230"/>
                      <a:ext cx="360000" cy="360000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99" name="Gruppieren 1384">
                    <a:extLst>
                      <a:ext uri="{FF2B5EF4-FFF2-40B4-BE49-F238E27FC236}">
                        <a16:creationId xmlns:a16="http://schemas.microsoft.com/office/drawing/2014/main" id="{A686E67B-930C-4A24-BB77-3F712A47960B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164010" y="4092913"/>
                    <a:ext cx="1105804" cy="540000"/>
                    <a:chOff x="1933200" y="4090532"/>
                    <a:chExt cx="1105804" cy="540000"/>
                  </a:xfrm>
                </p:grpSpPr>
                <p:grpSp>
                  <p:nvGrpSpPr>
                    <p:cNvPr id="473" name="Gruppieren 1391">
                      <a:extLst>
                        <a:ext uri="{FF2B5EF4-FFF2-40B4-BE49-F238E27FC236}">
                          <a16:creationId xmlns:a16="http://schemas.microsoft.com/office/drawing/2014/main" id="{942E7E60-B581-4B16-8F2B-9CB59B088C95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3200" y="4090532"/>
                      <a:ext cx="1105804" cy="540000"/>
                      <a:chOff x="1930364" y="4170823"/>
                      <a:chExt cx="1105804" cy="555764"/>
                    </a:xfrm>
                  </p:grpSpPr>
                  <p:sp>
                    <p:nvSpPr>
                      <p:cNvPr id="514" name="Rectangle 682">
                        <a:extLst>
                          <a:ext uri="{FF2B5EF4-FFF2-40B4-BE49-F238E27FC236}">
                            <a16:creationId xmlns:a16="http://schemas.microsoft.com/office/drawing/2014/main" id="{A0116504-6FE4-4C30-8B5C-1C29E5BBA23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170823"/>
                        <a:ext cx="1105804" cy="529578"/>
                      </a:xfrm>
                      <a:prstGeom prst="rect">
                        <a:avLst/>
                      </a:prstGeom>
                      <a:solidFill>
                        <a:srgbClr val="6E7D8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15" name="Rectangle 690">
                        <a:extLst>
                          <a:ext uri="{FF2B5EF4-FFF2-40B4-BE49-F238E27FC236}">
                            <a16:creationId xmlns:a16="http://schemas.microsoft.com/office/drawing/2014/main" id="{08ED9F63-EBF4-4CE1-A8DF-DB3B317FC74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699172"/>
                        <a:ext cx="1105804" cy="27415"/>
                      </a:xfrm>
                      <a:prstGeom prst="rect">
                        <a:avLst/>
                      </a:pr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516" name="Rectangle 690">
                        <a:extLst>
                          <a:ext uri="{FF2B5EF4-FFF2-40B4-BE49-F238E27FC236}">
                            <a16:creationId xmlns:a16="http://schemas.microsoft.com/office/drawing/2014/main" id="{F1EDF660-5D1A-4236-B0A8-54EAE2AE633D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174356"/>
                        <a:ext cx="1105804" cy="27415"/>
                      </a:xfrm>
                      <a:prstGeom prst="rect">
                        <a:avLst/>
                      </a:pr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  <p:grpSp>
                  <p:nvGrpSpPr>
                    <p:cNvPr id="474" name="Gruppieren 1392">
                      <a:extLst>
                        <a:ext uri="{FF2B5EF4-FFF2-40B4-BE49-F238E27FC236}">
                          <a16:creationId xmlns:a16="http://schemas.microsoft.com/office/drawing/2014/main" id="{1570FA56-E1CC-4BFD-BF43-C34AF4B2952E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3200" y="4101587"/>
                      <a:ext cx="1105200" cy="503777"/>
                      <a:chOff x="1930364" y="4197010"/>
                      <a:chExt cx="1111598" cy="503777"/>
                    </a:xfrm>
                  </p:grpSpPr>
                  <p:grpSp>
                    <p:nvGrpSpPr>
                      <p:cNvPr id="475" name="Gruppierung 3">
                        <a:extLst>
                          <a:ext uri="{FF2B5EF4-FFF2-40B4-BE49-F238E27FC236}">
                            <a16:creationId xmlns:a16="http://schemas.microsoft.com/office/drawing/2014/main" id="{292D76E1-12C7-4231-8276-2F31A76E1AB4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035993" y="4533075"/>
                        <a:ext cx="189802" cy="167712"/>
                        <a:chOff x="1912608" y="6157531"/>
                        <a:chExt cx="325324" cy="264866"/>
                      </a:xfrm>
                    </p:grpSpPr>
                    <p:sp>
                      <p:nvSpPr>
                        <p:cNvPr id="507" name="Rectangle 683">
                          <a:extLst>
                            <a:ext uri="{FF2B5EF4-FFF2-40B4-BE49-F238E27FC236}">
                              <a16:creationId xmlns:a16="http://schemas.microsoft.com/office/drawing/2014/main" id="{65D375CE-1EED-479A-A156-30D9923DA395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77673" y="6379101"/>
                          <a:ext cx="124471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8" name="Rectangle 684">
                          <a:extLst>
                            <a:ext uri="{FF2B5EF4-FFF2-40B4-BE49-F238E27FC236}">
                              <a16:creationId xmlns:a16="http://schemas.microsoft.com/office/drawing/2014/main" id="{74A6EF5E-9BB3-48BA-8FAE-E96D6551B9A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77673" y="6267043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9" name="Rectangle 685">
                          <a:extLst>
                            <a:ext uri="{FF2B5EF4-FFF2-40B4-BE49-F238E27FC236}">
                              <a16:creationId xmlns:a16="http://schemas.microsoft.com/office/drawing/2014/main" id="{E7865C08-258A-4F39-A089-865E09D3BA03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116289" y="6267043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10" name="Rectangle 686">
                          <a:extLst>
                            <a:ext uri="{FF2B5EF4-FFF2-40B4-BE49-F238E27FC236}">
                              <a16:creationId xmlns:a16="http://schemas.microsoft.com/office/drawing/2014/main" id="{14F7F71B-18B7-428B-881E-0E4EB25FAAAC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048396" y="6323071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11" name="Rectangle 687">
                          <a:extLst>
                            <a:ext uri="{FF2B5EF4-FFF2-40B4-BE49-F238E27FC236}">
                              <a16:creationId xmlns:a16="http://schemas.microsoft.com/office/drawing/2014/main" id="{F3E21926-20F6-4CE0-ABEA-55C4CF24C71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048396" y="6211013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12" name="Rectangle 688">
                          <a:extLst>
                            <a:ext uri="{FF2B5EF4-FFF2-40B4-BE49-F238E27FC236}">
                              <a16:creationId xmlns:a16="http://schemas.microsoft.com/office/drawing/2014/main" id="{3398464D-3C92-483C-916F-1EC199F6DB25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80501" y="6157531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13" name="Rectangle 689">
                          <a:extLst>
                            <a:ext uri="{FF2B5EF4-FFF2-40B4-BE49-F238E27FC236}">
                              <a16:creationId xmlns:a16="http://schemas.microsoft.com/office/drawing/2014/main" id="{3F43E4CE-3E35-43CD-8F98-1F58FEAE3C75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12608" y="6323071"/>
                          <a:ext cx="124471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476" name="Gruppierung 2">
                        <a:extLst>
                          <a:ext uri="{FF2B5EF4-FFF2-40B4-BE49-F238E27FC236}">
                            <a16:creationId xmlns:a16="http://schemas.microsoft.com/office/drawing/2014/main" id="{FA77E0A0-5A84-4BF9-AB2C-9D43CFE217DB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793552" y="4281508"/>
                        <a:ext cx="191453" cy="167712"/>
                        <a:chOff x="3211074" y="5760234"/>
                        <a:chExt cx="328153" cy="264866"/>
                      </a:xfrm>
                    </p:grpSpPr>
                    <p:sp>
                      <p:nvSpPr>
                        <p:cNvPr id="500" name="Rectangle 717">
                          <a:extLst>
                            <a:ext uri="{FF2B5EF4-FFF2-40B4-BE49-F238E27FC236}">
                              <a16:creationId xmlns:a16="http://schemas.microsoft.com/office/drawing/2014/main" id="{1D61C2F1-58B8-40EB-82D2-C0CB89B2787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9691" y="5760234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1" name="Rectangle 718">
                          <a:extLst>
                            <a:ext uri="{FF2B5EF4-FFF2-40B4-BE49-F238E27FC236}">
                              <a16:creationId xmlns:a16="http://schemas.microsoft.com/office/drawing/2014/main" id="{4C59E60A-E960-47EE-BF68-9ED7A04DAFF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9691" y="5872292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2" name="Rectangle 719">
                          <a:extLst>
                            <a:ext uri="{FF2B5EF4-FFF2-40B4-BE49-F238E27FC236}">
                              <a16:creationId xmlns:a16="http://schemas.microsoft.com/office/drawing/2014/main" id="{75BBEA9E-E4CB-4DBD-9537-C3154A14D96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11074" y="5872292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3" name="Rectangle 720">
                          <a:extLst>
                            <a:ext uri="{FF2B5EF4-FFF2-40B4-BE49-F238E27FC236}">
                              <a16:creationId xmlns:a16="http://schemas.microsoft.com/office/drawing/2014/main" id="{3FB4F356-9DEC-49BF-BDF9-4FD3ED19703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81798" y="5816264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4" name="Rectangle 721">
                          <a:extLst>
                            <a:ext uri="{FF2B5EF4-FFF2-40B4-BE49-F238E27FC236}">
                              <a16:creationId xmlns:a16="http://schemas.microsoft.com/office/drawing/2014/main" id="{077A0F83-3C7F-4B50-9F7B-1120F6277EA3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81798" y="5928322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5" name="Rectangle 722">
                          <a:extLst>
                            <a:ext uri="{FF2B5EF4-FFF2-40B4-BE49-F238E27FC236}">
                              <a16:creationId xmlns:a16="http://schemas.microsoft.com/office/drawing/2014/main" id="{757CEFA1-3D9F-47B4-9146-0781FACFF7B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6861" y="5981804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506" name="Rectangle 723">
                          <a:extLst>
                            <a:ext uri="{FF2B5EF4-FFF2-40B4-BE49-F238E27FC236}">
                              <a16:creationId xmlns:a16="http://schemas.microsoft.com/office/drawing/2014/main" id="{BF2E1DFD-CC8D-4E38-9455-5E6B5D9BC25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414756" y="5816264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477" name="Gruppierung 32">
                        <a:extLst>
                          <a:ext uri="{FF2B5EF4-FFF2-40B4-BE49-F238E27FC236}">
                            <a16:creationId xmlns:a16="http://schemas.microsoft.com/office/drawing/2014/main" id="{1984D861-FA9E-464C-A129-BEC4D8477E2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0364" y="4197010"/>
                        <a:ext cx="696490" cy="390405"/>
                        <a:chOff x="1731558" y="5523385"/>
                        <a:chExt cx="1193795" cy="730924"/>
                      </a:xfrm>
                    </p:grpSpPr>
                    <p:sp>
                      <p:nvSpPr>
                        <p:cNvPr id="488" name="Freeform 695">
                          <a:extLst>
                            <a:ext uri="{FF2B5EF4-FFF2-40B4-BE49-F238E27FC236}">
                              <a16:creationId xmlns:a16="http://schemas.microsoft.com/office/drawing/2014/main" id="{5F05AABA-F1FE-492A-AB04-C3200D65A17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1731558" y="5907947"/>
                          <a:ext cx="1193795" cy="25468"/>
                        </a:xfrm>
                        <a:custGeom>
                          <a:avLst/>
                          <a:gdLst>
                            <a:gd name="T0" fmla="*/ 0 w 422"/>
                            <a:gd name="T1" fmla="*/ 1 h 10"/>
                            <a:gd name="T2" fmla="*/ 0 w 422"/>
                            <a:gd name="T3" fmla="*/ 10 h 10"/>
                            <a:gd name="T4" fmla="*/ 422 w 422"/>
                            <a:gd name="T5" fmla="*/ 10 h 10"/>
                            <a:gd name="T6" fmla="*/ 422 w 422"/>
                            <a:gd name="T7" fmla="*/ 0 h 10"/>
                            <a:gd name="T8" fmla="*/ 0 w 422"/>
                            <a:gd name="T9" fmla="*/ 1 h 1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422" h="10">
                              <a:moveTo>
                                <a:pt x="0" y="1"/>
                              </a:moveTo>
                              <a:lnTo>
                                <a:pt x="0" y="10"/>
                              </a:lnTo>
                              <a:lnTo>
                                <a:pt x="422" y="10"/>
                              </a:lnTo>
                              <a:lnTo>
                                <a:pt x="422" y="0"/>
                              </a:lnTo>
                              <a:lnTo>
                                <a:pt x="0" y="1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9" name="Freeform 691">
                          <a:extLst>
                            <a:ext uri="{FF2B5EF4-FFF2-40B4-BE49-F238E27FC236}">
                              <a16:creationId xmlns:a16="http://schemas.microsoft.com/office/drawing/2014/main" id="{B6762D92-0B07-45CF-8863-2BAD7FE3010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215301" y="5920681"/>
                          <a:ext cx="248943" cy="333628"/>
                        </a:xfrm>
                        <a:custGeom>
                          <a:avLst/>
                          <a:gdLst>
                            <a:gd name="T0" fmla="*/ 11 w 109"/>
                            <a:gd name="T1" fmla="*/ 141 h 162"/>
                            <a:gd name="T2" fmla="*/ 11 w 109"/>
                            <a:gd name="T3" fmla="*/ 0 h 162"/>
                            <a:gd name="T4" fmla="*/ 0 w 109"/>
                            <a:gd name="T5" fmla="*/ 0 h 162"/>
                            <a:gd name="T6" fmla="*/ 0 w 109"/>
                            <a:gd name="T7" fmla="*/ 141 h 162"/>
                            <a:gd name="T8" fmla="*/ 21 w 109"/>
                            <a:gd name="T9" fmla="*/ 162 h 162"/>
                            <a:gd name="T10" fmla="*/ 109 w 109"/>
                            <a:gd name="T11" fmla="*/ 162 h 162"/>
                            <a:gd name="T12" fmla="*/ 109 w 109"/>
                            <a:gd name="T13" fmla="*/ 151 h 162"/>
                            <a:gd name="T14" fmla="*/ 21 w 109"/>
                            <a:gd name="T15" fmla="*/ 151 h 162"/>
                            <a:gd name="T16" fmla="*/ 11 w 109"/>
                            <a:gd name="T17" fmla="*/ 141 h 1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109" h="162">
                              <a:moveTo>
                                <a:pt x="11" y="141"/>
                              </a:move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141"/>
                                <a:pt x="0" y="141"/>
                                <a:pt x="0" y="141"/>
                              </a:cubicBezTo>
                              <a:cubicBezTo>
                                <a:pt x="0" y="153"/>
                                <a:pt x="9" y="162"/>
                                <a:pt x="21" y="162"/>
                              </a:cubicBezTo>
                              <a:cubicBezTo>
                                <a:pt x="109" y="162"/>
                                <a:pt x="109" y="162"/>
                                <a:pt x="109" y="162"/>
                              </a:cubicBezTo>
                              <a:cubicBezTo>
                                <a:pt x="109" y="151"/>
                                <a:pt x="109" y="151"/>
                                <a:pt x="109" y="151"/>
                              </a:cubicBezTo>
                              <a:cubicBezTo>
                                <a:pt x="21" y="151"/>
                                <a:pt x="21" y="151"/>
                                <a:pt x="21" y="151"/>
                              </a:cubicBezTo>
                              <a:cubicBezTo>
                                <a:pt x="16" y="151"/>
                                <a:pt x="11" y="146"/>
                                <a:pt x="11" y="14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90" name="Freeform 692">
                          <a:extLst>
                            <a:ext uri="{FF2B5EF4-FFF2-40B4-BE49-F238E27FC236}">
                              <a16:creationId xmlns:a16="http://schemas.microsoft.com/office/drawing/2014/main" id="{9FCCAB68-8370-4515-9A84-7DDC210CA99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365234" y="5523385"/>
                          <a:ext cx="127302" cy="669802"/>
                        </a:xfrm>
                        <a:custGeom>
                          <a:avLst/>
                          <a:gdLst>
                            <a:gd name="T0" fmla="*/ 11 w 56"/>
                            <a:gd name="T1" fmla="*/ 304 h 325"/>
                            <a:gd name="T2" fmla="*/ 11 w 56"/>
                            <a:gd name="T3" fmla="*/ 0 h 325"/>
                            <a:gd name="T4" fmla="*/ 0 w 56"/>
                            <a:gd name="T5" fmla="*/ 0 h 325"/>
                            <a:gd name="T6" fmla="*/ 0 w 56"/>
                            <a:gd name="T7" fmla="*/ 304 h 325"/>
                            <a:gd name="T8" fmla="*/ 21 w 56"/>
                            <a:gd name="T9" fmla="*/ 325 h 325"/>
                            <a:gd name="T10" fmla="*/ 56 w 56"/>
                            <a:gd name="T11" fmla="*/ 325 h 325"/>
                            <a:gd name="T12" fmla="*/ 56 w 56"/>
                            <a:gd name="T13" fmla="*/ 314 h 325"/>
                            <a:gd name="T14" fmla="*/ 21 w 56"/>
                            <a:gd name="T15" fmla="*/ 314 h 325"/>
                            <a:gd name="T16" fmla="*/ 11 w 56"/>
                            <a:gd name="T17" fmla="*/ 304 h 3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56" h="325">
                              <a:moveTo>
                                <a:pt x="11" y="304"/>
                              </a:move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304"/>
                                <a:pt x="0" y="304"/>
                                <a:pt x="0" y="304"/>
                              </a:cubicBezTo>
                              <a:cubicBezTo>
                                <a:pt x="0" y="315"/>
                                <a:pt x="9" y="325"/>
                                <a:pt x="21" y="325"/>
                              </a:cubicBezTo>
                              <a:cubicBezTo>
                                <a:pt x="56" y="325"/>
                                <a:pt x="56" y="325"/>
                                <a:pt x="56" y="325"/>
                              </a:cubicBezTo>
                              <a:cubicBezTo>
                                <a:pt x="56" y="314"/>
                                <a:pt x="56" y="314"/>
                                <a:pt x="56" y="314"/>
                              </a:cubicBezTo>
                              <a:cubicBezTo>
                                <a:pt x="21" y="314"/>
                                <a:pt x="21" y="314"/>
                                <a:pt x="21" y="314"/>
                              </a:cubicBezTo>
                              <a:cubicBezTo>
                                <a:pt x="16" y="314"/>
                                <a:pt x="11" y="309"/>
                                <a:pt x="11" y="30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grpSp>
                      <p:nvGrpSpPr>
                        <p:cNvPr id="491" name="Gruppierung 31">
                          <a:extLst>
                            <a:ext uri="{FF2B5EF4-FFF2-40B4-BE49-F238E27FC236}">
                              <a16:creationId xmlns:a16="http://schemas.microsoft.com/office/drawing/2014/main" id="{50E1CBE3-705D-4514-BCBE-3B1F9B7D6945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704702" y="5836638"/>
                          <a:ext cx="73548" cy="96778"/>
                          <a:chOff x="2704702" y="5836638"/>
                          <a:chExt cx="73548" cy="96778"/>
                        </a:xfrm>
                      </p:grpSpPr>
                      <p:sp>
                        <p:nvSpPr>
                          <p:cNvPr id="497" name="Freeform 714">
                            <a:extLst>
                              <a:ext uri="{FF2B5EF4-FFF2-40B4-BE49-F238E27FC236}">
                                <a16:creationId xmlns:a16="http://schemas.microsoft.com/office/drawing/2014/main" id="{797D2A76-7042-4D1B-ABB4-B16D5495CFFC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2707530" y="5841732"/>
                            <a:ext cx="16973" cy="91684"/>
                          </a:xfrm>
                          <a:custGeom>
                            <a:avLst/>
                            <a:gdLst>
                              <a:gd name="T0" fmla="*/ 4 w 8"/>
                              <a:gd name="T1" fmla="*/ 0 h 44"/>
                              <a:gd name="T2" fmla="*/ 0 w 8"/>
                              <a:gd name="T3" fmla="*/ 4 h 44"/>
                              <a:gd name="T4" fmla="*/ 0 w 8"/>
                              <a:gd name="T5" fmla="*/ 40 h 44"/>
                              <a:gd name="T6" fmla="*/ 4 w 8"/>
                              <a:gd name="T7" fmla="*/ 44 h 44"/>
                              <a:gd name="T8" fmla="*/ 8 w 8"/>
                              <a:gd name="T9" fmla="*/ 40 h 44"/>
                              <a:gd name="T10" fmla="*/ 8 w 8"/>
                              <a:gd name="T11" fmla="*/ 4 h 44"/>
                              <a:gd name="T12" fmla="*/ 4 w 8"/>
                              <a:gd name="T13" fmla="*/ 0 h 4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</a:cxnLst>
                            <a:rect l="0" t="0" r="r" b="b"/>
                            <a:pathLst>
                              <a:path w="8" h="44">
                                <a:moveTo>
                                  <a:pt x="4" y="0"/>
                                </a:moveTo>
                                <a:cubicBezTo>
                                  <a:pt x="2" y="0"/>
                                  <a:pt x="0" y="2"/>
                                  <a:pt x="0" y="4"/>
                                </a:cubicBezTo>
                                <a:cubicBezTo>
                                  <a:pt x="0" y="40"/>
                                  <a:pt x="0" y="40"/>
                                  <a:pt x="0" y="40"/>
                                </a:cubicBezTo>
                                <a:cubicBezTo>
                                  <a:pt x="0" y="42"/>
                                  <a:pt x="2" y="44"/>
                                  <a:pt x="4" y="44"/>
                                </a:cubicBezTo>
                                <a:cubicBezTo>
                                  <a:pt x="6" y="44"/>
                                  <a:pt x="8" y="42"/>
                                  <a:pt x="8" y="40"/>
                                </a:cubicBezTo>
                                <a:cubicBezTo>
                                  <a:pt x="8" y="4"/>
                                  <a:pt x="8" y="4"/>
                                  <a:pt x="8" y="4"/>
                                </a:cubicBezTo>
                                <a:cubicBezTo>
                                  <a:pt x="8" y="2"/>
                                  <a:pt x="6" y="0"/>
                                  <a:pt x="4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535E6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498" name="Freeform 715">
                            <a:extLst>
                              <a:ext uri="{FF2B5EF4-FFF2-40B4-BE49-F238E27FC236}">
                                <a16:creationId xmlns:a16="http://schemas.microsoft.com/office/drawing/2014/main" id="{989198BC-A3D1-4168-9D13-2062C8C2E554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2716015" y="5839186"/>
                            <a:ext cx="62235" cy="15281"/>
                          </a:xfrm>
                          <a:custGeom>
                            <a:avLst/>
                            <a:gdLst>
                              <a:gd name="T0" fmla="*/ 23 w 27"/>
                              <a:gd name="T1" fmla="*/ 0 h 8"/>
                              <a:gd name="T2" fmla="*/ 5 w 27"/>
                              <a:gd name="T3" fmla="*/ 0 h 8"/>
                              <a:gd name="T4" fmla="*/ 0 w 27"/>
                              <a:gd name="T5" fmla="*/ 4 h 8"/>
                              <a:gd name="T6" fmla="*/ 5 w 27"/>
                              <a:gd name="T7" fmla="*/ 8 h 8"/>
                              <a:gd name="T8" fmla="*/ 23 w 27"/>
                              <a:gd name="T9" fmla="*/ 8 h 8"/>
                              <a:gd name="T10" fmla="*/ 27 w 27"/>
                              <a:gd name="T11" fmla="*/ 4 h 8"/>
                              <a:gd name="T12" fmla="*/ 23 w 27"/>
                              <a:gd name="T13" fmla="*/ 0 h 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</a:cxnLst>
                            <a:rect l="0" t="0" r="r" b="b"/>
                            <a:pathLst>
                              <a:path w="27" h="8">
                                <a:moveTo>
                                  <a:pt x="23" y="0"/>
                                </a:moveTo>
                                <a:cubicBezTo>
                                  <a:pt x="5" y="0"/>
                                  <a:pt x="5" y="0"/>
                                  <a:pt x="5" y="0"/>
                                </a:cubicBezTo>
                                <a:cubicBezTo>
                                  <a:pt x="2" y="0"/>
                                  <a:pt x="0" y="2"/>
                                  <a:pt x="0" y="4"/>
                                </a:cubicBezTo>
                                <a:cubicBezTo>
                                  <a:pt x="0" y="6"/>
                                  <a:pt x="2" y="8"/>
                                  <a:pt x="5" y="8"/>
                                </a:cubicBezTo>
                                <a:cubicBezTo>
                                  <a:pt x="23" y="8"/>
                                  <a:pt x="23" y="8"/>
                                  <a:pt x="23" y="8"/>
                                </a:cubicBezTo>
                                <a:cubicBezTo>
                                  <a:pt x="25" y="8"/>
                                  <a:pt x="27" y="6"/>
                                  <a:pt x="27" y="4"/>
                                </a:cubicBezTo>
                                <a:cubicBezTo>
                                  <a:pt x="27" y="2"/>
                                  <a:pt x="25" y="0"/>
                                  <a:pt x="23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535E6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499" name="Oval 716">
                            <a:extLst>
                              <a:ext uri="{FF2B5EF4-FFF2-40B4-BE49-F238E27FC236}">
                                <a16:creationId xmlns:a16="http://schemas.microsoft.com/office/drawing/2014/main" id="{8251CFFB-5CF9-4F7F-8BD8-D5B6E28E8501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2704702" y="5836638"/>
                            <a:ext cx="22632" cy="20375"/>
                          </a:xfrm>
                          <a:prstGeom prst="ellipse">
                            <a:avLst/>
                          </a:prstGeom>
                          <a:solidFill>
                            <a:srgbClr val="C2C8D0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492" name="Gruppierung 25">
                          <a:extLst>
                            <a:ext uri="{FF2B5EF4-FFF2-40B4-BE49-F238E27FC236}">
                              <a16:creationId xmlns:a16="http://schemas.microsoft.com/office/drawing/2014/main" id="{CF3DD008-F2F4-4143-B2C1-35457A897445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098666" y="5907947"/>
                          <a:ext cx="74201" cy="96778"/>
                          <a:chOff x="2098666" y="5907947"/>
                          <a:chExt cx="74201" cy="96778"/>
                        </a:xfrm>
                      </p:grpSpPr>
                      <p:grpSp>
                        <p:nvGrpSpPr>
                          <p:cNvPr id="493" name="Gruppierung 21">
                            <a:extLst>
                              <a:ext uri="{FF2B5EF4-FFF2-40B4-BE49-F238E27FC236}">
                                <a16:creationId xmlns:a16="http://schemas.microsoft.com/office/drawing/2014/main" id="{B705CB23-93C2-42AF-9C94-67555DA7CCAE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2098666" y="5907947"/>
                            <a:ext cx="67895" cy="94231"/>
                            <a:chOff x="2099316" y="5907947"/>
                            <a:chExt cx="67895" cy="94231"/>
                          </a:xfrm>
                        </p:grpSpPr>
                        <p:sp>
                          <p:nvSpPr>
                            <p:cNvPr id="495" name="Freeform 711">
                              <a:extLst>
                                <a:ext uri="{FF2B5EF4-FFF2-40B4-BE49-F238E27FC236}">
                                  <a16:creationId xmlns:a16="http://schemas.microsoft.com/office/drawing/2014/main" id="{276085BF-54EC-432A-848D-19514A25E57E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2153066" y="5907947"/>
                              <a:ext cx="14145" cy="91684"/>
                            </a:xfrm>
                            <a:custGeom>
                              <a:avLst/>
                              <a:gdLst>
                                <a:gd name="T0" fmla="*/ 4 w 7"/>
                                <a:gd name="T1" fmla="*/ 0 h 44"/>
                                <a:gd name="T2" fmla="*/ 0 w 7"/>
                                <a:gd name="T3" fmla="*/ 4 h 44"/>
                                <a:gd name="T4" fmla="*/ 0 w 7"/>
                                <a:gd name="T5" fmla="*/ 40 h 44"/>
                                <a:gd name="T6" fmla="*/ 4 w 7"/>
                                <a:gd name="T7" fmla="*/ 44 h 44"/>
                                <a:gd name="T8" fmla="*/ 7 w 7"/>
                                <a:gd name="T9" fmla="*/ 40 h 44"/>
                                <a:gd name="T10" fmla="*/ 7 w 7"/>
                                <a:gd name="T11" fmla="*/ 4 h 44"/>
                                <a:gd name="T12" fmla="*/ 4 w 7"/>
                                <a:gd name="T13" fmla="*/ 0 h 4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</a:cxnLst>
                              <a:rect l="0" t="0" r="r" b="b"/>
                              <a:pathLst>
                                <a:path w="7" h="44">
                                  <a:moveTo>
                                    <a:pt x="4" y="0"/>
                                  </a:moveTo>
                                  <a:cubicBezTo>
                                    <a:pt x="2" y="0"/>
                                    <a:pt x="0" y="2"/>
                                    <a:pt x="0" y="4"/>
                                  </a:cubicBezTo>
                                  <a:cubicBezTo>
                                    <a:pt x="0" y="40"/>
                                    <a:pt x="0" y="40"/>
                                    <a:pt x="0" y="40"/>
                                  </a:cubicBezTo>
                                  <a:cubicBezTo>
                                    <a:pt x="0" y="42"/>
                                    <a:pt x="2" y="44"/>
                                    <a:pt x="4" y="44"/>
                                  </a:cubicBezTo>
                                  <a:cubicBezTo>
                                    <a:pt x="6" y="44"/>
                                    <a:pt x="7" y="42"/>
                                    <a:pt x="7" y="40"/>
                                  </a:cubicBezTo>
                                  <a:cubicBezTo>
                                    <a:pt x="7" y="4"/>
                                    <a:pt x="7" y="4"/>
                                    <a:pt x="7" y="4"/>
                                  </a:cubicBezTo>
                                  <a:cubicBezTo>
                                    <a:pt x="7" y="2"/>
                                    <a:pt x="6" y="0"/>
                                    <a:pt x="4" y="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535E6B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96" name="Freeform 712">
                              <a:extLst>
                                <a:ext uri="{FF2B5EF4-FFF2-40B4-BE49-F238E27FC236}">
                                  <a16:creationId xmlns:a16="http://schemas.microsoft.com/office/drawing/2014/main" id="{DBB82F56-3648-49C8-A0DD-DDE6D66433FB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2099316" y="5986897"/>
                              <a:ext cx="59407" cy="15281"/>
                            </a:xfrm>
                            <a:custGeom>
                              <a:avLst/>
                              <a:gdLst>
                                <a:gd name="T0" fmla="*/ 22 w 26"/>
                                <a:gd name="T1" fmla="*/ 0 h 8"/>
                                <a:gd name="T2" fmla="*/ 4 w 26"/>
                                <a:gd name="T3" fmla="*/ 0 h 8"/>
                                <a:gd name="T4" fmla="*/ 0 w 26"/>
                                <a:gd name="T5" fmla="*/ 4 h 8"/>
                                <a:gd name="T6" fmla="*/ 4 w 26"/>
                                <a:gd name="T7" fmla="*/ 8 h 8"/>
                                <a:gd name="T8" fmla="*/ 22 w 26"/>
                                <a:gd name="T9" fmla="*/ 8 h 8"/>
                                <a:gd name="T10" fmla="*/ 26 w 26"/>
                                <a:gd name="T11" fmla="*/ 4 h 8"/>
                                <a:gd name="T12" fmla="*/ 22 w 26"/>
                                <a:gd name="T13" fmla="*/ 0 h 8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</a:cxnLst>
                              <a:rect l="0" t="0" r="r" b="b"/>
                              <a:pathLst>
                                <a:path w="26" h="8">
                                  <a:moveTo>
                                    <a:pt x="22" y="0"/>
                                  </a:moveTo>
                                  <a:cubicBezTo>
                                    <a:pt x="4" y="0"/>
                                    <a:pt x="4" y="0"/>
                                    <a:pt x="4" y="0"/>
                                  </a:cubicBezTo>
                                  <a:cubicBezTo>
                                    <a:pt x="2" y="0"/>
                                    <a:pt x="0" y="2"/>
                                    <a:pt x="0" y="4"/>
                                  </a:cubicBezTo>
                                  <a:cubicBezTo>
                                    <a:pt x="0" y="6"/>
                                    <a:pt x="2" y="8"/>
                                    <a:pt x="4" y="8"/>
                                  </a:cubicBezTo>
                                  <a:cubicBezTo>
                                    <a:pt x="22" y="8"/>
                                    <a:pt x="22" y="8"/>
                                    <a:pt x="22" y="8"/>
                                  </a:cubicBezTo>
                                  <a:cubicBezTo>
                                    <a:pt x="24" y="8"/>
                                    <a:pt x="26" y="6"/>
                                    <a:pt x="26" y="4"/>
                                  </a:cubicBezTo>
                                  <a:cubicBezTo>
                                    <a:pt x="26" y="2"/>
                                    <a:pt x="24" y="0"/>
                                    <a:pt x="22" y="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535E6B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94" name="Oval 713">
                            <a:extLst>
                              <a:ext uri="{FF2B5EF4-FFF2-40B4-BE49-F238E27FC236}">
                                <a16:creationId xmlns:a16="http://schemas.microsoft.com/office/drawing/2014/main" id="{C548B8D0-E01E-446F-8FB0-4400AA365843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2147407" y="5984350"/>
                            <a:ext cx="25460" cy="20375"/>
                          </a:xfrm>
                          <a:prstGeom prst="ellipse">
                            <a:avLst/>
                          </a:prstGeom>
                          <a:solidFill>
                            <a:srgbClr val="C2C8D0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478" name="Gruppierung 30">
                        <a:extLst>
                          <a:ext uri="{FF2B5EF4-FFF2-40B4-BE49-F238E27FC236}">
                            <a16:creationId xmlns:a16="http://schemas.microsoft.com/office/drawing/2014/main" id="{E813B87E-DAEA-43B6-8514-5875D5960F74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2198" y="4227997"/>
                        <a:ext cx="1109764" cy="258145"/>
                        <a:chOff x="1731558" y="5564134"/>
                        <a:chExt cx="1895364" cy="466058"/>
                      </a:xfrm>
                    </p:grpSpPr>
                    <p:sp>
                      <p:nvSpPr>
                        <p:cNvPr id="482" name="Freeform 693">
                          <a:extLst>
                            <a:ext uri="{FF2B5EF4-FFF2-40B4-BE49-F238E27FC236}">
                              <a16:creationId xmlns:a16="http://schemas.microsoft.com/office/drawing/2014/main" id="{8681EFF6-6C31-4B2F-B61F-02688F70D6B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1731558" y="5564134"/>
                          <a:ext cx="1323925" cy="185914"/>
                        </a:xfrm>
                        <a:custGeom>
                          <a:avLst/>
                          <a:gdLst>
                            <a:gd name="T0" fmla="*/ 561 w 579"/>
                            <a:gd name="T1" fmla="*/ 45 h 90"/>
                            <a:gd name="T2" fmla="*/ 0 w 579"/>
                            <a:gd name="T3" fmla="*/ 0 h 90"/>
                            <a:gd name="T4" fmla="*/ 0 w 579"/>
                            <a:gd name="T5" fmla="*/ 12 h 90"/>
                            <a:gd name="T6" fmla="*/ 560 w 579"/>
                            <a:gd name="T7" fmla="*/ 56 h 90"/>
                            <a:gd name="T8" fmla="*/ 568 w 579"/>
                            <a:gd name="T9" fmla="*/ 65 h 90"/>
                            <a:gd name="T10" fmla="*/ 568 w 579"/>
                            <a:gd name="T11" fmla="*/ 90 h 90"/>
                            <a:gd name="T12" fmla="*/ 579 w 579"/>
                            <a:gd name="T13" fmla="*/ 90 h 90"/>
                            <a:gd name="T14" fmla="*/ 579 w 579"/>
                            <a:gd name="T15" fmla="*/ 65 h 90"/>
                            <a:gd name="T16" fmla="*/ 561 w 579"/>
                            <a:gd name="T17" fmla="*/ 45 h 9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579" h="90">
                              <a:moveTo>
                                <a:pt x="561" y="45"/>
                              </a:move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cubicBezTo>
                                <a:pt x="560" y="56"/>
                                <a:pt x="560" y="56"/>
                                <a:pt x="560" y="56"/>
                              </a:cubicBezTo>
                              <a:cubicBezTo>
                                <a:pt x="564" y="57"/>
                                <a:pt x="568" y="60"/>
                                <a:pt x="568" y="65"/>
                              </a:cubicBezTo>
                              <a:cubicBezTo>
                                <a:pt x="568" y="90"/>
                                <a:pt x="568" y="90"/>
                                <a:pt x="568" y="90"/>
                              </a:cubicBezTo>
                              <a:cubicBezTo>
                                <a:pt x="579" y="90"/>
                                <a:pt x="579" y="90"/>
                                <a:pt x="579" y="90"/>
                              </a:cubicBezTo>
                              <a:cubicBezTo>
                                <a:pt x="579" y="65"/>
                                <a:pt x="579" y="65"/>
                                <a:pt x="579" y="65"/>
                              </a:cubicBezTo>
                              <a:cubicBezTo>
                                <a:pt x="579" y="55"/>
                                <a:pt x="571" y="46"/>
                                <a:pt x="561" y="45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BEC4CC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3" name="Rectangle 694">
                          <a:extLst>
                            <a:ext uri="{FF2B5EF4-FFF2-40B4-BE49-F238E27FC236}">
                              <a16:creationId xmlns:a16="http://schemas.microsoft.com/office/drawing/2014/main" id="{0B16CEA7-FA3D-40DD-9AB5-41262901FD1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030024" y="5719487"/>
                          <a:ext cx="25460" cy="30561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4" name="Freeform 696">
                          <a:extLst>
                            <a:ext uri="{FF2B5EF4-FFF2-40B4-BE49-F238E27FC236}">
                              <a16:creationId xmlns:a16="http://schemas.microsoft.com/office/drawing/2014/main" id="{5EF45672-8932-472B-ACCD-107C6BE4DF5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515164" y="5617616"/>
                          <a:ext cx="373414" cy="412576"/>
                        </a:xfrm>
                        <a:custGeom>
                          <a:avLst/>
                          <a:gdLst>
                            <a:gd name="T0" fmla="*/ 0 w 163"/>
                            <a:gd name="T1" fmla="*/ 39 h 200"/>
                            <a:gd name="T2" fmla="*/ 0 w 163"/>
                            <a:gd name="T3" fmla="*/ 200 h 200"/>
                            <a:gd name="T4" fmla="*/ 22 w 163"/>
                            <a:gd name="T5" fmla="*/ 200 h 200"/>
                            <a:gd name="T6" fmla="*/ 22 w 163"/>
                            <a:gd name="T7" fmla="*/ 39 h 200"/>
                            <a:gd name="T8" fmla="*/ 41 w 163"/>
                            <a:gd name="T9" fmla="*/ 22 h 200"/>
                            <a:gd name="T10" fmla="*/ 163 w 163"/>
                            <a:gd name="T11" fmla="*/ 22 h 200"/>
                            <a:gd name="T12" fmla="*/ 163 w 163"/>
                            <a:gd name="T13" fmla="*/ 0 h 200"/>
                            <a:gd name="T14" fmla="*/ 41 w 163"/>
                            <a:gd name="T15" fmla="*/ 0 h 200"/>
                            <a:gd name="T16" fmla="*/ 0 w 163"/>
                            <a:gd name="T17" fmla="*/ 39 h 20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163" h="200">
                              <a:moveTo>
                                <a:pt x="0" y="39"/>
                              </a:moveTo>
                              <a:cubicBezTo>
                                <a:pt x="0" y="200"/>
                                <a:pt x="0" y="200"/>
                                <a:pt x="0" y="200"/>
                              </a:cubicBezTo>
                              <a:cubicBezTo>
                                <a:pt x="22" y="200"/>
                                <a:pt x="22" y="200"/>
                                <a:pt x="22" y="200"/>
                              </a:cubicBezTo>
                              <a:cubicBezTo>
                                <a:pt x="22" y="39"/>
                                <a:pt x="22" y="39"/>
                                <a:pt x="22" y="39"/>
                              </a:cubicBezTo>
                              <a:cubicBezTo>
                                <a:pt x="22" y="30"/>
                                <a:pt x="31" y="22"/>
                                <a:pt x="41" y="22"/>
                              </a:cubicBezTo>
                              <a:cubicBezTo>
                                <a:pt x="163" y="22"/>
                                <a:pt x="163" y="22"/>
                                <a:pt x="163" y="22"/>
                              </a:cubicBezTo>
                              <a:cubicBezTo>
                                <a:pt x="163" y="0"/>
                                <a:pt x="163" y="0"/>
                                <a:pt x="163" y="0"/>
                              </a:cubicBezTo>
                              <a:cubicBezTo>
                                <a:pt x="41" y="0"/>
                                <a:pt x="41" y="0"/>
                                <a:pt x="41" y="0"/>
                              </a:cubicBezTo>
                              <a:cubicBezTo>
                                <a:pt x="18" y="0"/>
                                <a:pt x="0" y="17"/>
                                <a:pt x="0" y="3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EFF1F3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5" name="Freeform 697">
                          <a:extLst>
                            <a:ext uri="{FF2B5EF4-FFF2-40B4-BE49-F238E27FC236}">
                              <a16:creationId xmlns:a16="http://schemas.microsoft.com/office/drawing/2014/main" id="{6893BFDA-7171-4105-A1A2-08F9F4463FE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600032" y="5617616"/>
                          <a:ext cx="1026890" cy="407483"/>
                        </a:xfrm>
                        <a:custGeom>
                          <a:avLst/>
                          <a:gdLst>
                            <a:gd name="T0" fmla="*/ 0 w 450"/>
                            <a:gd name="T1" fmla="*/ 39 h 198"/>
                            <a:gd name="T2" fmla="*/ 0 w 450"/>
                            <a:gd name="T3" fmla="*/ 198 h 198"/>
                            <a:gd name="T4" fmla="*/ 23 w 450"/>
                            <a:gd name="T5" fmla="*/ 198 h 198"/>
                            <a:gd name="T6" fmla="*/ 23 w 450"/>
                            <a:gd name="T7" fmla="*/ 39 h 198"/>
                            <a:gd name="T8" fmla="*/ 41 w 450"/>
                            <a:gd name="T9" fmla="*/ 22 h 198"/>
                            <a:gd name="T10" fmla="*/ 450 w 450"/>
                            <a:gd name="T11" fmla="*/ 22 h 198"/>
                            <a:gd name="T12" fmla="*/ 450 w 450"/>
                            <a:gd name="T13" fmla="*/ 0 h 198"/>
                            <a:gd name="T14" fmla="*/ 41 w 450"/>
                            <a:gd name="T15" fmla="*/ 0 h 198"/>
                            <a:gd name="T16" fmla="*/ 0 w 450"/>
                            <a:gd name="T17" fmla="*/ 39 h 19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50" h="198">
                              <a:moveTo>
                                <a:pt x="0" y="39"/>
                              </a:moveTo>
                              <a:cubicBezTo>
                                <a:pt x="0" y="198"/>
                                <a:pt x="0" y="198"/>
                                <a:pt x="0" y="198"/>
                              </a:cubicBezTo>
                              <a:cubicBezTo>
                                <a:pt x="23" y="198"/>
                                <a:pt x="23" y="198"/>
                                <a:pt x="23" y="198"/>
                              </a:cubicBezTo>
                              <a:cubicBezTo>
                                <a:pt x="23" y="39"/>
                                <a:pt x="23" y="39"/>
                                <a:pt x="23" y="39"/>
                              </a:cubicBezTo>
                              <a:cubicBezTo>
                                <a:pt x="23" y="30"/>
                                <a:pt x="31" y="22"/>
                                <a:pt x="41" y="22"/>
                              </a:cubicBezTo>
                              <a:cubicBezTo>
                                <a:pt x="450" y="22"/>
                                <a:pt x="450" y="22"/>
                                <a:pt x="450" y="22"/>
                              </a:cubicBezTo>
                              <a:cubicBezTo>
                                <a:pt x="450" y="0"/>
                                <a:pt x="450" y="0"/>
                                <a:pt x="450" y="0"/>
                              </a:cubicBezTo>
                              <a:cubicBezTo>
                                <a:pt x="41" y="0"/>
                                <a:pt x="41" y="0"/>
                                <a:pt x="41" y="0"/>
                              </a:cubicBezTo>
                              <a:cubicBezTo>
                                <a:pt x="18" y="0"/>
                                <a:pt x="0" y="17"/>
                                <a:pt x="0" y="3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EFF1F3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6" name="Rectangle 698">
                          <a:extLst>
                            <a:ext uri="{FF2B5EF4-FFF2-40B4-BE49-F238E27FC236}">
                              <a16:creationId xmlns:a16="http://schemas.microsoft.com/office/drawing/2014/main" id="{855942B7-C8A5-4914-9313-4422333A7E82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600032" y="6004724"/>
                          <a:ext cx="53750" cy="20375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87" name="Rectangle 699">
                          <a:extLst>
                            <a:ext uri="{FF2B5EF4-FFF2-40B4-BE49-F238E27FC236}">
                              <a16:creationId xmlns:a16="http://schemas.microsoft.com/office/drawing/2014/main" id="{D0216504-E01D-4B26-B90F-BB02C075BB7A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515164" y="6004724"/>
                          <a:ext cx="50920" cy="20375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pic>
                    <p:nvPicPr>
                      <p:cNvPr id="479" name="Bild 2098">
                        <a:extLst>
                          <a:ext uri="{FF2B5EF4-FFF2-40B4-BE49-F238E27FC236}">
                            <a16:creationId xmlns:a16="http://schemas.microsoft.com/office/drawing/2014/main" id="{39540EAF-77E8-4EB2-BD3E-3577711BDF1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70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622237" y="4316757"/>
                        <a:ext cx="144137" cy="38241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480" name="Bild 2099">
                        <a:extLst>
                          <a:ext uri="{FF2B5EF4-FFF2-40B4-BE49-F238E27FC236}">
                            <a16:creationId xmlns:a16="http://schemas.microsoft.com/office/drawing/2014/main" id="{B1E3FEE6-C597-4C12-ADDD-D1C0443718D7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7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352216" y="4479110"/>
                        <a:ext cx="141772" cy="22006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481" name="Bild 2110">
                        <a:extLst>
                          <a:ext uri="{FF2B5EF4-FFF2-40B4-BE49-F238E27FC236}">
                            <a16:creationId xmlns:a16="http://schemas.microsoft.com/office/drawing/2014/main" id="{63A965DC-CC8A-4563-83A2-94338B18FE9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7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159466" y="4420981"/>
                        <a:ext cx="117777" cy="151607"/>
                      </a:xfrm>
                      <a:prstGeom prst="rect">
                        <a:avLst/>
                      </a:prstGeom>
                    </p:spPr>
                  </p:pic>
                </p:grpSp>
              </p:grpSp>
              <p:grpSp>
                <p:nvGrpSpPr>
                  <p:cNvPr id="200" name="Gruppieren 1385">
                    <a:extLst>
                      <a:ext uri="{FF2B5EF4-FFF2-40B4-BE49-F238E27FC236}">
                        <a16:creationId xmlns:a16="http://schemas.microsoft.com/office/drawing/2014/main" id="{9FF9FE7F-59BA-4E5E-B18D-961346590509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975197" y="1633471"/>
                    <a:ext cx="4824002" cy="497224"/>
                    <a:chOff x="1749703" y="1633471"/>
                    <a:chExt cx="4824002" cy="497224"/>
                  </a:xfrm>
                </p:grpSpPr>
                <p:sp>
                  <p:nvSpPr>
                    <p:cNvPr id="468" name="Rectangle 7">
                      <a:extLst>
                        <a:ext uri="{FF2B5EF4-FFF2-40B4-BE49-F238E27FC236}">
                          <a16:creationId xmlns:a16="http://schemas.microsoft.com/office/drawing/2014/main" id="{BDFB1076-AB16-42FF-9AC4-AA43069F1B7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820339" y="1633471"/>
                      <a:ext cx="251332" cy="36000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469" name="Rectangle 6">
                      <a:extLst>
                        <a:ext uri="{FF2B5EF4-FFF2-40B4-BE49-F238E27FC236}">
                          <a16:creationId xmlns:a16="http://schemas.microsoft.com/office/drawing/2014/main" id="{7E244963-A163-484E-9F37-7050E1521CA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846466" y="1669194"/>
                      <a:ext cx="199086" cy="191675"/>
                    </a:xfrm>
                    <a:prstGeom prst="rect">
                      <a:avLst/>
                    </a:prstGeom>
                    <a:solidFill>
                      <a:srgbClr val="EEEBE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470" name="Freeform 19">
                      <a:extLst>
                        <a:ext uri="{FF2B5EF4-FFF2-40B4-BE49-F238E27FC236}">
                          <a16:creationId xmlns:a16="http://schemas.microsoft.com/office/drawing/2014/main" id="{3A945639-312F-4182-A68A-54DD33EBA38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775742" y="1849192"/>
                      <a:ext cx="4781405" cy="261509"/>
                    </a:xfrm>
                    <a:custGeom>
                      <a:avLst/>
                      <a:gdLst>
                        <a:gd name="T0" fmla="*/ 38 w 1635"/>
                        <a:gd name="T1" fmla="*/ 0 h 176"/>
                        <a:gd name="T2" fmla="*/ 0 w 1635"/>
                        <a:gd name="T3" fmla="*/ 176 h 176"/>
                        <a:gd name="T4" fmla="*/ 1635 w 1635"/>
                        <a:gd name="T5" fmla="*/ 176 h 176"/>
                        <a:gd name="T6" fmla="*/ 1596 w 1635"/>
                        <a:gd name="T7" fmla="*/ 0 h 176"/>
                        <a:gd name="T8" fmla="*/ 38 w 1635"/>
                        <a:gd name="T9" fmla="*/ 0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35" h="176">
                          <a:moveTo>
                            <a:pt x="38" y="0"/>
                          </a:moveTo>
                          <a:lnTo>
                            <a:pt x="0" y="176"/>
                          </a:lnTo>
                          <a:lnTo>
                            <a:pt x="1635" y="176"/>
                          </a:lnTo>
                          <a:lnTo>
                            <a:pt x="1596" y="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91818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471" name="Rectangle 592">
                      <a:extLst>
                        <a:ext uri="{FF2B5EF4-FFF2-40B4-BE49-F238E27FC236}">
                          <a16:creationId xmlns:a16="http://schemas.microsoft.com/office/drawing/2014/main" id="{6CDA6C17-602F-479E-A8CB-BF5405CFB5E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1749703" y="2104021"/>
                      <a:ext cx="4824002" cy="26674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472" name="Rectangle 593">
                      <a:extLst>
                        <a:ext uri="{FF2B5EF4-FFF2-40B4-BE49-F238E27FC236}">
                          <a16:creationId xmlns:a16="http://schemas.microsoft.com/office/drawing/2014/main" id="{3CCF707D-8972-46DF-8195-9E3CA9A5E0B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1875154" y="1838016"/>
                      <a:ext cx="4576798" cy="32796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rPr>
                        <a:t> </a:t>
                      </a:r>
                    </a:p>
                  </p:txBody>
                </p:sp>
              </p:grpSp>
              <p:grpSp>
                <p:nvGrpSpPr>
                  <p:cNvPr id="201" name="Gruppieren 2359">
                    <a:extLst>
                      <a:ext uri="{FF2B5EF4-FFF2-40B4-BE49-F238E27FC236}">
                        <a16:creationId xmlns:a16="http://schemas.microsoft.com/office/drawing/2014/main" id="{03C20178-B0DE-4B17-822E-0DDDD61438BE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261268" y="2220322"/>
                    <a:ext cx="4293295" cy="1798614"/>
                    <a:chOff x="1811697" y="2220322"/>
                    <a:chExt cx="4293295" cy="1798614"/>
                  </a:xfrm>
                </p:grpSpPr>
                <p:grpSp>
                  <p:nvGrpSpPr>
                    <p:cNvPr id="221" name="Gruppieren 1880">
                      <a:extLst>
                        <a:ext uri="{FF2B5EF4-FFF2-40B4-BE49-F238E27FC236}">
                          <a16:creationId xmlns:a16="http://schemas.microsoft.com/office/drawing/2014/main" id="{D990C910-A9DA-41B1-84DB-6C4DEBB6CF97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5996992" y="2267381"/>
                      <a:ext cx="108000" cy="131219"/>
                      <a:chOff x="3323128" y="2881202"/>
                      <a:chExt cx="177780" cy="216000"/>
                    </a:xfrm>
                  </p:grpSpPr>
                  <p:sp>
                    <p:nvSpPr>
                      <p:cNvPr id="464" name="Rectangle 342">
                        <a:extLst>
                          <a:ext uri="{FF2B5EF4-FFF2-40B4-BE49-F238E27FC236}">
                            <a16:creationId xmlns:a16="http://schemas.microsoft.com/office/drawing/2014/main" id="{691860EE-0368-4481-A9EF-0FE0D99F25C4}"/>
                          </a:ext>
                        </a:extLst>
                      </p:cNvPr>
                      <p:cNvSpPr>
                        <a:spLocks noChangeAspect="1" noChangeArrowheads="1"/>
                      </p:cNvSpPr>
                      <p:nvPr/>
                    </p:nvSpPr>
                    <p:spPr bwMode="gray">
                      <a:xfrm>
                        <a:off x="3323128" y="2881202"/>
                        <a:ext cx="177780" cy="216000"/>
                      </a:xfrm>
                      <a:prstGeom prst="rect">
                        <a:avLst/>
                      </a:prstGeom>
                      <a:solidFill>
                        <a:schemeClr val="tx2">
                          <a:lumMod val="75000"/>
                        </a:scheme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465" name="Gruppieren 1882">
                        <a:extLst>
                          <a:ext uri="{FF2B5EF4-FFF2-40B4-BE49-F238E27FC236}">
                            <a16:creationId xmlns:a16="http://schemas.microsoft.com/office/drawing/2014/main" id="{4A510DBA-B8FA-40AA-AE90-8C10C0B0DE51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337606" y="2883044"/>
                        <a:ext cx="160001" cy="194399"/>
                        <a:chOff x="3526369" y="2881204"/>
                        <a:chExt cx="160001" cy="194399"/>
                      </a:xfrm>
                    </p:grpSpPr>
                    <p:sp>
                      <p:nvSpPr>
                        <p:cNvPr id="466" name="Rectangle 342">
                          <a:extLst>
                            <a:ext uri="{FF2B5EF4-FFF2-40B4-BE49-F238E27FC236}">
                              <a16:creationId xmlns:a16="http://schemas.microsoft.com/office/drawing/2014/main" id="{3844DBEE-4188-41A1-A12E-EF6F91ACF88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526369" y="2881204"/>
                          <a:ext cx="160001" cy="194399"/>
                        </a:xfrm>
                        <a:prstGeom prst="rect">
                          <a:avLst/>
                        </a:prstGeom>
                        <a:solidFill>
                          <a:srgbClr val="F6F6F6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467" name="Rectangle 343">
                          <a:extLst>
                            <a:ext uri="{FF2B5EF4-FFF2-40B4-BE49-F238E27FC236}">
                              <a16:creationId xmlns:a16="http://schemas.microsoft.com/office/drawing/2014/main" id="{CC80BCCD-6384-4C2C-AFC4-C3478859F60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552735" y="2913337"/>
                          <a:ext cx="106667" cy="18514"/>
                        </a:xfrm>
                        <a:prstGeom prst="rect">
                          <a:avLst/>
                        </a:prstGeom>
                        <a:solidFill>
                          <a:srgbClr val="706F6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222" name="Gruppieren 2358">
                      <a:extLst>
                        <a:ext uri="{FF2B5EF4-FFF2-40B4-BE49-F238E27FC236}">
                          <a16:creationId xmlns:a16="http://schemas.microsoft.com/office/drawing/2014/main" id="{F8C831C8-4603-4444-A58A-8FA65388C1FD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811697" y="2220322"/>
                      <a:ext cx="4068686" cy="1798614"/>
                      <a:chOff x="1811697" y="2220322"/>
                      <a:chExt cx="4068686" cy="1798614"/>
                    </a:xfrm>
                  </p:grpSpPr>
                  <p:grpSp>
                    <p:nvGrpSpPr>
                      <p:cNvPr id="223" name="Gruppieren 2356">
                        <a:extLst>
                          <a:ext uri="{FF2B5EF4-FFF2-40B4-BE49-F238E27FC236}">
                            <a16:creationId xmlns:a16="http://schemas.microsoft.com/office/drawing/2014/main" id="{0E4ED66C-E2AF-4398-BB68-546F8619A919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220125" y="2620688"/>
                        <a:ext cx="86977" cy="1323366"/>
                        <a:chOff x="4220125" y="2620688"/>
                        <a:chExt cx="86977" cy="1323366"/>
                      </a:xfrm>
                    </p:grpSpPr>
                    <p:grpSp>
                      <p:nvGrpSpPr>
                        <p:cNvPr id="422" name="Gruppieren 1817">
                          <a:extLst>
                            <a:ext uri="{FF2B5EF4-FFF2-40B4-BE49-F238E27FC236}">
                              <a16:creationId xmlns:a16="http://schemas.microsoft.com/office/drawing/2014/main" id="{1DC6432D-5179-4DCB-BC6F-175F47E814D8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702" y="2620688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451" name="Gruppieren 1818">
                            <a:extLst>
                              <a:ext uri="{FF2B5EF4-FFF2-40B4-BE49-F238E27FC236}">
                                <a16:creationId xmlns:a16="http://schemas.microsoft.com/office/drawing/2014/main" id="{85AD552B-C5B5-418B-834E-0DD4A64DE5C7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458" name="Oval 468">
                              <a:extLst>
                                <a:ext uri="{FF2B5EF4-FFF2-40B4-BE49-F238E27FC236}">
                                  <a16:creationId xmlns:a16="http://schemas.microsoft.com/office/drawing/2014/main" id="{1421453B-BA84-437C-88C3-C81CF5C8F63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459" name="Gruppieren 1826">
                              <a:extLst>
                                <a:ext uri="{FF2B5EF4-FFF2-40B4-BE49-F238E27FC236}">
                                  <a16:creationId xmlns:a16="http://schemas.microsoft.com/office/drawing/2014/main" id="{93494CD8-DDB3-4C82-9E2F-2DE13EC6E2C8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460" name="Oval 472">
                                <a:extLst>
                                  <a:ext uri="{FF2B5EF4-FFF2-40B4-BE49-F238E27FC236}">
                                    <a16:creationId xmlns:a16="http://schemas.microsoft.com/office/drawing/2014/main" id="{BA229FEC-5F28-4375-B464-85D94F1FAE4B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61" name="Freeform 473">
                                <a:extLst>
                                  <a:ext uri="{FF2B5EF4-FFF2-40B4-BE49-F238E27FC236}">
                                    <a16:creationId xmlns:a16="http://schemas.microsoft.com/office/drawing/2014/main" id="{B15A9FE8-E657-4A62-B8CA-80CA7A367B0F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62" name="Rectangle 474">
                                <a:extLst>
                                  <a:ext uri="{FF2B5EF4-FFF2-40B4-BE49-F238E27FC236}">
                                    <a16:creationId xmlns:a16="http://schemas.microsoft.com/office/drawing/2014/main" id="{CDD671DF-4252-4964-B86E-364BECFDCB34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63" name="Rectangle 475">
                                <a:extLst>
                                  <a:ext uri="{FF2B5EF4-FFF2-40B4-BE49-F238E27FC236}">
                                    <a16:creationId xmlns:a16="http://schemas.microsoft.com/office/drawing/2014/main" id="{0823F268-BD63-4D24-83F1-5C6542555491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452" name="Gruppieren 1819">
                            <a:extLst>
                              <a:ext uri="{FF2B5EF4-FFF2-40B4-BE49-F238E27FC236}">
                                <a16:creationId xmlns:a16="http://schemas.microsoft.com/office/drawing/2014/main" id="{335DC234-69EF-4933-8286-6B112B2AF722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453" name="Oval 476">
                              <a:extLst>
                                <a:ext uri="{FF2B5EF4-FFF2-40B4-BE49-F238E27FC236}">
                                  <a16:creationId xmlns:a16="http://schemas.microsoft.com/office/drawing/2014/main" id="{838806A5-69FE-4FA4-A849-1AAEFD7B10E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54" name="Oval 480">
                              <a:extLst>
                                <a:ext uri="{FF2B5EF4-FFF2-40B4-BE49-F238E27FC236}">
                                  <a16:creationId xmlns:a16="http://schemas.microsoft.com/office/drawing/2014/main" id="{5ADB41B6-85E6-4AA7-906F-62F722DBE47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55" name="Freeform 481">
                              <a:extLst>
                                <a:ext uri="{FF2B5EF4-FFF2-40B4-BE49-F238E27FC236}">
                                  <a16:creationId xmlns:a16="http://schemas.microsoft.com/office/drawing/2014/main" id="{9000364E-871E-489D-8E85-6251DB97CC78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56" name="Rectangle 482">
                              <a:extLst>
                                <a:ext uri="{FF2B5EF4-FFF2-40B4-BE49-F238E27FC236}">
                                  <a16:creationId xmlns:a16="http://schemas.microsoft.com/office/drawing/2014/main" id="{6B44E1D5-1DFD-480D-970D-59327868577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57" name="Rectangle 483">
                              <a:extLst>
                                <a:ext uri="{FF2B5EF4-FFF2-40B4-BE49-F238E27FC236}">
                                  <a16:creationId xmlns:a16="http://schemas.microsoft.com/office/drawing/2014/main" id="{A545BE2E-6E4C-4F4A-9C78-6732B3D511C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423" name="Gruppieren 1831">
                          <a:extLst>
                            <a:ext uri="{FF2B5EF4-FFF2-40B4-BE49-F238E27FC236}">
                              <a16:creationId xmlns:a16="http://schemas.microsoft.com/office/drawing/2014/main" id="{9CB6CCDE-3E6E-4114-9802-5038D26214E3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125" y="3266416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438" name="Gruppieren 1832">
                            <a:extLst>
                              <a:ext uri="{FF2B5EF4-FFF2-40B4-BE49-F238E27FC236}">
                                <a16:creationId xmlns:a16="http://schemas.microsoft.com/office/drawing/2014/main" id="{3D1D4B90-5414-4EAE-BEAF-1BAE0D207956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445" name="Oval 468">
                              <a:extLst>
                                <a:ext uri="{FF2B5EF4-FFF2-40B4-BE49-F238E27FC236}">
                                  <a16:creationId xmlns:a16="http://schemas.microsoft.com/office/drawing/2014/main" id="{0C6F797D-670B-4B4D-B970-DAEB1D4C79C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446" name="Gruppieren 1840">
                              <a:extLst>
                                <a:ext uri="{FF2B5EF4-FFF2-40B4-BE49-F238E27FC236}">
                                  <a16:creationId xmlns:a16="http://schemas.microsoft.com/office/drawing/2014/main" id="{A3D95D50-EB4F-463B-A017-5F1F9584AFA3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447" name="Oval 472">
                                <a:extLst>
                                  <a:ext uri="{FF2B5EF4-FFF2-40B4-BE49-F238E27FC236}">
                                    <a16:creationId xmlns:a16="http://schemas.microsoft.com/office/drawing/2014/main" id="{17F00C5A-845D-448F-8013-D2FAB09E522A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48" name="Freeform 473">
                                <a:extLst>
                                  <a:ext uri="{FF2B5EF4-FFF2-40B4-BE49-F238E27FC236}">
                                    <a16:creationId xmlns:a16="http://schemas.microsoft.com/office/drawing/2014/main" id="{75A17B90-8CFA-4973-84AE-0789714B24D2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49" name="Rectangle 474">
                                <a:extLst>
                                  <a:ext uri="{FF2B5EF4-FFF2-40B4-BE49-F238E27FC236}">
                                    <a16:creationId xmlns:a16="http://schemas.microsoft.com/office/drawing/2014/main" id="{8CF0D060-4BF3-4D85-98E1-ABE6FE3366A0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50" name="Rectangle 475">
                                <a:extLst>
                                  <a:ext uri="{FF2B5EF4-FFF2-40B4-BE49-F238E27FC236}">
                                    <a16:creationId xmlns:a16="http://schemas.microsoft.com/office/drawing/2014/main" id="{6DEA591B-CF2A-4B88-B051-D5E3724A1277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439" name="Gruppieren 1833">
                            <a:extLst>
                              <a:ext uri="{FF2B5EF4-FFF2-40B4-BE49-F238E27FC236}">
                                <a16:creationId xmlns:a16="http://schemas.microsoft.com/office/drawing/2014/main" id="{96B4DCF7-B404-47D2-9E9C-82F17A9D4D4A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440" name="Oval 476">
                              <a:extLst>
                                <a:ext uri="{FF2B5EF4-FFF2-40B4-BE49-F238E27FC236}">
                                  <a16:creationId xmlns:a16="http://schemas.microsoft.com/office/drawing/2014/main" id="{C3E2734C-63C4-4F16-A67C-FC4C62F9242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41" name="Oval 480">
                              <a:extLst>
                                <a:ext uri="{FF2B5EF4-FFF2-40B4-BE49-F238E27FC236}">
                                  <a16:creationId xmlns:a16="http://schemas.microsoft.com/office/drawing/2014/main" id="{8BB96162-9F05-4F76-9167-700B9F500A6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42" name="Freeform 481">
                              <a:extLst>
                                <a:ext uri="{FF2B5EF4-FFF2-40B4-BE49-F238E27FC236}">
                                  <a16:creationId xmlns:a16="http://schemas.microsoft.com/office/drawing/2014/main" id="{FD1FF46B-3BCF-4B6D-BB37-CBCCA7FB19F7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43" name="Rectangle 482">
                              <a:extLst>
                                <a:ext uri="{FF2B5EF4-FFF2-40B4-BE49-F238E27FC236}">
                                  <a16:creationId xmlns:a16="http://schemas.microsoft.com/office/drawing/2014/main" id="{EBD08903-4CD5-48C6-B812-5C2E98B6FFF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44" name="Rectangle 483">
                              <a:extLst>
                                <a:ext uri="{FF2B5EF4-FFF2-40B4-BE49-F238E27FC236}">
                                  <a16:creationId xmlns:a16="http://schemas.microsoft.com/office/drawing/2014/main" id="{A2B21AE9-C22E-447B-A93E-A0B51B6CD01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424" name="Gruppieren 1845">
                          <a:extLst>
                            <a:ext uri="{FF2B5EF4-FFF2-40B4-BE49-F238E27FC236}">
                              <a16:creationId xmlns:a16="http://schemas.microsoft.com/office/drawing/2014/main" id="{B6688967-890A-44B2-8E94-9DAE11C572B8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158" y="3902183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425" name="Gruppieren 1846">
                            <a:extLst>
                              <a:ext uri="{FF2B5EF4-FFF2-40B4-BE49-F238E27FC236}">
                                <a16:creationId xmlns:a16="http://schemas.microsoft.com/office/drawing/2014/main" id="{3FC4CBE8-F947-4485-B301-CBAA1865CFD3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432" name="Oval 468">
                              <a:extLst>
                                <a:ext uri="{FF2B5EF4-FFF2-40B4-BE49-F238E27FC236}">
                                  <a16:creationId xmlns:a16="http://schemas.microsoft.com/office/drawing/2014/main" id="{C32C617A-C30A-4ED1-B226-DAAEDAB3FCB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433" name="Gruppieren 1854">
                              <a:extLst>
                                <a:ext uri="{FF2B5EF4-FFF2-40B4-BE49-F238E27FC236}">
                                  <a16:creationId xmlns:a16="http://schemas.microsoft.com/office/drawing/2014/main" id="{06F39418-5A4E-41BB-AF27-EC1B653A6783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434" name="Oval 472">
                                <a:extLst>
                                  <a:ext uri="{FF2B5EF4-FFF2-40B4-BE49-F238E27FC236}">
                                    <a16:creationId xmlns:a16="http://schemas.microsoft.com/office/drawing/2014/main" id="{11F0ABBD-FDFB-49CD-A800-68E2CAF37253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35" name="Freeform 473">
                                <a:extLst>
                                  <a:ext uri="{FF2B5EF4-FFF2-40B4-BE49-F238E27FC236}">
                                    <a16:creationId xmlns:a16="http://schemas.microsoft.com/office/drawing/2014/main" id="{9BAD9039-49CF-4C02-B902-190BAC54F075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36" name="Rectangle 474">
                                <a:extLst>
                                  <a:ext uri="{FF2B5EF4-FFF2-40B4-BE49-F238E27FC236}">
                                    <a16:creationId xmlns:a16="http://schemas.microsoft.com/office/drawing/2014/main" id="{8E30694E-AEEF-46CA-9B7B-B37FF684ADF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37" name="Rectangle 475">
                                <a:extLst>
                                  <a:ext uri="{FF2B5EF4-FFF2-40B4-BE49-F238E27FC236}">
                                    <a16:creationId xmlns:a16="http://schemas.microsoft.com/office/drawing/2014/main" id="{9A0637CF-1011-4A4D-BA32-5B5294E86C1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426" name="Gruppieren 1847">
                            <a:extLst>
                              <a:ext uri="{FF2B5EF4-FFF2-40B4-BE49-F238E27FC236}">
                                <a16:creationId xmlns:a16="http://schemas.microsoft.com/office/drawing/2014/main" id="{B34DCC4A-FAA9-45D2-93F3-4EC89C9D2348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427" name="Oval 476">
                              <a:extLst>
                                <a:ext uri="{FF2B5EF4-FFF2-40B4-BE49-F238E27FC236}">
                                  <a16:creationId xmlns:a16="http://schemas.microsoft.com/office/drawing/2014/main" id="{3DB0AD18-A323-4954-BDB2-976C4B48453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28" name="Oval 480">
                              <a:extLst>
                                <a:ext uri="{FF2B5EF4-FFF2-40B4-BE49-F238E27FC236}">
                                  <a16:creationId xmlns:a16="http://schemas.microsoft.com/office/drawing/2014/main" id="{82E8AF34-DAA9-4220-B571-8F78CD7F6CF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29" name="Freeform 481">
                              <a:extLst>
                                <a:ext uri="{FF2B5EF4-FFF2-40B4-BE49-F238E27FC236}">
                                  <a16:creationId xmlns:a16="http://schemas.microsoft.com/office/drawing/2014/main" id="{975564D5-D60B-41B5-B045-2AB18CBA5F82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30" name="Rectangle 482">
                              <a:extLst>
                                <a:ext uri="{FF2B5EF4-FFF2-40B4-BE49-F238E27FC236}">
                                  <a16:creationId xmlns:a16="http://schemas.microsoft.com/office/drawing/2014/main" id="{D5E8EA9C-5206-4B2F-8647-A8C8FD1BF14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31" name="Rectangle 483">
                              <a:extLst>
                                <a:ext uri="{FF2B5EF4-FFF2-40B4-BE49-F238E27FC236}">
                                  <a16:creationId xmlns:a16="http://schemas.microsoft.com/office/drawing/2014/main" id="{26115290-4F17-4EDE-8FCC-EE195F91966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224" name="Gruppieren 2357">
                        <a:extLst>
                          <a:ext uri="{FF2B5EF4-FFF2-40B4-BE49-F238E27FC236}">
                            <a16:creationId xmlns:a16="http://schemas.microsoft.com/office/drawing/2014/main" id="{44D88323-1544-4393-AE31-0BE94D5EFAA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380444" y="2599259"/>
                        <a:ext cx="86977" cy="1419677"/>
                        <a:chOff x="5380444" y="2599259"/>
                        <a:chExt cx="86977" cy="1419677"/>
                      </a:xfrm>
                    </p:grpSpPr>
                    <p:grpSp>
                      <p:nvGrpSpPr>
                        <p:cNvPr id="359" name="Gruppieren 98">
                          <a:extLst>
                            <a:ext uri="{FF2B5EF4-FFF2-40B4-BE49-F238E27FC236}">
                              <a16:creationId xmlns:a16="http://schemas.microsoft.com/office/drawing/2014/main" id="{18A0E859-4AC1-4E9F-A22D-2EBD4ED8604F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1021" y="2599259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409" name="Gruppieren 1776">
                            <a:extLst>
                              <a:ext uri="{FF2B5EF4-FFF2-40B4-BE49-F238E27FC236}">
                                <a16:creationId xmlns:a16="http://schemas.microsoft.com/office/drawing/2014/main" id="{5C64EC11-5087-4911-BCDD-CCBE70D083D3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416" name="Oval 468">
                              <a:extLst>
                                <a:ext uri="{FF2B5EF4-FFF2-40B4-BE49-F238E27FC236}">
                                  <a16:creationId xmlns:a16="http://schemas.microsoft.com/office/drawing/2014/main" id="{F7700159-D48B-46BF-9B73-0B38BFA70B6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417" name="Gruppieren 1784">
                              <a:extLst>
                                <a:ext uri="{FF2B5EF4-FFF2-40B4-BE49-F238E27FC236}">
                                  <a16:creationId xmlns:a16="http://schemas.microsoft.com/office/drawing/2014/main" id="{CFB36119-4126-4EAD-B276-D2E4EFCC522E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418" name="Oval 472">
                                <a:extLst>
                                  <a:ext uri="{FF2B5EF4-FFF2-40B4-BE49-F238E27FC236}">
                                    <a16:creationId xmlns:a16="http://schemas.microsoft.com/office/drawing/2014/main" id="{0489DCCF-A669-49CB-94A3-DFBE8DBF8B72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19" name="Freeform 473">
                                <a:extLst>
                                  <a:ext uri="{FF2B5EF4-FFF2-40B4-BE49-F238E27FC236}">
                                    <a16:creationId xmlns:a16="http://schemas.microsoft.com/office/drawing/2014/main" id="{D30E56E7-D124-42A7-89BD-7E6CBB2C6558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20" name="Rectangle 474">
                                <a:extLst>
                                  <a:ext uri="{FF2B5EF4-FFF2-40B4-BE49-F238E27FC236}">
                                    <a16:creationId xmlns:a16="http://schemas.microsoft.com/office/drawing/2014/main" id="{F678FACB-B0A7-4EDA-913D-EE95DF82FB5E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21" name="Rectangle 475">
                                <a:extLst>
                                  <a:ext uri="{FF2B5EF4-FFF2-40B4-BE49-F238E27FC236}">
                                    <a16:creationId xmlns:a16="http://schemas.microsoft.com/office/drawing/2014/main" id="{816F3171-F504-4204-8C1B-F984A589091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410" name="Gruppieren 1777">
                            <a:extLst>
                              <a:ext uri="{FF2B5EF4-FFF2-40B4-BE49-F238E27FC236}">
                                <a16:creationId xmlns:a16="http://schemas.microsoft.com/office/drawing/2014/main" id="{EE4F2006-4563-4FB2-B6A8-8B629B201DB1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411" name="Oval 476">
                              <a:extLst>
                                <a:ext uri="{FF2B5EF4-FFF2-40B4-BE49-F238E27FC236}">
                                  <a16:creationId xmlns:a16="http://schemas.microsoft.com/office/drawing/2014/main" id="{36B43FA3-E8A5-4752-8A0E-14C68E26E92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12" name="Oval 480">
                              <a:extLst>
                                <a:ext uri="{FF2B5EF4-FFF2-40B4-BE49-F238E27FC236}">
                                  <a16:creationId xmlns:a16="http://schemas.microsoft.com/office/drawing/2014/main" id="{C71D380A-D70E-447C-87C3-D3C5B854783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13" name="Freeform 481">
                              <a:extLst>
                                <a:ext uri="{FF2B5EF4-FFF2-40B4-BE49-F238E27FC236}">
                                  <a16:creationId xmlns:a16="http://schemas.microsoft.com/office/drawing/2014/main" id="{8ED48509-89E0-493A-9665-ACF7A883418F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14" name="Rectangle 482">
                              <a:extLst>
                                <a:ext uri="{FF2B5EF4-FFF2-40B4-BE49-F238E27FC236}">
                                  <a16:creationId xmlns:a16="http://schemas.microsoft.com/office/drawing/2014/main" id="{8E982C34-2BE3-46D9-85CA-C393C6BF6D8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15" name="Rectangle 483">
                              <a:extLst>
                                <a:ext uri="{FF2B5EF4-FFF2-40B4-BE49-F238E27FC236}">
                                  <a16:creationId xmlns:a16="http://schemas.microsoft.com/office/drawing/2014/main" id="{0B37FB7A-AE8A-4E67-ADE5-36060E2D403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360" name="Gruppieren 1789">
                          <a:extLst>
                            <a:ext uri="{FF2B5EF4-FFF2-40B4-BE49-F238E27FC236}">
                              <a16:creationId xmlns:a16="http://schemas.microsoft.com/office/drawing/2014/main" id="{1F6C3519-A62E-47AC-92D2-D030DD5B9006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0444" y="3244987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396" name="Gruppieren 1790">
                            <a:extLst>
                              <a:ext uri="{FF2B5EF4-FFF2-40B4-BE49-F238E27FC236}">
                                <a16:creationId xmlns:a16="http://schemas.microsoft.com/office/drawing/2014/main" id="{E5352193-AEBC-45E6-BFDB-E52D5E820E83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403" name="Oval 468">
                              <a:extLst>
                                <a:ext uri="{FF2B5EF4-FFF2-40B4-BE49-F238E27FC236}">
                                  <a16:creationId xmlns:a16="http://schemas.microsoft.com/office/drawing/2014/main" id="{D06820BE-29E2-40DF-9665-58362F5FBA9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404" name="Gruppieren 1798">
                              <a:extLst>
                                <a:ext uri="{FF2B5EF4-FFF2-40B4-BE49-F238E27FC236}">
                                  <a16:creationId xmlns:a16="http://schemas.microsoft.com/office/drawing/2014/main" id="{0CEA430D-D1ED-4D0F-8311-FAA235D26A6B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405" name="Oval 472">
                                <a:extLst>
                                  <a:ext uri="{FF2B5EF4-FFF2-40B4-BE49-F238E27FC236}">
                                    <a16:creationId xmlns:a16="http://schemas.microsoft.com/office/drawing/2014/main" id="{5B4BA506-5B34-4BC3-AE96-A80EBC2328EF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06" name="Freeform 473">
                                <a:extLst>
                                  <a:ext uri="{FF2B5EF4-FFF2-40B4-BE49-F238E27FC236}">
                                    <a16:creationId xmlns:a16="http://schemas.microsoft.com/office/drawing/2014/main" id="{3B0812D1-2ABC-41B6-968B-E48740E18318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07" name="Rectangle 474">
                                <a:extLst>
                                  <a:ext uri="{FF2B5EF4-FFF2-40B4-BE49-F238E27FC236}">
                                    <a16:creationId xmlns:a16="http://schemas.microsoft.com/office/drawing/2014/main" id="{FC03B6FB-7240-49C7-80E8-D07B644256A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408" name="Rectangle 475">
                                <a:extLst>
                                  <a:ext uri="{FF2B5EF4-FFF2-40B4-BE49-F238E27FC236}">
                                    <a16:creationId xmlns:a16="http://schemas.microsoft.com/office/drawing/2014/main" id="{830BB86C-D318-4746-B9D6-BDA88A1CCAD3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397" name="Gruppieren 1791">
                            <a:extLst>
                              <a:ext uri="{FF2B5EF4-FFF2-40B4-BE49-F238E27FC236}">
                                <a16:creationId xmlns:a16="http://schemas.microsoft.com/office/drawing/2014/main" id="{F105FB98-BFA6-4E35-B01B-1B551FE76280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398" name="Oval 476">
                              <a:extLst>
                                <a:ext uri="{FF2B5EF4-FFF2-40B4-BE49-F238E27FC236}">
                                  <a16:creationId xmlns:a16="http://schemas.microsoft.com/office/drawing/2014/main" id="{DBA3F270-88CA-443A-8362-99E334F858E3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99" name="Oval 480">
                              <a:extLst>
                                <a:ext uri="{FF2B5EF4-FFF2-40B4-BE49-F238E27FC236}">
                                  <a16:creationId xmlns:a16="http://schemas.microsoft.com/office/drawing/2014/main" id="{9321ADB2-D151-4801-BE64-B2F803D05DA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00" name="Freeform 481">
                              <a:extLst>
                                <a:ext uri="{FF2B5EF4-FFF2-40B4-BE49-F238E27FC236}">
                                  <a16:creationId xmlns:a16="http://schemas.microsoft.com/office/drawing/2014/main" id="{76AFC765-4C31-4BEE-A1EF-D80184578751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01" name="Rectangle 482">
                              <a:extLst>
                                <a:ext uri="{FF2B5EF4-FFF2-40B4-BE49-F238E27FC236}">
                                  <a16:creationId xmlns:a16="http://schemas.microsoft.com/office/drawing/2014/main" id="{3D46E099-2571-4926-B396-F53ABC39B7A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402" name="Rectangle 483">
                              <a:extLst>
                                <a:ext uri="{FF2B5EF4-FFF2-40B4-BE49-F238E27FC236}">
                                  <a16:creationId xmlns:a16="http://schemas.microsoft.com/office/drawing/2014/main" id="{E2937578-5303-4CB7-B5EF-78DE8661D63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361" name="Gruppieren 1803">
                          <a:extLst>
                            <a:ext uri="{FF2B5EF4-FFF2-40B4-BE49-F238E27FC236}">
                              <a16:creationId xmlns:a16="http://schemas.microsoft.com/office/drawing/2014/main" id="{48C8CFA6-D3CC-4ED5-821E-BC1A0C3779FE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0477" y="3880754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383" name="Gruppieren 1804">
                            <a:extLst>
                              <a:ext uri="{FF2B5EF4-FFF2-40B4-BE49-F238E27FC236}">
                                <a16:creationId xmlns:a16="http://schemas.microsoft.com/office/drawing/2014/main" id="{6E445EE4-6457-425A-9FC2-EEBF824AAFB3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390" name="Oval 468">
                              <a:extLst>
                                <a:ext uri="{FF2B5EF4-FFF2-40B4-BE49-F238E27FC236}">
                                  <a16:creationId xmlns:a16="http://schemas.microsoft.com/office/drawing/2014/main" id="{7F0C6666-4A31-4EC7-98FD-AA155329282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391" name="Gruppieren 1812">
                              <a:extLst>
                                <a:ext uri="{FF2B5EF4-FFF2-40B4-BE49-F238E27FC236}">
                                  <a16:creationId xmlns:a16="http://schemas.microsoft.com/office/drawing/2014/main" id="{2A980972-A6FD-4CA6-BCAD-F3B7BD867D9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392" name="Oval 472">
                                <a:extLst>
                                  <a:ext uri="{FF2B5EF4-FFF2-40B4-BE49-F238E27FC236}">
                                    <a16:creationId xmlns:a16="http://schemas.microsoft.com/office/drawing/2014/main" id="{3D0FC356-FDD0-4F62-AC44-952251A976AC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93" name="Freeform 473">
                                <a:extLst>
                                  <a:ext uri="{FF2B5EF4-FFF2-40B4-BE49-F238E27FC236}">
                                    <a16:creationId xmlns:a16="http://schemas.microsoft.com/office/drawing/2014/main" id="{414EDFA8-DE4A-4262-90BA-36534F05824D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94" name="Rectangle 474">
                                <a:extLst>
                                  <a:ext uri="{FF2B5EF4-FFF2-40B4-BE49-F238E27FC236}">
                                    <a16:creationId xmlns:a16="http://schemas.microsoft.com/office/drawing/2014/main" id="{9173BF3B-6550-4F76-9334-A5AFFC2E86AB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95" name="Rectangle 475">
                                <a:extLst>
                                  <a:ext uri="{FF2B5EF4-FFF2-40B4-BE49-F238E27FC236}">
                                    <a16:creationId xmlns:a16="http://schemas.microsoft.com/office/drawing/2014/main" id="{36DECAB7-3C0C-4B6A-8CA6-D038FCFC9FAF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384" name="Gruppieren 1805">
                            <a:extLst>
                              <a:ext uri="{FF2B5EF4-FFF2-40B4-BE49-F238E27FC236}">
                                <a16:creationId xmlns:a16="http://schemas.microsoft.com/office/drawing/2014/main" id="{4A90A68C-F97C-4034-A14F-B41DEBAC80F1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385" name="Oval 476">
                              <a:extLst>
                                <a:ext uri="{FF2B5EF4-FFF2-40B4-BE49-F238E27FC236}">
                                  <a16:creationId xmlns:a16="http://schemas.microsoft.com/office/drawing/2014/main" id="{9FE939C3-4314-49C5-9772-470644597E7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6" name="Oval 480">
                              <a:extLst>
                                <a:ext uri="{FF2B5EF4-FFF2-40B4-BE49-F238E27FC236}">
                                  <a16:creationId xmlns:a16="http://schemas.microsoft.com/office/drawing/2014/main" id="{F44CC27A-B1CC-4EE6-B4B7-03E75383A89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7" name="Freeform 481">
                              <a:extLst>
                                <a:ext uri="{FF2B5EF4-FFF2-40B4-BE49-F238E27FC236}">
                                  <a16:creationId xmlns:a16="http://schemas.microsoft.com/office/drawing/2014/main" id="{C774211F-33AA-4B60-A518-E712D23E9BB6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8" name="Rectangle 482">
                              <a:extLst>
                                <a:ext uri="{FF2B5EF4-FFF2-40B4-BE49-F238E27FC236}">
                                  <a16:creationId xmlns:a16="http://schemas.microsoft.com/office/drawing/2014/main" id="{62A6380F-89E1-4A13-940E-E34350EB865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9" name="Rectangle 483">
                              <a:extLst>
                                <a:ext uri="{FF2B5EF4-FFF2-40B4-BE49-F238E27FC236}">
                                  <a16:creationId xmlns:a16="http://schemas.microsoft.com/office/drawing/2014/main" id="{A604374C-2E8A-4BD0-968B-214A25CEAA4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362" name="Gruppieren 1859">
                          <a:extLst>
                            <a:ext uri="{FF2B5EF4-FFF2-40B4-BE49-F238E27FC236}">
                              <a16:creationId xmlns:a16="http://schemas.microsoft.com/office/drawing/2014/main" id="{59D0393F-F2E7-4B0A-A651-AB9289B1924A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2692492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377" name="Freeform 350">
                            <a:extLst>
                              <a:ext uri="{FF2B5EF4-FFF2-40B4-BE49-F238E27FC236}">
                                <a16:creationId xmlns:a16="http://schemas.microsoft.com/office/drawing/2014/main" id="{80D6061C-24A6-4DBB-B029-C19539DCBDA4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378" name="Gruppieren 1861">
                            <a:extLst>
                              <a:ext uri="{FF2B5EF4-FFF2-40B4-BE49-F238E27FC236}">
                                <a16:creationId xmlns:a16="http://schemas.microsoft.com/office/drawing/2014/main" id="{F17870E8-E1A6-46C9-A0C0-871315C06A2B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379" name="Freeform 350">
                              <a:extLst>
                                <a:ext uri="{FF2B5EF4-FFF2-40B4-BE49-F238E27FC236}">
                                  <a16:creationId xmlns:a16="http://schemas.microsoft.com/office/drawing/2014/main" id="{75E500A6-C012-4382-B49E-F0C5DC4EBAFA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0" name="Freeform 351">
                              <a:extLst>
                                <a:ext uri="{FF2B5EF4-FFF2-40B4-BE49-F238E27FC236}">
                                  <a16:creationId xmlns:a16="http://schemas.microsoft.com/office/drawing/2014/main" id="{23EDE5D8-3ACB-4DEC-833D-44595EE391DC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1" name="Freeform 352">
                              <a:extLst>
                                <a:ext uri="{FF2B5EF4-FFF2-40B4-BE49-F238E27FC236}">
                                  <a16:creationId xmlns:a16="http://schemas.microsoft.com/office/drawing/2014/main" id="{FAFD6157-F0E0-4424-BF6F-F9AE64A470AE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82" name="Freeform 353">
                              <a:extLst>
                                <a:ext uri="{FF2B5EF4-FFF2-40B4-BE49-F238E27FC236}">
                                  <a16:creationId xmlns:a16="http://schemas.microsoft.com/office/drawing/2014/main" id="{B106F1F4-CA7A-4DAE-BC91-7274250BAF8F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363" name="Gruppieren 1866">
                          <a:extLst>
                            <a:ext uri="{FF2B5EF4-FFF2-40B4-BE49-F238E27FC236}">
                              <a16:creationId xmlns:a16="http://schemas.microsoft.com/office/drawing/2014/main" id="{C9E49882-2D21-47DC-9698-5A8FFA4F6FE4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3333476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371" name="Freeform 350">
                            <a:extLst>
                              <a:ext uri="{FF2B5EF4-FFF2-40B4-BE49-F238E27FC236}">
                                <a16:creationId xmlns:a16="http://schemas.microsoft.com/office/drawing/2014/main" id="{177A491A-7C98-403C-9D6B-4129B9BE9B33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372" name="Gruppieren 1868">
                            <a:extLst>
                              <a:ext uri="{FF2B5EF4-FFF2-40B4-BE49-F238E27FC236}">
                                <a16:creationId xmlns:a16="http://schemas.microsoft.com/office/drawing/2014/main" id="{ABE35088-3C8F-4AE2-99B8-B0DF61576AD9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373" name="Freeform 350">
                              <a:extLst>
                                <a:ext uri="{FF2B5EF4-FFF2-40B4-BE49-F238E27FC236}">
                                  <a16:creationId xmlns:a16="http://schemas.microsoft.com/office/drawing/2014/main" id="{A17C4A8E-D555-4E2B-B99F-774ED3BB70B4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74" name="Freeform 351">
                              <a:extLst>
                                <a:ext uri="{FF2B5EF4-FFF2-40B4-BE49-F238E27FC236}">
                                  <a16:creationId xmlns:a16="http://schemas.microsoft.com/office/drawing/2014/main" id="{2CF56CEF-125F-439F-BD55-F37A47E688D2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75" name="Freeform 352">
                              <a:extLst>
                                <a:ext uri="{FF2B5EF4-FFF2-40B4-BE49-F238E27FC236}">
                                  <a16:creationId xmlns:a16="http://schemas.microsoft.com/office/drawing/2014/main" id="{999D26DE-812A-400F-8148-5205FAE781E7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76" name="Freeform 353">
                              <a:extLst>
                                <a:ext uri="{FF2B5EF4-FFF2-40B4-BE49-F238E27FC236}">
                                  <a16:creationId xmlns:a16="http://schemas.microsoft.com/office/drawing/2014/main" id="{85D2CD35-6392-4339-96CE-F010A367F70C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364" name="Gruppieren 1873">
                          <a:extLst>
                            <a:ext uri="{FF2B5EF4-FFF2-40B4-BE49-F238E27FC236}">
                              <a16:creationId xmlns:a16="http://schemas.microsoft.com/office/drawing/2014/main" id="{CD92A8C4-3968-492B-A33A-AB0715AF8540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3964936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365" name="Freeform 350">
                            <a:extLst>
                              <a:ext uri="{FF2B5EF4-FFF2-40B4-BE49-F238E27FC236}">
                                <a16:creationId xmlns:a16="http://schemas.microsoft.com/office/drawing/2014/main" id="{B5066F01-233C-4F10-98F2-5826F619E351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366" name="Gruppieren 1875">
                            <a:extLst>
                              <a:ext uri="{FF2B5EF4-FFF2-40B4-BE49-F238E27FC236}">
                                <a16:creationId xmlns:a16="http://schemas.microsoft.com/office/drawing/2014/main" id="{4BBA5610-0AC9-4AD4-AF89-F6FF0E3C615B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367" name="Freeform 350">
                              <a:extLst>
                                <a:ext uri="{FF2B5EF4-FFF2-40B4-BE49-F238E27FC236}">
                                  <a16:creationId xmlns:a16="http://schemas.microsoft.com/office/drawing/2014/main" id="{48DF5507-8EA8-4EE6-83D9-22C11838B3BE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68" name="Freeform 351">
                              <a:extLst>
                                <a:ext uri="{FF2B5EF4-FFF2-40B4-BE49-F238E27FC236}">
                                  <a16:creationId xmlns:a16="http://schemas.microsoft.com/office/drawing/2014/main" id="{84B7F0B9-B4AF-42D7-8804-3D19F428CAAB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69" name="Freeform 352">
                              <a:extLst>
                                <a:ext uri="{FF2B5EF4-FFF2-40B4-BE49-F238E27FC236}">
                                  <a16:creationId xmlns:a16="http://schemas.microsoft.com/office/drawing/2014/main" id="{E4569489-1F27-4D0B-B52B-F29DCEDB7BF8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70" name="Freeform 353">
                              <a:extLst>
                                <a:ext uri="{FF2B5EF4-FFF2-40B4-BE49-F238E27FC236}">
                                  <a16:creationId xmlns:a16="http://schemas.microsoft.com/office/drawing/2014/main" id="{8D5F254C-691D-402C-BADB-17DF1730AF90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225" name="Gruppieren 2355">
                        <a:extLst>
                          <a:ext uri="{FF2B5EF4-FFF2-40B4-BE49-F238E27FC236}">
                            <a16:creationId xmlns:a16="http://schemas.microsoft.com/office/drawing/2014/main" id="{9DB53F75-2365-444C-96FD-2F3F677FBD8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215774" y="2220322"/>
                        <a:ext cx="3664609" cy="1314472"/>
                        <a:chOff x="2215774" y="2220322"/>
                        <a:chExt cx="3664609" cy="1314472"/>
                      </a:xfrm>
                    </p:grpSpPr>
                    <p:grpSp>
                      <p:nvGrpSpPr>
                        <p:cNvPr id="257" name="Gruppieren 99">
                          <a:extLst>
                            <a:ext uri="{FF2B5EF4-FFF2-40B4-BE49-F238E27FC236}">
                              <a16:creationId xmlns:a16="http://schemas.microsoft.com/office/drawing/2014/main" id="{9F91E736-13EB-4D33-8BC1-8A6948E13337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803899" y="2220322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326" name="Gruppieren 1885">
                            <a:extLst>
                              <a:ext uri="{FF2B5EF4-FFF2-40B4-BE49-F238E27FC236}">
                                <a16:creationId xmlns:a16="http://schemas.microsoft.com/office/drawing/2014/main" id="{A4F7576B-BDC7-49E5-9E38-AD38DFFE91C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349" name="Gruppieren 1886">
                              <a:extLst>
                                <a:ext uri="{FF2B5EF4-FFF2-40B4-BE49-F238E27FC236}">
                                  <a16:creationId xmlns:a16="http://schemas.microsoft.com/office/drawing/2014/main" id="{D9DF4C78-94B9-4FA8-AFD4-7E6D8F81A409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57" name="Rectangle 405">
                                <a:extLst>
                                  <a:ext uri="{FF2B5EF4-FFF2-40B4-BE49-F238E27FC236}">
                                    <a16:creationId xmlns:a16="http://schemas.microsoft.com/office/drawing/2014/main" id="{B5E725B3-5BCD-4BC5-9674-5E47CD48750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58" name="Flussdiagramm: Grenzstelle 1895">
                                <a:extLst>
                                  <a:ext uri="{FF2B5EF4-FFF2-40B4-BE49-F238E27FC236}">
                                    <a16:creationId xmlns:a16="http://schemas.microsoft.com/office/drawing/2014/main" id="{A9D56529-1109-4938-BAF4-AA5AA0BD652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50" name="Rectangle 407">
                              <a:extLst>
                                <a:ext uri="{FF2B5EF4-FFF2-40B4-BE49-F238E27FC236}">
                                  <a16:creationId xmlns:a16="http://schemas.microsoft.com/office/drawing/2014/main" id="{120DA0DB-0DA0-4D5A-97AF-09F34A23599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1" name="Rectangle 407">
                              <a:extLst>
                                <a:ext uri="{FF2B5EF4-FFF2-40B4-BE49-F238E27FC236}">
                                  <a16:creationId xmlns:a16="http://schemas.microsoft.com/office/drawing/2014/main" id="{D97E3E92-CE6D-446E-92C1-97C6BD13AD1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2" name="Rectangle 407">
                              <a:extLst>
                                <a:ext uri="{FF2B5EF4-FFF2-40B4-BE49-F238E27FC236}">
                                  <a16:creationId xmlns:a16="http://schemas.microsoft.com/office/drawing/2014/main" id="{0672987D-5AAD-4999-9115-45E7E9549A3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3" name="Rectangle 407">
                              <a:extLst>
                                <a:ext uri="{FF2B5EF4-FFF2-40B4-BE49-F238E27FC236}">
                                  <a16:creationId xmlns:a16="http://schemas.microsoft.com/office/drawing/2014/main" id="{11121FE2-A1FB-4AB6-924E-45984E1D4E9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4" name="Rectangle 407">
                              <a:extLst>
                                <a:ext uri="{FF2B5EF4-FFF2-40B4-BE49-F238E27FC236}">
                                  <a16:creationId xmlns:a16="http://schemas.microsoft.com/office/drawing/2014/main" id="{2648100E-5ED1-4218-B43E-F406FFEBDDF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5" name="Rectangle 407">
                              <a:extLst>
                                <a:ext uri="{FF2B5EF4-FFF2-40B4-BE49-F238E27FC236}">
                                  <a16:creationId xmlns:a16="http://schemas.microsoft.com/office/drawing/2014/main" id="{5C674B39-6BF0-4513-AC1E-6E26F0FE6B1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56" name="Rectangle 407">
                              <a:extLst>
                                <a:ext uri="{FF2B5EF4-FFF2-40B4-BE49-F238E27FC236}">
                                  <a16:creationId xmlns:a16="http://schemas.microsoft.com/office/drawing/2014/main" id="{F96341BF-C332-4A27-B01C-49C759A9D98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327" name="Gruppieren 1896">
                            <a:extLst>
                              <a:ext uri="{FF2B5EF4-FFF2-40B4-BE49-F238E27FC236}">
                                <a16:creationId xmlns:a16="http://schemas.microsoft.com/office/drawing/2014/main" id="{6D6B7FA2-1D37-4A6C-B479-05CBFB030E86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339" name="Gruppieren 1897">
                              <a:extLst>
                                <a:ext uri="{FF2B5EF4-FFF2-40B4-BE49-F238E27FC236}">
                                  <a16:creationId xmlns:a16="http://schemas.microsoft.com/office/drawing/2014/main" id="{5A212CB7-3372-40EE-834D-D0710E5B96EC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47" name="Rectangle 405">
                                <a:extLst>
                                  <a:ext uri="{FF2B5EF4-FFF2-40B4-BE49-F238E27FC236}">
                                    <a16:creationId xmlns:a16="http://schemas.microsoft.com/office/drawing/2014/main" id="{C53B9E33-1F27-4491-B060-8484DFE1A810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48" name="Flussdiagramm: Grenzstelle 1906">
                                <a:extLst>
                                  <a:ext uri="{FF2B5EF4-FFF2-40B4-BE49-F238E27FC236}">
                                    <a16:creationId xmlns:a16="http://schemas.microsoft.com/office/drawing/2014/main" id="{337CF939-13B6-4B3E-81D4-722843505E94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40" name="Rectangle 407">
                              <a:extLst>
                                <a:ext uri="{FF2B5EF4-FFF2-40B4-BE49-F238E27FC236}">
                                  <a16:creationId xmlns:a16="http://schemas.microsoft.com/office/drawing/2014/main" id="{044542F6-85DE-437C-AF18-3CB24189BFF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1" name="Rectangle 407">
                              <a:extLst>
                                <a:ext uri="{FF2B5EF4-FFF2-40B4-BE49-F238E27FC236}">
                                  <a16:creationId xmlns:a16="http://schemas.microsoft.com/office/drawing/2014/main" id="{E166689D-A086-4906-91D9-D562DF6D145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2" name="Rectangle 407">
                              <a:extLst>
                                <a:ext uri="{FF2B5EF4-FFF2-40B4-BE49-F238E27FC236}">
                                  <a16:creationId xmlns:a16="http://schemas.microsoft.com/office/drawing/2014/main" id="{0960D832-7150-4A45-9169-1639FCCF4BF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3" name="Rectangle 407">
                              <a:extLst>
                                <a:ext uri="{FF2B5EF4-FFF2-40B4-BE49-F238E27FC236}">
                                  <a16:creationId xmlns:a16="http://schemas.microsoft.com/office/drawing/2014/main" id="{8EA5FB60-A73A-4E69-9FAA-74DC41C13DB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4" name="Rectangle 407">
                              <a:extLst>
                                <a:ext uri="{FF2B5EF4-FFF2-40B4-BE49-F238E27FC236}">
                                  <a16:creationId xmlns:a16="http://schemas.microsoft.com/office/drawing/2014/main" id="{733E7929-98A5-4249-8012-E923BC23EF3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5" name="Rectangle 407">
                              <a:extLst>
                                <a:ext uri="{FF2B5EF4-FFF2-40B4-BE49-F238E27FC236}">
                                  <a16:creationId xmlns:a16="http://schemas.microsoft.com/office/drawing/2014/main" id="{82609282-6175-4BEC-A2D5-1028D226351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46" name="Rectangle 407">
                              <a:extLst>
                                <a:ext uri="{FF2B5EF4-FFF2-40B4-BE49-F238E27FC236}">
                                  <a16:creationId xmlns:a16="http://schemas.microsoft.com/office/drawing/2014/main" id="{C2384811-E493-4E0E-BA2D-5D134371617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328" name="Gruppieren 1907">
                            <a:extLst>
                              <a:ext uri="{FF2B5EF4-FFF2-40B4-BE49-F238E27FC236}">
                                <a16:creationId xmlns:a16="http://schemas.microsoft.com/office/drawing/2014/main" id="{95828DEA-13EA-42C4-A830-837127805A34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329" name="Gruppieren 1908">
                              <a:extLst>
                                <a:ext uri="{FF2B5EF4-FFF2-40B4-BE49-F238E27FC236}">
                                  <a16:creationId xmlns:a16="http://schemas.microsoft.com/office/drawing/2014/main" id="{C0B00624-F0EF-45FB-A183-1F2D0DBE66AF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37" name="Rectangle 405">
                                <a:extLst>
                                  <a:ext uri="{FF2B5EF4-FFF2-40B4-BE49-F238E27FC236}">
                                    <a16:creationId xmlns:a16="http://schemas.microsoft.com/office/drawing/2014/main" id="{5C0B6C9D-CE3D-48D3-AD3E-0235CBED018F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38" name="Flussdiagramm: Grenzstelle 1917">
                                <a:extLst>
                                  <a:ext uri="{FF2B5EF4-FFF2-40B4-BE49-F238E27FC236}">
                                    <a16:creationId xmlns:a16="http://schemas.microsoft.com/office/drawing/2014/main" id="{9AAF97F3-467C-4048-8B6A-1CA8398F3287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30" name="Rectangle 407">
                              <a:extLst>
                                <a:ext uri="{FF2B5EF4-FFF2-40B4-BE49-F238E27FC236}">
                                  <a16:creationId xmlns:a16="http://schemas.microsoft.com/office/drawing/2014/main" id="{1FBE2B59-BD44-476F-9F8E-F26C6F82DD7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1" name="Rectangle 407">
                              <a:extLst>
                                <a:ext uri="{FF2B5EF4-FFF2-40B4-BE49-F238E27FC236}">
                                  <a16:creationId xmlns:a16="http://schemas.microsoft.com/office/drawing/2014/main" id="{3B747DB8-3F42-4AC4-B5E0-53DDEF1C150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2" name="Rectangle 407">
                              <a:extLst>
                                <a:ext uri="{FF2B5EF4-FFF2-40B4-BE49-F238E27FC236}">
                                  <a16:creationId xmlns:a16="http://schemas.microsoft.com/office/drawing/2014/main" id="{365D01CF-5BFD-46EE-AF7E-79B2E78C6F94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3" name="Rectangle 407">
                              <a:extLst>
                                <a:ext uri="{FF2B5EF4-FFF2-40B4-BE49-F238E27FC236}">
                                  <a16:creationId xmlns:a16="http://schemas.microsoft.com/office/drawing/2014/main" id="{2FA5DA74-1928-423F-9F13-1F8BF3332EA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4" name="Rectangle 407">
                              <a:extLst>
                                <a:ext uri="{FF2B5EF4-FFF2-40B4-BE49-F238E27FC236}">
                                  <a16:creationId xmlns:a16="http://schemas.microsoft.com/office/drawing/2014/main" id="{3ED9CA0C-121C-4B98-8A9B-6E3747EFF51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5" name="Rectangle 407">
                              <a:extLst>
                                <a:ext uri="{FF2B5EF4-FFF2-40B4-BE49-F238E27FC236}">
                                  <a16:creationId xmlns:a16="http://schemas.microsoft.com/office/drawing/2014/main" id="{FDB92F03-9833-4F76-AA08-5FC74AED8C4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36" name="Rectangle 407">
                              <a:extLst>
                                <a:ext uri="{FF2B5EF4-FFF2-40B4-BE49-F238E27FC236}">
                                  <a16:creationId xmlns:a16="http://schemas.microsoft.com/office/drawing/2014/main" id="{79162AF0-30C3-4813-9CBA-647E1CEAFA0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258" name="Gruppieren 1918">
                          <a:extLst>
                            <a:ext uri="{FF2B5EF4-FFF2-40B4-BE49-F238E27FC236}">
                              <a16:creationId xmlns:a16="http://schemas.microsoft.com/office/drawing/2014/main" id="{46295C98-F870-4F15-BAF7-E0AA41B54780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3396100" y="2227374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293" name="Gruppieren 1919">
                            <a:extLst>
                              <a:ext uri="{FF2B5EF4-FFF2-40B4-BE49-F238E27FC236}">
                                <a16:creationId xmlns:a16="http://schemas.microsoft.com/office/drawing/2014/main" id="{B49753F6-0FE8-4BD6-9DB0-AF8F4D6425F2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316" name="Gruppieren 1942">
                              <a:extLst>
                                <a:ext uri="{FF2B5EF4-FFF2-40B4-BE49-F238E27FC236}">
                                  <a16:creationId xmlns:a16="http://schemas.microsoft.com/office/drawing/2014/main" id="{9D35CB63-CCC1-41F1-B42A-ADAC5A5483AF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24" name="Rectangle 405">
                                <a:extLst>
                                  <a:ext uri="{FF2B5EF4-FFF2-40B4-BE49-F238E27FC236}">
                                    <a16:creationId xmlns:a16="http://schemas.microsoft.com/office/drawing/2014/main" id="{A171F672-ACDC-4E22-B9A4-766FD6AED1EC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25" name="Flussdiagramm: Grenzstelle 1951">
                                <a:extLst>
                                  <a:ext uri="{FF2B5EF4-FFF2-40B4-BE49-F238E27FC236}">
                                    <a16:creationId xmlns:a16="http://schemas.microsoft.com/office/drawing/2014/main" id="{CF2EA59E-AE10-4007-ABE6-83284840F4C6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17" name="Rectangle 407">
                              <a:extLst>
                                <a:ext uri="{FF2B5EF4-FFF2-40B4-BE49-F238E27FC236}">
                                  <a16:creationId xmlns:a16="http://schemas.microsoft.com/office/drawing/2014/main" id="{372E58DD-2D9D-4D1D-9F6E-3D9835A67D4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8" name="Rectangle 407">
                              <a:extLst>
                                <a:ext uri="{FF2B5EF4-FFF2-40B4-BE49-F238E27FC236}">
                                  <a16:creationId xmlns:a16="http://schemas.microsoft.com/office/drawing/2014/main" id="{1330CC28-0D7D-4BA9-A0E4-A1BA5719A2D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9" name="Rectangle 407">
                              <a:extLst>
                                <a:ext uri="{FF2B5EF4-FFF2-40B4-BE49-F238E27FC236}">
                                  <a16:creationId xmlns:a16="http://schemas.microsoft.com/office/drawing/2014/main" id="{14DAA8E4-9C29-46AF-85AE-0B17B983AE1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20" name="Rectangle 407">
                              <a:extLst>
                                <a:ext uri="{FF2B5EF4-FFF2-40B4-BE49-F238E27FC236}">
                                  <a16:creationId xmlns:a16="http://schemas.microsoft.com/office/drawing/2014/main" id="{17243B27-1AD8-4830-9DB1-5572AB9EDD5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21" name="Rectangle 407">
                              <a:extLst>
                                <a:ext uri="{FF2B5EF4-FFF2-40B4-BE49-F238E27FC236}">
                                  <a16:creationId xmlns:a16="http://schemas.microsoft.com/office/drawing/2014/main" id="{25AFE15D-61B1-4E07-B845-CB0A9F35411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22" name="Rectangle 407">
                              <a:extLst>
                                <a:ext uri="{FF2B5EF4-FFF2-40B4-BE49-F238E27FC236}">
                                  <a16:creationId xmlns:a16="http://schemas.microsoft.com/office/drawing/2014/main" id="{AF72751B-88C7-4034-9DEE-B7FC00B22504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23" name="Rectangle 407">
                              <a:extLst>
                                <a:ext uri="{FF2B5EF4-FFF2-40B4-BE49-F238E27FC236}">
                                  <a16:creationId xmlns:a16="http://schemas.microsoft.com/office/drawing/2014/main" id="{FE01B252-A4F3-4734-87B8-43DC2BA5F76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294" name="Gruppieren 1920">
                            <a:extLst>
                              <a:ext uri="{FF2B5EF4-FFF2-40B4-BE49-F238E27FC236}">
                                <a16:creationId xmlns:a16="http://schemas.microsoft.com/office/drawing/2014/main" id="{BAE93DD9-B404-45A7-BBB4-2B11ECDA79B8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306" name="Gruppieren 1932">
                              <a:extLst>
                                <a:ext uri="{FF2B5EF4-FFF2-40B4-BE49-F238E27FC236}">
                                  <a16:creationId xmlns:a16="http://schemas.microsoft.com/office/drawing/2014/main" id="{E5ADF599-7561-4877-95B7-237D368AF447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14" name="Rectangle 405">
                                <a:extLst>
                                  <a:ext uri="{FF2B5EF4-FFF2-40B4-BE49-F238E27FC236}">
                                    <a16:creationId xmlns:a16="http://schemas.microsoft.com/office/drawing/2014/main" id="{3C3D7A81-43EA-4AFA-AE29-AA08DEA1E1B3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15" name="Flussdiagramm: Grenzstelle 1941">
                                <a:extLst>
                                  <a:ext uri="{FF2B5EF4-FFF2-40B4-BE49-F238E27FC236}">
                                    <a16:creationId xmlns:a16="http://schemas.microsoft.com/office/drawing/2014/main" id="{7E032D39-D25C-47AC-A062-C1B90698C1F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07" name="Rectangle 407">
                              <a:extLst>
                                <a:ext uri="{FF2B5EF4-FFF2-40B4-BE49-F238E27FC236}">
                                  <a16:creationId xmlns:a16="http://schemas.microsoft.com/office/drawing/2014/main" id="{F4D5CDF5-2714-4C0F-BD29-3DCE6EF6704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8" name="Rectangle 407">
                              <a:extLst>
                                <a:ext uri="{FF2B5EF4-FFF2-40B4-BE49-F238E27FC236}">
                                  <a16:creationId xmlns:a16="http://schemas.microsoft.com/office/drawing/2014/main" id="{F0118EDC-DA11-4297-B8B4-1F2BEF20C85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9" name="Rectangle 407">
                              <a:extLst>
                                <a:ext uri="{FF2B5EF4-FFF2-40B4-BE49-F238E27FC236}">
                                  <a16:creationId xmlns:a16="http://schemas.microsoft.com/office/drawing/2014/main" id="{B575DC44-3FD2-41A3-9E3A-363EEAD881A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0" name="Rectangle 407">
                              <a:extLst>
                                <a:ext uri="{FF2B5EF4-FFF2-40B4-BE49-F238E27FC236}">
                                  <a16:creationId xmlns:a16="http://schemas.microsoft.com/office/drawing/2014/main" id="{86A4EB4A-DA9B-48ED-9CC4-F0C7135AC08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1" name="Rectangle 407">
                              <a:extLst>
                                <a:ext uri="{FF2B5EF4-FFF2-40B4-BE49-F238E27FC236}">
                                  <a16:creationId xmlns:a16="http://schemas.microsoft.com/office/drawing/2014/main" id="{8748712B-832E-4AE7-8381-0F6C9551270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2" name="Rectangle 407">
                              <a:extLst>
                                <a:ext uri="{FF2B5EF4-FFF2-40B4-BE49-F238E27FC236}">
                                  <a16:creationId xmlns:a16="http://schemas.microsoft.com/office/drawing/2014/main" id="{9A821F03-81FE-4E90-B688-731DE9BBE81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13" name="Rectangle 407">
                              <a:extLst>
                                <a:ext uri="{FF2B5EF4-FFF2-40B4-BE49-F238E27FC236}">
                                  <a16:creationId xmlns:a16="http://schemas.microsoft.com/office/drawing/2014/main" id="{58CAAD6A-E962-4D55-A363-4DEDDC583E6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295" name="Gruppieren 1921">
                            <a:extLst>
                              <a:ext uri="{FF2B5EF4-FFF2-40B4-BE49-F238E27FC236}">
                                <a16:creationId xmlns:a16="http://schemas.microsoft.com/office/drawing/2014/main" id="{3509154D-3830-4BC0-BE13-15E1356BAC3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296" name="Gruppieren 1922">
                              <a:extLst>
                                <a:ext uri="{FF2B5EF4-FFF2-40B4-BE49-F238E27FC236}">
                                  <a16:creationId xmlns:a16="http://schemas.microsoft.com/office/drawing/2014/main" id="{2E8DD7F4-300C-48D6-A8E3-8A7D5F8D92A5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304" name="Rectangle 405">
                                <a:extLst>
                                  <a:ext uri="{FF2B5EF4-FFF2-40B4-BE49-F238E27FC236}">
                                    <a16:creationId xmlns:a16="http://schemas.microsoft.com/office/drawing/2014/main" id="{45EF2018-982C-47BD-AF8E-01DDECA7E7A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305" name="Flussdiagramm: Grenzstelle 1931">
                                <a:extLst>
                                  <a:ext uri="{FF2B5EF4-FFF2-40B4-BE49-F238E27FC236}">
                                    <a16:creationId xmlns:a16="http://schemas.microsoft.com/office/drawing/2014/main" id="{D2712BB6-C0FE-42E6-9BC3-A939EE1D094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297" name="Rectangle 407">
                              <a:extLst>
                                <a:ext uri="{FF2B5EF4-FFF2-40B4-BE49-F238E27FC236}">
                                  <a16:creationId xmlns:a16="http://schemas.microsoft.com/office/drawing/2014/main" id="{8BB2D3C8-D661-47CE-B206-7418C4133E2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98" name="Rectangle 407">
                              <a:extLst>
                                <a:ext uri="{FF2B5EF4-FFF2-40B4-BE49-F238E27FC236}">
                                  <a16:creationId xmlns:a16="http://schemas.microsoft.com/office/drawing/2014/main" id="{18A06649-0DF2-4DA2-9041-CE497B1BFDA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99" name="Rectangle 407">
                              <a:extLst>
                                <a:ext uri="{FF2B5EF4-FFF2-40B4-BE49-F238E27FC236}">
                                  <a16:creationId xmlns:a16="http://schemas.microsoft.com/office/drawing/2014/main" id="{2C4C6B53-0625-4D43-AC61-958BA8080AD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0" name="Rectangle 407">
                              <a:extLst>
                                <a:ext uri="{FF2B5EF4-FFF2-40B4-BE49-F238E27FC236}">
                                  <a16:creationId xmlns:a16="http://schemas.microsoft.com/office/drawing/2014/main" id="{7D277363-0F4C-4B2D-A41D-D04A6117D17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1" name="Rectangle 407">
                              <a:extLst>
                                <a:ext uri="{FF2B5EF4-FFF2-40B4-BE49-F238E27FC236}">
                                  <a16:creationId xmlns:a16="http://schemas.microsoft.com/office/drawing/2014/main" id="{AC6ECD7F-09DC-4B5C-A44B-02417523056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2" name="Rectangle 407">
                              <a:extLst>
                                <a:ext uri="{FF2B5EF4-FFF2-40B4-BE49-F238E27FC236}">
                                  <a16:creationId xmlns:a16="http://schemas.microsoft.com/office/drawing/2014/main" id="{D2EE9717-A43E-4ACC-BE1A-199E0F3777A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303" name="Rectangle 407">
                              <a:extLst>
                                <a:ext uri="{FF2B5EF4-FFF2-40B4-BE49-F238E27FC236}">
                                  <a16:creationId xmlns:a16="http://schemas.microsoft.com/office/drawing/2014/main" id="{D53A35CC-DFB9-4C80-B1D5-8F80B8E930D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259" name="Gruppieren 1952">
                          <a:extLst>
                            <a:ext uri="{FF2B5EF4-FFF2-40B4-BE49-F238E27FC236}">
                              <a16:creationId xmlns:a16="http://schemas.microsoft.com/office/drawing/2014/main" id="{D11CFC3A-278D-42FF-8719-AB21246F1D8B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215774" y="2227305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260" name="Gruppieren 1953">
                            <a:extLst>
                              <a:ext uri="{FF2B5EF4-FFF2-40B4-BE49-F238E27FC236}">
                                <a16:creationId xmlns:a16="http://schemas.microsoft.com/office/drawing/2014/main" id="{C757109C-F3FD-4816-9CCB-2927E6CB6C11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283" name="Gruppieren 1976">
                              <a:extLst>
                                <a:ext uri="{FF2B5EF4-FFF2-40B4-BE49-F238E27FC236}">
                                  <a16:creationId xmlns:a16="http://schemas.microsoft.com/office/drawing/2014/main" id="{3CC9A18F-E341-4021-95E0-DEB33251F19D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291" name="Rectangle 405">
                                <a:extLst>
                                  <a:ext uri="{FF2B5EF4-FFF2-40B4-BE49-F238E27FC236}">
                                    <a16:creationId xmlns:a16="http://schemas.microsoft.com/office/drawing/2014/main" id="{3D3DC491-25CB-4DA4-8FA0-4ADF2650AA3B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292" name="Flussdiagramm: Grenzstelle 1985">
                                <a:extLst>
                                  <a:ext uri="{FF2B5EF4-FFF2-40B4-BE49-F238E27FC236}">
                                    <a16:creationId xmlns:a16="http://schemas.microsoft.com/office/drawing/2014/main" id="{E1F9AE48-B647-4E72-AE01-DF743414B28D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284" name="Rectangle 407">
                              <a:extLst>
                                <a:ext uri="{FF2B5EF4-FFF2-40B4-BE49-F238E27FC236}">
                                  <a16:creationId xmlns:a16="http://schemas.microsoft.com/office/drawing/2014/main" id="{4014DEE9-280E-4767-8951-3191D8EB463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5" name="Rectangle 407">
                              <a:extLst>
                                <a:ext uri="{FF2B5EF4-FFF2-40B4-BE49-F238E27FC236}">
                                  <a16:creationId xmlns:a16="http://schemas.microsoft.com/office/drawing/2014/main" id="{89B70229-7D9D-4FA6-AE2B-F49870726B9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6" name="Rectangle 407">
                              <a:extLst>
                                <a:ext uri="{FF2B5EF4-FFF2-40B4-BE49-F238E27FC236}">
                                  <a16:creationId xmlns:a16="http://schemas.microsoft.com/office/drawing/2014/main" id="{E7D1C6D9-945D-48FE-B509-319CE25A511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7" name="Rectangle 407">
                              <a:extLst>
                                <a:ext uri="{FF2B5EF4-FFF2-40B4-BE49-F238E27FC236}">
                                  <a16:creationId xmlns:a16="http://schemas.microsoft.com/office/drawing/2014/main" id="{6070B701-5FA7-41A8-9E5B-8BDD0F83B41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8" name="Rectangle 407">
                              <a:extLst>
                                <a:ext uri="{FF2B5EF4-FFF2-40B4-BE49-F238E27FC236}">
                                  <a16:creationId xmlns:a16="http://schemas.microsoft.com/office/drawing/2014/main" id="{AD26C072-074F-43EB-A6AE-D7B0067BFCE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9" name="Rectangle 407">
                              <a:extLst>
                                <a:ext uri="{FF2B5EF4-FFF2-40B4-BE49-F238E27FC236}">
                                  <a16:creationId xmlns:a16="http://schemas.microsoft.com/office/drawing/2014/main" id="{918F4638-9075-4883-AF81-3BB4D6AA090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90" name="Rectangle 407">
                              <a:extLst>
                                <a:ext uri="{FF2B5EF4-FFF2-40B4-BE49-F238E27FC236}">
                                  <a16:creationId xmlns:a16="http://schemas.microsoft.com/office/drawing/2014/main" id="{69FB3B8C-148D-43E0-8448-BE0B0E222B2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261" name="Gruppieren 1954">
                            <a:extLst>
                              <a:ext uri="{FF2B5EF4-FFF2-40B4-BE49-F238E27FC236}">
                                <a16:creationId xmlns:a16="http://schemas.microsoft.com/office/drawing/2014/main" id="{1EBF5BFA-0EC3-4A33-8C8C-072B9127A757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273" name="Gruppieren 1966">
                              <a:extLst>
                                <a:ext uri="{FF2B5EF4-FFF2-40B4-BE49-F238E27FC236}">
                                  <a16:creationId xmlns:a16="http://schemas.microsoft.com/office/drawing/2014/main" id="{7FCE8312-595D-4521-80C9-3279D51CFD9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281" name="Rectangle 405">
                                <a:extLst>
                                  <a:ext uri="{FF2B5EF4-FFF2-40B4-BE49-F238E27FC236}">
                                    <a16:creationId xmlns:a16="http://schemas.microsoft.com/office/drawing/2014/main" id="{3DADC6EA-52EB-40AA-A672-E83C9D607A04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282" name="Flussdiagramm: Grenzstelle 1975">
                                <a:extLst>
                                  <a:ext uri="{FF2B5EF4-FFF2-40B4-BE49-F238E27FC236}">
                                    <a16:creationId xmlns:a16="http://schemas.microsoft.com/office/drawing/2014/main" id="{596EF2CE-6A3C-46C1-87F1-980969D6AB6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274" name="Rectangle 407">
                              <a:extLst>
                                <a:ext uri="{FF2B5EF4-FFF2-40B4-BE49-F238E27FC236}">
                                  <a16:creationId xmlns:a16="http://schemas.microsoft.com/office/drawing/2014/main" id="{303E4401-80D0-43DB-85A0-2A13A5B33394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5" name="Rectangle 407">
                              <a:extLst>
                                <a:ext uri="{FF2B5EF4-FFF2-40B4-BE49-F238E27FC236}">
                                  <a16:creationId xmlns:a16="http://schemas.microsoft.com/office/drawing/2014/main" id="{130AD805-8B7B-49BE-A18E-1F30B7B80D6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6" name="Rectangle 407">
                              <a:extLst>
                                <a:ext uri="{FF2B5EF4-FFF2-40B4-BE49-F238E27FC236}">
                                  <a16:creationId xmlns:a16="http://schemas.microsoft.com/office/drawing/2014/main" id="{A27D8AD6-4C11-4B50-A0CB-6BAEEFA2D88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7" name="Rectangle 407">
                              <a:extLst>
                                <a:ext uri="{FF2B5EF4-FFF2-40B4-BE49-F238E27FC236}">
                                  <a16:creationId xmlns:a16="http://schemas.microsoft.com/office/drawing/2014/main" id="{B54FA767-CC38-47B9-8C16-C2C04961F8E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8" name="Rectangle 407">
                              <a:extLst>
                                <a:ext uri="{FF2B5EF4-FFF2-40B4-BE49-F238E27FC236}">
                                  <a16:creationId xmlns:a16="http://schemas.microsoft.com/office/drawing/2014/main" id="{06C46D3D-ADD1-4155-88F9-15CB1CD0D38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9" name="Rectangle 407">
                              <a:extLst>
                                <a:ext uri="{FF2B5EF4-FFF2-40B4-BE49-F238E27FC236}">
                                  <a16:creationId xmlns:a16="http://schemas.microsoft.com/office/drawing/2014/main" id="{7835EEA7-7F57-4BC9-B9A4-5A092D2A5E1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80" name="Rectangle 407">
                              <a:extLst>
                                <a:ext uri="{FF2B5EF4-FFF2-40B4-BE49-F238E27FC236}">
                                  <a16:creationId xmlns:a16="http://schemas.microsoft.com/office/drawing/2014/main" id="{1C38ADFF-D06A-407C-82CE-C5EC4DCDA07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262" name="Gruppieren 1955">
                            <a:extLst>
                              <a:ext uri="{FF2B5EF4-FFF2-40B4-BE49-F238E27FC236}">
                                <a16:creationId xmlns:a16="http://schemas.microsoft.com/office/drawing/2014/main" id="{3EAE8007-E24E-408E-B0BA-6E3AEB131AEA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263" name="Gruppieren 1956">
                              <a:extLst>
                                <a:ext uri="{FF2B5EF4-FFF2-40B4-BE49-F238E27FC236}">
                                  <a16:creationId xmlns:a16="http://schemas.microsoft.com/office/drawing/2014/main" id="{FA030CE7-5798-47B8-86F7-BD65BFCF36C1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271" name="Rectangle 405">
                                <a:extLst>
                                  <a:ext uri="{FF2B5EF4-FFF2-40B4-BE49-F238E27FC236}">
                                    <a16:creationId xmlns:a16="http://schemas.microsoft.com/office/drawing/2014/main" id="{E9F3B3F2-F057-4AD4-AEAC-8959EE756E9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272" name="Flussdiagramm: Grenzstelle 1965">
                                <a:extLst>
                                  <a:ext uri="{FF2B5EF4-FFF2-40B4-BE49-F238E27FC236}">
                                    <a16:creationId xmlns:a16="http://schemas.microsoft.com/office/drawing/2014/main" id="{966B0CC5-E33C-4A6A-AA9C-FDB8288DC33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264" name="Rectangle 407">
                              <a:extLst>
                                <a:ext uri="{FF2B5EF4-FFF2-40B4-BE49-F238E27FC236}">
                                  <a16:creationId xmlns:a16="http://schemas.microsoft.com/office/drawing/2014/main" id="{E507CC5F-AA8F-4BB9-8DE2-5495FC0B916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65" name="Rectangle 407">
                              <a:extLst>
                                <a:ext uri="{FF2B5EF4-FFF2-40B4-BE49-F238E27FC236}">
                                  <a16:creationId xmlns:a16="http://schemas.microsoft.com/office/drawing/2014/main" id="{78CEEF63-1628-4EF6-8592-8551E47B40E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66" name="Rectangle 407">
                              <a:extLst>
                                <a:ext uri="{FF2B5EF4-FFF2-40B4-BE49-F238E27FC236}">
                                  <a16:creationId xmlns:a16="http://schemas.microsoft.com/office/drawing/2014/main" id="{BE667535-11C1-46F6-98D5-8183409F43F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67" name="Rectangle 407">
                              <a:extLst>
                                <a:ext uri="{FF2B5EF4-FFF2-40B4-BE49-F238E27FC236}">
                                  <a16:creationId xmlns:a16="http://schemas.microsoft.com/office/drawing/2014/main" id="{B92EC7C7-9F0A-4113-9D2B-195D7016FA0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68" name="Rectangle 407">
                              <a:extLst>
                                <a:ext uri="{FF2B5EF4-FFF2-40B4-BE49-F238E27FC236}">
                                  <a16:creationId xmlns:a16="http://schemas.microsoft.com/office/drawing/2014/main" id="{7DC180AF-B59E-44F7-87B7-12FAA6CD73A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69" name="Rectangle 407">
                              <a:extLst>
                                <a:ext uri="{FF2B5EF4-FFF2-40B4-BE49-F238E27FC236}">
                                  <a16:creationId xmlns:a16="http://schemas.microsoft.com/office/drawing/2014/main" id="{9A59FE87-E73F-4EA2-B304-DE13F5881F0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270" name="Rectangle 269">
                              <a:extLst>
                                <a:ext uri="{FF2B5EF4-FFF2-40B4-BE49-F238E27FC236}">
                                  <a16:creationId xmlns:a16="http://schemas.microsoft.com/office/drawing/2014/main" id="{DC63F012-30EA-4B7A-838B-0A22735B382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226" name="Gruppieren 100">
                        <a:extLst>
                          <a:ext uri="{FF2B5EF4-FFF2-40B4-BE49-F238E27FC236}">
                            <a16:creationId xmlns:a16="http://schemas.microsoft.com/office/drawing/2014/main" id="{4CCBFBFD-D3AF-41A5-AC94-9F650ED2B2A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811697" y="2608976"/>
                        <a:ext cx="1969204" cy="1365164"/>
                        <a:chOff x="1811697" y="2608976"/>
                        <a:chExt cx="1969204" cy="1365164"/>
                      </a:xfrm>
                    </p:grpSpPr>
                    <p:grpSp>
                      <p:nvGrpSpPr>
                        <p:cNvPr id="227" name="Gruppieren 2006">
                          <a:extLst>
                            <a:ext uri="{FF2B5EF4-FFF2-40B4-BE49-F238E27FC236}">
                              <a16:creationId xmlns:a16="http://schemas.microsoft.com/office/drawing/2014/main" id="{4F20000A-D3D3-4341-B002-692815B7AD64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835" y="2608976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53" name="Rectangle 299">
                            <a:extLst>
                              <a:ext uri="{FF2B5EF4-FFF2-40B4-BE49-F238E27FC236}">
                                <a16:creationId xmlns:a16="http://schemas.microsoft.com/office/drawing/2014/main" id="{0A923F41-B0DB-4195-B82F-FA6BB308F213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4" name="Rectangle 299">
                            <a:extLst>
                              <a:ext uri="{FF2B5EF4-FFF2-40B4-BE49-F238E27FC236}">
                                <a16:creationId xmlns:a16="http://schemas.microsoft.com/office/drawing/2014/main" id="{B89EBB03-00BB-4026-9456-22B4F6176CDA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5" name="Oval 301">
                            <a:extLst>
                              <a:ext uri="{FF2B5EF4-FFF2-40B4-BE49-F238E27FC236}">
                                <a16:creationId xmlns:a16="http://schemas.microsoft.com/office/drawing/2014/main" id="{25AD9B68-BEBA-45EF-AF7F-EDBDBC961581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6" name="Rechteck: abgerundete Ecken 2010">
                            <a:extLst>
                              <a:ext uri="{FF2B5EF4-FFF2-40B4-BE49-F238E27FC236}">
                                <a16:creationId xmlns:a16="http://schemas.microsoft.com/office/drawing/2014/main" id="{E5BE8F3D-CE4D-401B-9361-0A52D87B4A93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228" name="Gruppieren 2026">
                          <a:extLst>
                            <a:ext uri="{FF2B5EF4-FFF2-40B4-BE49-F238E27FC236}">
                              <a16:creationId xmlns:a16="http://schemas.microsoft.com/office/drawing/2014/main" id="{E613C23E-761B-4F53-A5CE-D69FE8046FA2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766" y="3253591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49" name="Rectangle 299">
                            <a:extLst>
                              <a:ext uri="{FF2B5EF4-FFF2-40B4-BE49-F238E27FC236}">
                                <a16:creationId xmlns:a16="http://schemas.microsoft.com/office/drawing/2014/main" id="{F5EEFE28-78E2-44AA-91EF-A8E2888BD424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0" name="Rectangle 299">
                            <a:extLst>
                              <a:ext uri="{FF2B5EF4-FFF2-40B4-BE49-F238E27FC236}">
                                <a16:creationId xmlns:a16="http://schemas.microsoft.com/office/drawing/2014/main" id="{2597883A-CD0E-42B0-8A95-17AEA2E9FC19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1" name="Oval 301">
                            <a:extLst>
                              <a:ext uri="{FF2B5EF4-FFF2-40B4-BE49-F238E27FC236}">
                                <a16:creationId xmlns:a16="http://schemas.microsoft.com/office/drawing/2014/main" id="{690FF0EB-EB0D-4A58-A9F5-2604FE996616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52" name="Rechteck: abgerundete Ecken 2030">
                            <a:extLst>
                              <a:ext uri="{FF2B5EF4-FFF2-40B4-BE49-F238E27FC236}">
                                <a16:creationId xmlns:a16="http://schemas.microsoft.com/office/drawing/2014/main" id="{0506B218-098D-4213-B29D-45EA5284547F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229" name="Gruppieren 2031">
                          <a:extLst>
                            <a:ext uri="{FF2B5EF4-FFF2-40B4-BE49-F238E27FC236}">
                              <a16:creationId xmlns:a16="http://schemas.microsoft.com/office/drawing/2014/main" id="{2DBAD5F3-0187-489B-8986-D47272E8DCA2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697" y="3888682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45" name="Rectangle 299">
                            <a:extLst>
                              <a:ext uri="{FF2B5EF4-FFF2-40B4-BE49-F238E27FC236}">
                                <a16:creationId xmlns:a16="http://schemas.microsoft.com/office/drawing/2014/main" id="{FB8F4CB6-72F7-4F34-B5A9-920DCAF2F928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6" name="Rectangle 299">
                            <a:extLst>
                              <a:ext uri="{FF2B5EF4-FFF2-40B4-BE49-F238E27FC236}">
                                <a16:creationId xmlns:a16="http://schemas.microsoft.com/office/drawing/2014/main" id="{17FE4A5B-DB3E-4D39-8352-93AE54992351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7" name="Oval 301">
                            <a:extLst>
                              <a:ext uri="{FF2B5EF4-FFF2-40B4-BE49-F238E27FC236}">
                                <a16:creationId xmlns:a16="http://schemas.microsoft.com/office/drawing/2014/main" id="{39E7476E-FD30-4222-8CA3-68CDE4B8B16F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8" name="Rechteck: abgerundete Ecken 2035">
                            <a:extLst>
                              <a:ext uri="{FF2B5EF4-FFF2-40B4-BE49-F238E27FC236}">
                                <a16:creationId xmlns:a16="http://schemas.microsoft.com/office/drawing/2014/main" id="{5B911E3A-316B-4519-ADA3-F44273317E20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230" name="Gruppieren 2036">
                          <a:extLst>
                            <a:ext uri="{FF2B5EF4-FFF2-40B4-BE49-F238E27FC236}">
                              <a16:creationId xmlns:a16="http://schemas.microsoft.com/office/drawing/2014/main" id="{5C2ABD22-A2D4-49BC-AF9B-BFD9B73EF8BE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901" y="2613738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41" name="Rectangle 299">
                            <a:extLst>
                              <a:ext uri="{FF2B5EF4-FFF2-40B4-BE49-F238E27FC236}">
                                <a16:creationId xmlns:a16="http://schemas.microsoft.com/office/drawing/2014/main" id="{E979D360-BAB9-4486-ADC1-0C1D02059D75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2" name="Rectangle 299">
                            <a:extLst>
                              <a:ext uri="{FF2B5EF4-FFF2-40B4-BE49-F238E27FC236}">
                                <a16:creationId xmlns:a16="http://schemas.microsoft.com/office/drawing/2014/main" id="{5C218066-0D5C-4157-838D-CA7F4B7CC901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3" name="Oval 301">
                            <a:extLst>
                              <a:ext uri="{FF2B5EF4-FFF2-40B4-BE49-F238E27FC236}">
                                <a16:creationId xmlns:a16="http://schemas.microsoft.com/office/drawing/2014/main" id="{AFF543FD-F288-473A-BFC1-DB48BB1F641E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4" name="Rechteck: abgerundete Ecken 2040">
                            <a:extLst>
                              <a:ext uri="{FF2B5EF4-FFF2-40B4-BE49-F238E27FC236}">
                                <a16:creationId xmlns:a16="http://schemas.microsoft.com/office/drawing/2014/main" id="{829D55AE-AFBD-489F-98BA-8BCFD650A4A3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231" name="Gruppieren 2041">
                          <a:extLst>
                            <a:ext uri="{FF2B5EF4-FFF2-40B4-BE49-F238E27FC236}">
                              <a16:creationId xmlns:a16="http://schemas.microsoft.com/office/drawing/2014/main" id="{47B04EDD-750C-480E-AB31-F8C3ACB85106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832" y="3258353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37" name="Rectangle 299">
                            <a:extLst>
                              <a:ext uri="{FF2B5EF4-FFF2-40B4-BE49-F238E27FC236}">
                                <a16:creationId xmlns:a16="http://schemas.microsoft.com/office/drawing/2014/main" id="{C69358D7-C1E9-4624-9D21-9CD8B6DC1AB4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38" name="Rectangle 299">
                            <a:extLst>
                              <a:ext uri="{FF2B5EF4-FFF2-40B4-BE49-F238E27FC236}">
                                <a16:creationId xmlns:a16="http://schemas.microsoft.com/office/drawing/2014/main" id="{FBB68D07-D1D1-4611-99E7-F96BB3F2E226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39" name="Oval 301">
                            <a:extLst>
                              <a:ext uri="{FF2B5EF4-FFF2-40B4-BE49-F238E27FC236}">
                                <a16:creationId xmlns:a16="http://schemas.microsoft.com/office/drawing/2014/main" id="{9D06D40C-436F-417D-92FD-38DDC231C68D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40" name="Rechteck: abgerundete Ecken 2045">
                            <a:extLst>
                              <a:ext uri="{FF2B5EF4-FFF2-40B4-BE49-F238E27FC236}">
                                <a16:creationId xmlns:a16="http://schemas.microsoft.com/office/drawing/2014/main" id="{BA40C711-DEA5-4E0F-A65F-96C04DB8FA75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232" name="Gruppieren 2046">
                          <a:extLst>
                            <a:ext uri="{FF2B5EF4-FFF2-40B4-BE49-F238E27FC236}">
                              <a16:creationId xmlns:a16="http://schemas.microsoft.com/office/drawing/2014/main" id="{7E260A13-4E4C-406A-B181-46551E0761AA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763" y="3891063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233" name="Rectangle 299">
                            <a:extLst>
                              <a:ext uri="{FF2B5EF4-FFF2-40B4-BE49-F238E27FC236}">
                                <a16:creationId xmlns:a16="http://schemas.microsoft.com/office/drawing/2014/main" id="{3F3635ED-46AD-4C69-99EC-D3BB30A9397F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34" name="Rectangle 299">
                            <a:extLst>
                              <a:ext uri="{FF2B5EF4-FFF2-40B4-BE49-F238E27FC236}">
                                <a16:creationId xmlns:a16="http://schemas.microsoft.com/office/drawing/2014/main" id="{1ED0AC15-7A1C-415B-8E71-3C2600983964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35" name="Oval 301">
                            <a:extLst>
                              <a:ext uri="{FF2B5EF4-FFF2-40B4-BE49-F238E27FC236}">
                                <a16:creationId xmlns:a16="http://schemas.microsoft.com/office/drawing/2014/main" id="{073625CE-5F3A-479C-802D-2D09ED46F3F4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236" name="Rechteck: abgerundete Ecken 2050">
                            <a:extLst>
                              <a:ext uri="{FF2B5EF4-FFF2-40B4-BE49-F238E27FC236}">
                                <a16:creationId xmlns:a16="http://schemas.microsoft.com/office/drawing/2014/main" id="{B34F4ABA-3BEA-4D40-9D9B-92460BD804BE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</p:grpSp>
              </p:grpSp>
              <p:grpSp>
                <p:nvGrpSpPr>
                  <p:cNvPr id="202" name="Gruppieren 1493">
                    <a:extLst>
                      <a:ext uri="{FF2B5EF4-FFF2-40B4-BE49-F238E27FC236}">
                        <a16:creationId xmlns:a16="http://schemas.microsoft.com/office/drawing/2014/main" id="{4A85D640-6890-418C-888F-777859CA8E45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255612" y="4097984"/>
                    <a:ext cx="326590" cy="514498"/>
                    <a:chOff x="6034866" y="3676578"/>
                    <a:chExt cx="326590" cy="418176"/>
                  </a:xfrm>
                  <a:solidFill>
                    <a:srgbClr val="7F7F7F">
                      <a:alpha val="80000"/>
                    </a:srgbClr>
                  </a:solidFill>
                </p:grpSpPr>
                <p:sp>
                  <p:nvSpPr>
                    <p:cNvPr id="211" name="Rechteck 1494">
                      <a:extLst>
                        <a:ext uri="{FF2B5EF4-FFF2-40B4-BE49-F238E27FC236}">
                          <a16:creationId xmlns:a16="http://schemas.microsoft.com/office/drawing/2014/main" id="{139F426A-2ADD-45E0-BD27-CBAEBA1F99F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34870" y="4062354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2" name="Rechteck 1495">
                      <a:extLst>
                        <a:ext uri="{FF2B5EF4-FFF2-40B4-BE49-F238E27FC236}">
                          <a16:creationId xmlns:a16="http://schemas.microsoft.com/office/drawing/2014/main" id="{2550AFC1-F342-4B68-BD8F-1DF73843DAC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32" y="4019490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3" name="Rechteck 1496">
                      <a:extLst>
                        <a:ext uri="{FF2B5EF4-FFF2-40B4-BE49-F238E27FC236}">
                          <a16:creationId xmlns:a16="http://schemas.microsoft.com/office/drawing/2014/main" id="{EC83A8FD-9825-47DC-AF0D-DA6DBECF33C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0594" y="3976626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4" name="Rechteck 1497">
                      <a:extLst>
                        <a:ext uri="{FF2B5EF4-FFF2-40B4-BE49-F238E27FC236}">
                          <a16:creationId xmlns:a16="http://schemas.microsoft.com/office/drawing/2014/main" id="{CE35E34F-02C2-43CA-BEEF-5084CE0041C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63456" y="3933762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5" name="Rechteck 1498">
                      <a:extLst>
                        <a:ext uri="{FF2B5EF4-FFF2-40B4-BE49-F238E27FC236}">
                          <a16:creationId xmlns:a16="http://schemas.microsoft.com/office/drawing/2014/main" id="{83342EFB-DB91-4C71-8ED9-AF292B13A31D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0594" y="3890898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6" name="Rechteck 1499">
                      <a:extLst>
                        <a:ext uri="{FF2B5EF4-FFF2-40B4-BE49-F238E27FC236}">
                          <a16:creationId xmlns:a16="http://schemas.microsoft.com/office/drawing/2014/main" id="{63EE6786-1924-4F5C-82F0-02FD1CC3D93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29" y="3848034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7" name="Rechteck 1500">
                      <a:extLst>
                        <a:ext uri="{FF2B5EF4-FFF2-40B4-BE49-F238E27FC236}">
                          <a16:creationId xmlns:a16="http://schemas.microsoft.com/office/drawing/2014/main" id="{53DED5FF-30D2-4A8A-80AB-428BDB185258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34866" y="3805170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8" name="Rechteck 1503">
                      <a:extLst>
                        <a:ext uri="{FF2B5EF4-FFF2-40B4-BE49-F238E27FC236}">
                          <a16:creationId xmlns:a16="http://schemas.microsoft.com/office/drawing/2014/main" id="{13700490-0790-46D6-8202-32115420F24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63448" y="3676578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9" name="Rechteck 1501">
                      <a:extLst>
                        <a:ext uri="{FF2B5EF4-FFF2-40B4-BE49-F238E27FC236}">
                          <a16:creationId xmlns:a16="http://schemas.microsoft.com/office/drawing/2014/main" id="{427CE4C6-95B4-4B41-8F01-FD1704E2AB3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21" y="3762306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20" name="Rechteck 1502">
                      <a:extLst>
                        <a:ext uri="{FF2B5EF4-FFF2-40B4-BE49-F238E27FC236}">
                          <a16:creationId xmlns:a16="http://schemas.microsoft.com/office/drawing/2014/main" id="{4D5C9464-CC86-42A2-92FE-F59B8BEB5F1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2973" y="3719442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203" name="Gruppieren 808">
                    <a:extLst>
                      <a:ext uri="{FF2B5EF4-FFF2-40B4-BE49-F238E27FC236}">
                        <a16:creationId xmlns:a16="http://schemas.microsoft.com/office/drawing/2014/main" id="{6E0DDA5F-C069-4D53-9621-0407173A5369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947" y="4094417"/>
                    <a:ext cx="2608088" cy="540000"/>
                    <a:chOff x="5745599" y="3570939"/>
                    <a:chExt cx="626401" cy="551652"/>
                  </a:xfrm>
                </p:grpSpPr>
                <p:sp>
                  <p:nvSpPr>
                    <p:cNvPr id="209" name="Rectangle 965">
                      <a:extLst>
                        <a:ext uri="{FF2B5EF4-FFF2-40B4-BE49-F238E27FC236}">
                          <a16:creationId xmlns:a16="http://schemas.microsoft.com/office/drawing/2014/main" id="{9C25A3A3-85FD-49DA-BC09-BD1693B0A22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10" name="Rectangle 1166">
                      <a:extLst>
                        <a:ext uri="{FF2B5EF4-FFF2-40B4-BE49-F238E27FC236}">
                          <a16:creationId xmlns:a16="http://schemas.microsoft.com/office/drawing/2014/main" id="{FDEC1BB7-6ECC-47B1-A92B-158C48ECA4C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204" name="Gruppieren 794">
                    <a:extLst>
                      <a:ext uri="{FF2B5EF4-FFF2-40B4-BE49-F238E27FC236}">
                        <a16:creationId xmlns:a16="http://schemas.microsoft.com/office/drawing/2014/main" id="{FFEB5553-1A7C-45D1-936F-6E1BEE945A13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215031" y="4177217"/>
                    <a:ext cx="108000" cy="131219"/>
                    <a:chOff x="5598964" y="2419781"/>
                    <a:chExt cx="108000" cy="131219"/>
                  </a:xfrm>
                </p:grpSpPr>
                <p:sp>
                  <p:nvSpPr>
                    <p:cNvPr id="205" name="Rectangle 204">
                      <a:extLst>
                        <a:ext uri="{FF2B5EF4-FFF2-40B4-BE49-F238E27FC236}">
                          <a16:creationId xmlns:a16="http://schemas.microsoft.com/office/drawing/2014/main" id="{AECFCC54-9086-4FB9-AAFC-814FD55F6706}"/>
                        </a:ext>
                      </a:extLst>
                    </p:cNvPr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5598964" y="2419781"/>
                      <a:ext cx="108000" cy="131219"/>
                    </a:xfrm>
                    <a:prstGeom prst="rect">
                      <a:avLst/>
                    </a:prstGeom>
                    <a:solidFill>
                      <a:schemeClr val="tx2">
                        <a:lumMod val="7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6" name="Rectangle 342">
                      <a:extLst>
                        <a:ext uri="{FF2B5EF4-FFF2-40B4-BE49-F238E27FC236}">
                          <a16:creationId xmlns:a16="http://schemas.microsoft.com/office/drawing/2014/main" id="{F52D936A-B6C3-443F-ACEE-423B0896879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03893" y="2420899"/>
                      <a:ext cx="97199" cy="118097"/>
                    </a:xfrm>
                    <a:prstGeom prst="rect">
                      <a:avLst/>
                    </a:prstGeom>
                    <a:solidFill>
                      <a:srgbClr val="F6F6F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7" name="Rectangle 343">
                      <a:extLst>
                        <a:ext uri="{FF2B5EF4-FFF2-40B4-BE49-F238E27FC236}">
                          <a16:creationId xmlns:a16="http://schemas.microsoft.com/office/drawing/2014/main" id="{E9C0783B-965F-4BDB-8730-E5D3E469385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23776" y="2440421"/>
                      <a:ext cx="64799" cy="11247"/>
                    </a:xfrm>
                    <a:prstGeom prst="rect">
                      <a:avLst/>
                    </a:prstGeom>
                    <a:solidFill>
                      <a:srgbClr val="706F6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8" name="Rectangle 343">
                      <a:extLst>
                        <a:ext uri="{FF2B5EF4-FFF2-40B4-BE49-F238E27FC236}">
                          <a16:creationId xmlns:a16="http://schemas.microsoft.com/office/drawing/2014/main" id="{97D2976B-9ECC-4BBA-A0ED-99EC797715C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76333" y="2465364"/>
                      <a:ext cx="10800" cy="14400"/>
                    </a:xfrm>
                    <a:prstGeom prst="rect">
                      <a:avLst/>
                    </a:prstGeom>
                    <a:solidFill>
                      <a:schemeClr val="accent1">
                        <a:lumMod val="50000"/>
                      </a:scheme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</p:grpSp>
            <p:grpSp>
              <p:nvGrpSpPr>
                <p:cNvPr id="143" name="Gruppieren 844">
                  <a:extLst>
                    <a:ext uri="{FF2B5EF4-FFF2-40B4-BE49-F238E27FC236}">
                      <a16:creationId xmlns:a16="http://schemas.microsoft.com/office/drawing/2014/main" id="{DA4BDCF9-A9AC-4AF9-A25F-35A264977D56}"/>
                    </a:ext>
                  </a:extLst>
                </p:cNvPr>
                <p:cNvGrpSpPr/>
                <p:nvPr/>
              </p:nvGrpSpPr>
              <p:grpSpPr bwMode="gray">
                <a:xfrm>
                  <a:off x="3387601" y="4094417"/>
                  <a:ext cx="2610486" cy="540000"/>
                  <a:chOff x="2316947" y="4094417"/>
                  <a:chExt cx="2608088" cy="540000"/>
                </a:xfrm>
              </p:grpSpPr>
              <p:grpSp>
                <p:nvGrpSpPr>
                  <p:cNvPr id="144" name="Gruppieren 845">
                    <a:extLst>
                      <a:ext uri="{FF2B5EF4-FFF2-40B4-BE49-F238E27FC236}">
                        <a16:creationId xmlns:a16="http://schemas.microsoft.com/office/drawing/2014/main" id="{8F7F4A38-4927-42EB-90F7-0A7C026C4DC8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947" y="4094417"/>
                    <a:ext cx="2608088" cy="540000"/>
                    <a:chOff x="5745599" y="3570939"/>
                    <a:chExt cx="626401" cy="551652"/>
                  </a:xfrm>
                </p:grpSpPr>
                <p:sp>
                  <p:nvSpPr>
                    <p:cNvPr id="158" name="Rectangle 965">
                      <a:extLst>
                        <a:ext uri="{FF2B5EF4-FFF2-40B4-BE49-F238E27FC236}">
                          <a16:creationId xmlns:a16="http://schemas.microsoft.com/office/drawing/2014/main" id="{9C4EC195-5B64-45BB-A423-17865460D06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6E7D8F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60" name="Rectangle 1166">
                      <a:extLst>
                        <a:ext uri="{FF2B5EF4-FFF2-40B4-BE49-F238E27FC236}">
                          <a16:creationId xmlns:a16="http://schemas.microsoft.com/office/drawing/2014/main" id="{96D24232-E0DB-40F5-A871-AC560721337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145" name="Gruppieren 846">
                    <a:extLst>
                      <a:ext uri="{FF2B5EF4-FFF2-40B4-BE49-F238E27FC236}">
                        <a16:creationId xmlns:a16="http://schemas.microsoft.com/office/drawing/2014/main" id="{0E89C8BA-9BB8-4A5D-B8B0-B84300EE07F7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7730" y="4096637"/>
                    <a:ext cx="2605094" cy="536544"/>
                    <a:chOff x="2322882" y="4099213"/>
                    <a:chExt cx="1105804" cy="536544"/>
                  </a:xfrm>
                </p:grpSpPr>
                <p:sp>
                  <p:nvSpPr>
                    <p:cNvPr id="146" name="Rectangle 690">
                      <a:extLst>
                        <a:ext uri="{FF2B5EF4-FFF2-40B4-BE49-F238E27FC236}">
                          <a16:creationId xmlns:a16="http://schemas.microsoft.com/office/drawing/2014/main" id="{9FB2BD92-2A02-4197-AF65-0832B49E005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2322882" y="4609120"/>
                      <a:ext cx="1105804" cy="26637"/>
                    </a:xfrm>
                    <a:prstGeom prst="rect">
                      <a:avLst/>
                    </a:pr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57" name="Rectangle 690">
                      <a:extLst>
                        <a:ext uri="{FF2B5EF4-FFF2-40B4-BE49-F238E27FC236}">
                          <a16:creationId xmlns:a16="http://schemas.microsoft.com/office/drawing/2014/main" id="{4CFFB87D-DF1F-4C65-9BE7-FD3E459485A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2322882" y="4099213"/>
                      <a:ext cx="1105804" cy="26637"/>
                    </a:xfrm>
                    <a:prstGeom prst="rect">
                      <a:avLst/>
                    </a:pr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</p:grpSp>
          </p:grpSp>
        </p:grpSp>
        <p:grpSp>
          <p:nvGrpSpPr>
            <p:cNvPr id="107" name="Gruppieren 857">
              <a:extLst>
                <a:ext uri="{FF2B5EF4-FFF2-40B4-BE49-F238E27FC236}">
                  <a16:creationId xmlns:a16="http://schemas.microsoft.com/office/drawing/2014/main" id="{42D80A1A-6168-4D6F-83DA-06FC4DE67DC3}"/>
                </a:ext>
              </a:extLst>
            </p:cNvPr>
            <p:cNvGrpSpPr/>
            <p:nvPr/>
          </p:nvGrpSpPr>
          <p:grpSpPr bwMode="gray">
            <a:xfrm>
              <a:off x="5839200" y="4166079"/>
              <a:ext cx="108000" cy="131219"/>
              <a:chOff x="5598964" y="2419781"/>
              <a:chExt cx="108000" cy="131219"/>
            </a:xfrm>
          </p:grpSpPr>
          <p:sp>
            <p:nvSpPr>
              <p:cNvPr id="135" name="Rectangle 342">
                <a:extLst>
                  <a:ext uri="{FF2B5EF4-FFF2-40B4-BE49-F238E27FC236}">
                    <a16:creationId xmlns:a16="http://schemas.microsoft.com/office/drawing/2014/main" id="{813F9933-4E74-413C-9D87-629922F51B9A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gray">
              <a:xfrm>
                <a:off x="5598964" y="2419781"/>
                <a:ext cx="108000" cy="131219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  <p:sp>
            <p:nvSpPr>
              <p:cNvPr id="136" name="Rectangle 342">
                <a:extLst>
                  <a:ext uri="{FF2B5EF4-FFF2-40B4-BE49-F238E27FC236}">
                    <a16:creationId xmlns:a16="http://schemas.microsoft.com/office/drawing/2014/main" id="{6AE0A942-F964-4EA7-A02F-D98B1421AB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07760" y="2420899"/>
                <a:ext cx="97199" cy="118097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  <p:sp>
            <p:nvSpPr>
              <p:cNvPr id="137" name="Rectangle 343">
                <a:extLst>
                  <a:ext uri="{FF2B5EF4-FFF2-40B4-BE49-F238E27FC236}">
                    <a16:creationId xmlns:a16="http://schemas.microsoft.com/office/drawing/2014/main" id="{EF083DC4-93A5-4F2C-B4B2-9777E44E48C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23776" y="2440421"/>
                <a:ext cx="64799" cy="11247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</p:grpSp>
        <p:grpSp>
          <p:nvGrpSpPr>
            <p:cNvPr id="108" name="Gruppieren 14">
              <a:extLst>
                <a:ext uri="{FF2B5EF4-FFF2-40B4-BE49-F238E27FC236}">
                  <a16:creationId xmlns:a16="http://schemas.microsoft.com/office/drawing/2014/main" id="{DC18D175-4944-41E2-8272-0EBCABB8DF4B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 bwMode="gray">
            <a:xfrm>
              <a:off x="2427983" y="2719104"/>
              <a:ext cx="1877262" cy="1338952"/>
              <a:chOff x="2796668" y="3004738"/>
              <a:chExt cx="2001248" cy="1351561"/>
            </a:xfrm>
          </p:grpSpPr>
          <p:grpSp>
            <p:nvGrpSpPr>
              <p:cNvPr id="123" name="Gruppieren 994">
                <a:extLst>
                  <a:ext uri="{FF2B5EF4-FFF2-40B4-BE49-F238E27FC236}">
                    <a16:creationId xmlns:a16="http://schemas.microsoft.com/office/drawing/2014/main" id="{CFEE48EF-2CB1-4062-BA42-3D35A58E656F}"/>
                  </a:ext>
                </a:extLst>
              </p:cNvPr>
              <p:cNvGrpSpPr/>
              <p:nvPr>
                <p:custDataLst>
                  <p:tags r:id="rId28"/>
                </p:custDataLst>
              </p:nvPr>
            </p:nvGrpSpPr>
            <p:grpSpPr bwMode="gray">
              <a:xfrm>
                <a:off x="2796668" y="3004738"/>
                <a:ext cx="1970107" cy="72613"/>
                <a:chOff x="2930323" y="3087134"/>
                <a:chExt cx="2162965" cy="79721"/>
              </a:xfrm>
            </p:grpSpPr>
            <p:cxnSp>
              <p:nvCxnSpPr>
                <p:cNvPr id="132" name="Gerade Verbindung 746">
                  <a:extLst>
                    <a:ext uri="{FF2B5EF4-FFF2-40B4-BE49-F238E27FC236}">
                      <a16:creationId xmlns:a16="http://schemas.microsoft.com/office/drawing/2014/main" id="{45643BD9-E987-4C8E-AEC7-C70782FE337D}"/>
                    </a:ext>
                  </a:extLst>
                </p:cNvPr>
                <p:cNvCxnSpPr/>
                <p:nvPr/>
              </p:nvCxnSpPr>
              <p:spPr bwMode="gray">
                <a:xfrm>
                  <a:off x="2930323" y="3166855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Gerade Verbindung 747">
                  <a:extLst>
                    <a:ext uri="{FF2B5EF4-FFF2-40B4-BE49-F238E27FC236}">
                      <a16:creationId xmlns:a16="http://schemas.microsoft.com/office/drawing/2014/main" id="{BC676783-A376-47C3-8D78-4D4EC4E2FD63}"/>
                    </a:ext>
                  </a:extLst>
                </p:cNvPr>
                <p:cNvCxnSpPr/>
                <p:nvPr/>
              </p:nvCxnSpPr>
              <p:spPr bwMode="gray">
                <a:xfrm>
                  <a:off x="2933105" y="3087134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Gerade Verbindung 748">
                  <a:extLst>
                    <a:ext uri="{FF2B5EF4-FFF2-40B4-BE49-F238E27FC236}">
                      <a16:creationId xmlns:a16="http://schemas.microsoft.com/office/drawing/2014/main" id="{BF1FFA37-5570-432B-B228-64864510487C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94981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4" name="Gruppieren 998">
                <a:extLst>
                  <a:ext uri="{FF2B5EF4-FFF2-40B4-BE49-F238E27FC236}">
                    <a16:creationId xmlns:a16="http://schemas.microsoft.com/office/drawing/2014/main" id="{181E777C-2275-49FD-86F6-818910516885}"/>
                  </a:ext>
                </a:extLst>
              </p:cNvPr>
              <p:cNvGrpSpPr/>
              <p:nvPr>
                <p:custDataLst>
                  <p:tags r:id="rId29"/>
                </p:custDataLst>
              </p:nvPr>
            </p:nvGrpSpPr>
            <p:grpSpPr bwMode="gray">
              <a:xfrm>
                <a:off x="2824698" y="3648373"/>
                <a:ext cx="1973218" cy="77753"/>
                <a:chOff x="2926907" y="3081298"/>
                <a:chExt cx="2166381" cy="85364"/>
              </a:xfrm>
            </p:grpSpPr>
            <p:cxnSp>
              <p:nvCxnSpPr>
                <p:cNvPr id="129" name="Gerade Verbindung 750">
                  <a:extLst>
                    <a:ext uri="{FF2B5EF4-FFF2-40B4-BE49-F238E27FC236}">
                      <a16:creationId xmlns:a16="http://schemas.microsoft.com/office/drawing/2014/main" id="{B155F112-70E0-48D4-83E7-1951A83C5E76}"/>
                    </a:ext>
                  </a:extLst>
                </p:cNvPr>
                <p:cNvCxnSpPr/>
                <p:nvPr/>
              </p:nvCxnSpPr>
              <p:spPr bwMode="gray">
                <a:xfrm>
                  <a:off x="2930323" y="3161028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Gerade Verbindung 751">
                  <a:extLst>
                    <a:ext uri="{FF2B5EF4-FFF2-40B4-BE49-F238E27FC236}">
                      <a16:creationId xmlns:a16="http://schemas.microsoft.com/office/drawing/2014/main" id="{BF2C34C2-5C9B-4695-9DAB-C76628B13C7F}"/>
                    </a:ext>
                  </a:extLst>
                </p:cNvPr>
                <p:cNvCxnSpPr/>
                <p:nvPr/>
              </p:nvCxnSpPr>
              <p:spPr bwMode="gray">
                <a:xfrm>
                  <a:off x="2926907" y="308129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Gerade Verbindung 752">
                  <a:extLst>
                    <a:ext uri="{FF2B5EF4-FFF2-40B4-BE49-F238E27FC236}">
                      <a16:creationId xmlns:a16="http://schemas.microsoft.com/office/drawing/2014/main" id="{7B0ADF36-E68F-4606-95F8-C1E33CCE4E5C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94981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5" name="Gruppieren 1002">
                <a:extLst>
                  <a:ext uri="{FF2B5EF4-FFF2-40B4-BE49-F238E27FC236}">
                    <a16:creationId xmlns:a16="http://schemas.microsoft.com/office/drawing/2014/main" id="{C10DB8D4-A894-4ECE-8437-F042E25E5C80}"/>
                  </a:ext>
                </a:extLst>
              </p:cNvPr>
              <p:cNvGrpSpPr/>
              <p:nvPr>
                <p:custDataLst>
                  <p:tags r:id="rId30"/>
                </p:custDataLst>
              </p:nvPr>
            </p:nvGrpSpPr>
            <p:grpSpPr bwMode="gray">
              <a:xfrm>
                <a:off x="2802104" y="4289003"/>
                <a:ext cx="1973218" cy="67296"/>
                <a:chOff x="2926907" y="3081298"/>
                <a:chExt cx="2166381" cy="73884"/>
              </a:xfrm>
            </p:grpSpPr>
            <p:cxnSp>
              <p:nvCxnSpPr>
                <p:cNvPr id="126" name="Gerade Verbindung 754">
                  <a:extLst>
                    <a:ext uri="{FF2B5EF4-FFF2-40B4-BE49-F238E27FC236}">
                      <a16:creationId xmlns:a16="http://schemas.microsoft.com/office/drawing/2014/main" id="{57574A7F-D6D7-44DF-A057-828A951E1FD3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>
                  <a:off x="2930323" y="3155182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Gerade Verbindung 755">
                  <a:extLst>
                    <a:ext uri="{FF2B5EF4-FFF2-40B4-BE49-F238E27FC236}">
                      <a16:creationId xmlns:a16="http://schemas.microsoft.com/office/drawing/2014/main" id="{45189355-5439-4AE6-8593-E450C3EF4732}"/>
                    </a:ext>
                  </a:extLst>
                </p:cNvPr>
                <p:cNvCxnSpPr/>
                <p:nvPr/>
              </p:nvCxnSpPr>
              <p:spPr bwMode="gray">
                <a:xfrm>
                  <a:off x="2926907" y="308129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Gerade Verbindung 756">
                  <a:extLst>
                    <a:ext uri="{FF2B5EF4-FFF2-40B4-BE49-F238E27FC236}">
                      <a16:creationId xmlns:a16="http://schemas.microsoft.com/office/drawing/2014/main" id="{958ACBD6-36E9-445D-9D9C-195CF6229C7F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8330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109" name="Gerade Verbindung 744">
              <a:extLst>
                <a:ext uri="{FF2B5EF4-FFF2-40B4-BE49-F238E27FC236}">
                  <a16:creationId xmlns:a16="http://schemas.microsoft.com/office/drawing/2014/main" id="{6A4C5FE4-2F9D-4B20-B166-C5D51333C381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3410366" y="2792378"/>
              <a:ext cx="3301" cy="1460593"/>
            </a:xfrm>
            <a:prstGeom prst="line">
              <a:avLst/>
            </a:prstGeom>
            <a:ln w="19050" cap="rnd">
              <a:solidFill>
                <a:srgbClr val="FF0000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758">
              <a:extLst>
                <a:ext uri="{FF2B5EF4-FFF2-40B4-BE49-F238E27FC236}">
                  <a16:creationId xmlns:a16="http://schemas.microsoft.com/office/drawing/2014/main" id="{C2F02B3A-0F43-45DC-83A2-D84C5B5DB1C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000" y="2791540"/>
              <a:ext cx="1080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759">
              <a:extLst>
                <a:ext uri="{FF2B5EF4-FFF2-40B4-BE49-F238E27FC236}">
                  <a16:creationId xmlns:a16="http://schemas.microsoft.com/office/drawing/2014/main" id="{4F1956D9-0AE2-4FAE-AD8A-2B06969B2E28}"/>
                </a:ext>
              </a:extLst>
            </p:cNvPr>
            <p:cNvCxnSpPr/>
            <p:nvPr>
              <p:custDataLst>
                <p:tags r:id="rId27"/>
              </p:custDataLst>
            </p:nvPr>
          </p:nvCxnSpPr>
          <p:spPr bwMode="gray">
            <a:xfrm>
              <a:off x="2656575" y="4079579"/>
              <a:ext cx="3276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760">
              <a:extLst>
                <a:ext uri="{FF2B5EF4-FFF2-40B4-BE49-F238E27FC236}">
                  <a16:creationId xmlns:a16="http://schemas.microsoft.com/office/drawing/2014/main" id="{BE4E7B3B-11AB-432C-8C09-D69753B652ED}"/>
                </a:ext>
              </a:extLst>
            </p:cNvPr>
            <p:cNvCxnSpPr/>
            <p:nvPr/>
          </p:nvCxnSpPr>
          <p:spPr bwMode="gray">
            <a:xfrm>
              <a:off x="5423188" y="2795798"/>
              <a:ext cx="0" cy="1260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762">
              <a:extLst>
                <a:ext uri="{FF2B5EF4-FFF2-40B4-BE49-F238E27FC236}">
                  <a16:creationId xmlns:a16="http://schemas.microsoft.com/office/drawing/2014/main" id="{9BDB037C-7B60-465F-9F67-42CFDFDF01C8}"/>
                </a:ext>
              </a:extLst>
            </p:cNvPr>
            <p:cNvCxnSpPr/>
            <p:nvPr/>
          </p:nvCxnSpPr>
          <p:spPr bwMode="gray">
            <a:xfrm>
              <a:off x="4860000" y="3432936"/>
              <a:ext cx="1080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764">
              <a:extLst>
                <a:ext uri="{FF2B5EF4-FFF2-40B4-BE49-F238E27FC236}">
                  <a16:creationId xmlns:a16="http://schemas.microsoft.com/office/drawing/2014/main" id="{C95F99C9-3198-4BDA-8361-FC03EA92266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6647" y="3234515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764">
              <a:extLst>
                <a:ext uri="{FF2B5EF4-FFF2-40B4-BE49-F238E27FC236}">
                  <a16:creationId xmlns:a16="http://schemas.microsoft.com/office/drawing/2014/main" id="{7DC21A7C-85A9-4C9F-9F18-827C5F122E3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9506" y="2596710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764">
              <a:extLst>
                <a:ext uri="{FF2B5EF4-FFF2-40B4-BE49-F238E27FC236}">
                  <a16:creationId xmlns:a16="http://schemas.microsoft.com/office/drawing/2014/main" id="{79E560C8-30D6-41E2-AF9E-E85F3547783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3444" y="3880754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764">
              <a:extLst>
                <a:ext uri="{FF2B5EF4-FFF2-40B4-BE49-F238E27FC236}">
                  <a16:creationId xmlns:a16="http://schemas.microsoft.com/office/drawing/2014/main" id="{18FEE7A7-6C30-48EC-9A21-057CA2A0D48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8508" y="3348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764">
              <a:extLst>
                <a:ext uri="{FF2B5EF4-FFF2-40B4-BE49-F238E27FC236}">
                  <a16:creationId xmlns:a16="http://schemas.microsoft.com/office/drawing/2014/main" id="{4355058A-DC46-4188-8BC2-8B981128B66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9200" y="2700000"/>
              <a:ext cx="2156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764">
              <a:extLst>
                <a:ext uri="{FF2B5EF4-FFF2-40B4-BE49-F238E27FC236}">
                  <a16:creationId xmlns:a16="http://schemas.microsoft.com/office/drawing/2014/main" id="{26D3DF40-7EF0-402D-B5D6-646A95AFB6F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5305" y="3978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764">
              <a:extLst>
                <a:ext uri="{FF2B5EF4-FFF2-40B4-BE49-F238E27FC236}">
                  <a16:creationId xmlns:a16="http://schemas.microsoft.com/office/drawing/2014/main" id="{4836779E-D6BC-4D56-B509-B2DBB0ED7E8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566" y="3312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764">
              <a:extLst>
                <a:ext uri="{FF2B5EF4-FFF2-40B4-BE49-F238E27FC236}">
                  <a16:creationId xmlns:a16="http://schemas.microsoft.com/office/drawing/2014/main" id="{636EBFEB-A14C-499D-8CE3-2F41EEC9FFA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3425" y="2664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764">
              <a:extLst>
                <a:ext uri="{FF2B5EF4-FFF2-40B4-BE49-F238E27FC236}">
                  <a16:creationId xmlns:a16="http://schemas.microsoft.com/office/drawing/2014/main" id="{88DCD9DE-74D4-44D6-A7E3-E574418D62D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000" y="3960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5" name="Group 784">
            <a:extLst>
              <a:ext uri="{FF2B5EF4-FFF2-40B4-BE49-F238E27FC236}">
                <a16:creationId xmlns:a16="http://schemas.microsoft.com/office/drawing/2014/main" id="{3D27DC11-CBEF-4F9F-9A28-D086BD2A1405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86" name="Rechteck 12">
              <a:extLst>
                <a:ext uri="{FF2B5EF4-FFF2-40B4-BE49-F238E27FC236}">
                  <a16:creationId xmlns:a16="http://schemas.microsoft.com/office/drawing/2014/main" id="{BAF00A57-37E2-4903-84CC-CB61AD0F891B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87" name="Group 786">
              <a:extLst>
                <a:ext uri="{FF2B5EF4-FFF2-40B4-BE49-F238E27FC236}">
                  <a16:creationId xmlns:a16="http://schemas.microsoft.com/office/drawing/2014/main" id="{23E9C3BB-E7FE-4ABA-90AB-C3769F1F54D7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88" name="Rectangle 5">
                <a:extLst>
                  <a:ext uri="{FF2B5EF4-FFF2-40B4-BE49-F238E27FC236}">
                    <a16:creationId xmlns:a16="http://schemas.microsoft.com/office/drawing/2014/main" id="{665D5003-7807-4634-9836-F52530A8361F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89" name="Group 788">
                <a:extLst>
                  <a:ext uri="{FF2B5EF4-FFF2-40B4-BE49-F238E27FC236}">
                    <a16:creationId xmlns:a16="http://schemas.microsoft.com/office/drawing/2014/main" id="{CD9AB77F-9711-4DF4-B299-0A5DFBE1545C}"/>
                  </a:ext>
                </a:extLst>
              </p:cNvPr>
              <p:cNvGrpSpPr/>
              <p:nvPr userDrawn="1">
                <p:custDataLst>
                  <p:tags r:id="rId2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90" name="Freeform 6">
                  <a:extLst>
                    <a:ext uri="{FF2B5EF4-FFF2-40B4-BE49-F238E27FC236}">
                      <a16:creationId xmlns:a16="http://schemas.microsoft.com/office/drawing/2014/main" id="{48AC5CC8-14F3-4E84-BB22-235C9E08CB9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1" name="Freeform 7">
                  <a:extLst>
                    <a:ext uri="{FF2B5EF4-FFF2-40B4-BE49-F238E27FC236}">
                      <a16:creationId xmlns:a16="http://schemas.microsoft.com/office/drawing/2014/main" id="{FF503E16-4ECC-462E-9599-B4AA6ED58D5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2" name="Freeform 8">
                  <a:extLst>
                    <a:ext uri="{FF2B5EF4-FFF2-40B4-BE49-F238E27FC236}">
                      <a16:creationId xmlns:a16="http://schemas.microsoft.com/office/drawing/2014/main" id="{4CD57324-9DCC-44A0-B54D-7F9BC79431C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3" name="Freeform 9">
                  <a:extLst>
                    <a:ext uri="{FF2B5EF4-FFF2-40B4-BE49-F238E27FC236}">
                      <a16:creationId xmlns:a16="http://schemas.microsoft.com/office/drawing/2014/main" id="{5FF50B1D-E00B-4A1D-A3ED-AA9780B36CA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4" name="Freeform 10">
                  <a:extLst>
                    <a:ext uri="{FF2B5EF4-FFF2-40B4-BE49-F238E27FC236}">
                      <a16:creationId xmlns:a16="http://schemas.microsoft.com/office/drawing/2014/main" id="{277B3760-97BB-464B-A64B-E173CBE396C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5" name="Freeform 11">
                  <a:extLst>
                    <a:ext uri="{FF2B5EF4-FFF2-40B4-BE49-F238E27FC236}">
                      <a16:creationId xmlns:a16="http://schemas.microsoft.com/office/drawing/2014/main" id="{967AD6A4-7102-40B7-9B50-85676D1F5D8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6" name="Freeform 12">
                  <a:extLst>
                    <a:ext uri="{FF2B5EF4-FFF2-40B4-BE49-F238E27FC236}">
                      <a16:creationId xmlns:a16="http://schemas.microsoft.com/office/drawing/2014/main" id="{D05E092F-6DE9-44E9-81E4-B5C864ADE14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7" name="Freeform 13">
                  <a:extLst>
                    <a:ext uri="{FF2B5EF4-FFF2-40B4-BE49-F238E27FC236}">
                      <a16:creationId xmlns:a16="http://schemas.microsoft.com/office/drawing/2014/main" id="{62A441F3-823A-489A-98F9-8F22F2CE96D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801" name="Rectangle 23">
            <a:extLst>
              <a:ext uri="{FF2B5EF4-FFF2-40B4-BE49-F238E27FC236}">
                <a16:creationId xmlns:a16="http://schemas.microsoft.com/office/drawing/2014/main" id="{9E2540E5-F09A-4DDC-929A-78F747B04E43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643438" y="5845835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spcAft>
                <a:spcPts val="600"/>
              </a:spcAft>
            </a:pPr>
            <a:r>
              <a:rPr lang="en-GB" sz="1600" b="1">
                <a:solidFill>
                  <a:schemeClr val="tx1"/>
                </a:solidFill>
              </a:rPr>
              <a:t>PROCESSES</a:t>
            </a:r>
            <a:endParaRPr lang="en-GB" sz="1600" b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802" name="Rectangle 23">
            <a:extLst>
              <a:ext uri="{FF2B5EF4-FFF2-40B4-BE49-F238E27FC236}">
                <a16:creationId xmlns:a16="http://schemas.microsoft.com/office/drawing/2014/main" id="{C5259419-159B-4DA6-AFCB-311C082272F7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643438" y="7400126"/>
            <a:ext cx="3604362" cy="927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the automated collection, transfer and processing of data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a holistic heat supply concept with optional metering service</a:t>
            </a:r>
          </a:p>
          <a:p>
            <a:pPr marL="188913" indent="-19685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</a:pPr>
            <a:r>
              <a:rPr lang="en-GB" sz="1100" dirty="0">
                <a:solidFill>
                  <a:schemeClr val="tx1"/>
                </a:solidFill>
                <a:latin typeface="Lucida Sans Techem" panose="020B0602040502020204" pitchFamily="34" charset="0"/>
              </a:rPr>
              <a:t>integrated energy efficiency measures from a single source – from basements to flats</a:t>
            </a:r>
          </a:p>
        </p:txBody>
      </p:sp>
      <p:sp>
        <p:nvSpPr>
          <p:cNvPr id="803" name="Rectangle 23">
            <a:extLst>
              <a:ext uri="{FF2B5EF4-FFF2-40B4-BE49-F238E27FC236}">
                <a16:creationId xmlns:a16="http://schemas.microsoft.com/office/drawing/2014/main" id="{D022B1B8-5CB8-4279-8B33-ACA66865F5AF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643438" y="6558551"/>
            <a:ext cx="3604362" cy="2429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600"/>
              </a:spcAft>
            </a:pPr>
            <a:r>
              <a:rPr lang="en-GB" sz="1400" dirty="0">
                <a:solidFill>
                  <a:schemeClr val="tx1"/>
                </a:solidFill>
              </a:rPr>
              <a:t>are streamlined through …</a:t>
            </a:r>
          </a:p>
        </p:txBody>
      </p:sp>
      <p:sp>
        <p:nvSpPr>
          <p:cNvPr id="798" name="Textplatzhalter 6">
            <a:extLst>
              <a:ext uri="{FF2B5EF4-FFF2-40B4-BE49-F238E27FC236}">
                <a16:creationId xmlns:a16="http://schemas.microsoft.com/office/drawing/2014/main" id="{E3097BA2-618C-41CA-8A6C-80EAB123074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F583C21E-E166-4C4F-B1ED-C1598F914714}"/>
              </a:ext>
            </a:extLst>
          </p:cNvPr>
          <p:cNvGrpSpPr/>
          <p:nvPr>
            <p:custDataLst>
              <p:tags r:id="rId20"/>
            </p:custDataLst>
          </p:nvPr>
        </p:nvGrpSpPr>
        <p:grpSpPr bwMode="gray">
          <a:xfrm>
            <a:off x="1187624" y="3300253"/>
            <a:ext cx="508017" cy="499801"/>
            <a:chOff x="10330395" y="176211"/>
            <a:chExt cx="4867275" cy="4788553"/>
          </a:xfrm>
          <a:solidFill>
            <a:schemeClr val="tx2"/>
          </a:solidFill>
        </p:grpSpPr>
        <p:sp>
          <p:nvSpPr>
            <p:cNvPr id="783" name="Freeform: Shape 782">
              <a:extLst>
                <a:ext uri="{FF2B5EF4-FFF2-40B4-BE49-F238E27FC236}">
                  <a16:creationId xmlns:a16="http://schemas.microsoft.com/office/drawing/2014/main" id="{3AD31209-F486-4824-9B98-686A34478DDF}"/>
                </a:ext>
              </a:extLst>
            </p:cNvPr>
            <p:cNvSpPr/>
            <p:nvPr/>
          </p:nvSpPr>
          <p:spPr bwMode="gray">
            <a:xfrm>
              <a:off x="11008194" y="3839526"/>
              <a:ext cx="190498" cy="190498"/>
            </a:xfrm>
            <a:custGeom>
              <a:avLst/>
              <a:gdLst>
                <a:gd name="connsiteX0" fmla="*/ 190500 w 190500"/>
                <a:gd name="connsiteY0" fmla="*/ 95250 h 190500"/>
                <a:gd name="connsiteX1" fmla="*/ 95250 w 190500"/>
                <a:gd name="connsiteY1" fmla="*/ 190500 h 190500"/>
                <a:gd name="connsiteX2" fmla="*/ 0 w 190500"/>
                <a:gd name="connsiteY2" fmla="*/ 95250 h 190500"/>
                <a:gd name="connsiteX3" fmla="*/ 95250 w 190500"/>
                <a:gd name="connsiteY3" fmla="*/ 0 h 190500"/>
                <a:gd name="connsiteX4" fmla="*/ 190500 w 190500"/>
                <a:gd name="connsiteY4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0" h="190500">
                  <a:moveTo>
                    <a:pt x="190500" y="95250"/>
                  </a:moveTo>
                  <a:cubicBezTo>
                    <a:pt x="190500" y="147855"/>
                    <a:pt x="147855" y="190500"/>
                    <a:pt x="95250" y="190500"/>
                  </a:cubicBezTo>
                  <a:cubicBezTo>
                    <a:pt x="42645" y="190500"/>
                    <a:pt x="0" y="147855"/>
                    <a:pt x="0" y="95250"/>
                  </a:cubicBezTo>
                  <a:cubicBezTo>
                    <a:pt x="0" y="42645"/>
                    <a:pt x="42645" y="0"/>
                    <a:pt x="95250" y="0"/>
                  </a:cubicBezTo>
                  <a:cubicBezTo>
                    <a:pt x="147855" y="0"/>
                    <a:pt x="190500" y="42645"/>
                    <a:pt x="190500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784" name="Freeform: Shape 783">
              <a:extLst>
                <a:ext uri="{FF2B5EF4-FFF2-40B4-BE49-F238E27FC236}">
                  <a16:creationId xmlns:a16="http://schemas.microsoft.com/office/drawing/2014/main" id="{AD2F6EB1-7C9C-4EAA-AD2F-0551BF5FEB65}"/>
                </a:ext>
              </a:extLst>
            </p:cNvPr>
            <p:cNvSpPr/>
            <p:nvPr/>
          </p:nvSpPr>
          <p:spPr bwMode="gray">
            <a:xfrm>
              <a:off x="12420560" y="176211"/>
              <a:ext cx="2390777" cy="2743203"/>
            </a:xfrm>
            <a:custGeom>
              <a:avLst/>
              <a:gdLst>
                <a:gd name="connsiteX0" fmla="*/ 2302764 w 2390775"/>
                <a:gd name="connsiteY0" fmla="*/ 844677 h 2743200"/>
                <a:gd name="connsiteX1" fmla="*/ 1742313 w 2390775"/>
                <a:gd name="connsiteY1" fmla="*/ 844677 h 2743200"/>
                <a:gd name="connsiteX2" fmla="*/ 1409033 w 2390775"/>
                <a:gd name="connsiteY2" fmla="*/ 964692 h 2743200"/>
                <a:gd name="connsiteX3" fmla="*/ 1409033 w 2390775"/>
                <a:gd name="connsiteY3" fmla="*/ 939927 h 2743200"/>
                <a:gd name="connsiteX4" fmla="*/ 1409033 w 2390775"/>
                <a:gd name="connsiteY4" fmla="*/ 678371 h 2743200"/>
                <a:gd name="connsiteX5" fmla="*/ 730663 w 2390775"/>
                <a:gd name="connsiteY5" fmla="*/ 0 h 2743200"/>
                <a:gd name="connsiteX6" fmla="*/ 95250 w 2390775"/>
                <a:gd name="connsiteY6" fmla="*/ 0 h 2743200"/>
                <a:gd name="connsiteX7" fmla="*/ 0 w 2390775"/>
                <a:gd name="connsiteY7" fmla="*/ 95250 h 2743200"/>
                <a:gd name="connsiteX8" fmla="*/ 0 w 2390775"/>
                <a:gd name="connsiteY8" fmla="*/ 356807 h 2743200"/>
                <a:gd name="connsiteX9" fmla="*/ 678371 w 2390775"/>
                <a:gd name="connsiteY9" fmla="*/ 1035177 h 2743200"/>
                <a:gd name="connsiteX10" fmla="*/ 1218533 w 2390775"/>
                <a:gd name="connsiteY10" fmla="*/ 1035177 h 2743200"/>
                <a:gd name="connsiteX11" fmla="*/ 1218533 w 2390775"/>
                <a:gd name="connsiteY11" fmla="*/ 1368457 h 2743200"/>
                <a:gd name="connsiteX12" fmla="*/ 1218533 w 2390775"/>
                <a:gd name="connsiteY12" fmla="*/ 1625441 h 2743200"/>
                <a:gd name="connsiteX13" fmla="*/ 1218533 w 2390775"/>
                <a:gd name="connsiteY13" fmla="*/ 2000726 h 2743200"/>
                <a:gd name="connsiteX14" fmla="*/ 1142714 w 2390775"/>
                <a:gd name="connsiteY14" fmla="*/ 1998250 h 2743200"/>
                <a:gd name="connsiteX15" fmla="*/ 450628 w 2390775"/>
                <a:gd name="connsiteY15" fmla="*/ 2221421 h 2743200"/>
                <a:gd name="connsiteX16" fmla="*/ 429101 w 2390775"/>
                <a:gd name="connsiteY16" fmla="*/ 2354390 h 2743200"/>
                <a:gd name="connsiteX17" fmla="*/ 562070 w 2390775"/>
                <a:gd name="connsiteY17" fmla="*/ 2375916 h 2743200"/>
                <a:gd name="connsiteX18" fmla="*/ 1142714 w 2390775"/>
                <a:gd name="connsiteY18" fmla="*/ 2188750 h 2743200"/>
                <a:gd name="connsiteX19" fmla="*/ 1293019 w 2390775"/>
                <a:gd name="connsiteY19" fmla="*/ 2200275 h 2743200"/>
                <a:gd name="connsiteX20" fmla="*/ 1305592 w 2390775"/>
                <a:gd name="connsiteY20" fmla="*/ 2202180 h 2743200"/>
                <a:gd name="connsiteX21" fmla="*/ 2012632 w 2390775"/>
                <a:gd name="connsiteY21" fmla="*/ 2701576 h 2743200"/>
                <a:gd name="connsiteX22" fmla="*/ 2096072 w 2390775"/>
                <a:gd name="connsiteY22" fmla="*/ 2750630 h 2743200"/>
                <a:gd name="connsiteX23" fmla="*/ 2142173 w 2390775"/>
                <a:gd name="connsiteY23" fmla="*/ 2738628 h 2743200"/>
                <a:gd name="connsiteX24" fmla="*/ 2179320 w 2390775"/>
                <a:gd name="connsiteY24" fmla="*/ 2609183 h 2743200"/>
                <a:gd name="connsiteX25" fmla="*/ 1409129 w 2390775"/>
                <a:gd name="connsiteY25" fmla="*/ 2028539 h 2743200"/>
                <a:gd name="connsiteX26" fmla="*/ 1409129 w 2390775"/>
                <a:gd name="connsiteY26" fmla="*/ 1720596 h 2743200"/>
                <a:gd name="connsiteX27" fmla="*/ 1874330 w 2390775"/>
                <a:gd name="connsiteY27" fmla="*/ 1720596 h 2743200"/>
                <a:gd name="connsiteX28" fmla="*/ 2398109 w 2390775"/>
                <a:gd name="connsiteY28" fmla="*/ 1196816 h 2743200"/>
                <a:gd name="connsiteX29" fmla="*/ 2398109 w 2390775"/>
                <a:gd name="connsiteY29" fmla="*/ 939927 h 2743200"/>
                <a:gd name="connsiteX30" fmla="*/ 2302764 w 2390775"/>
                <a:gd name="connsiteY30" fmla="*/ 844677 h 2743200"/>
                <a:gd name="connsiteX31" fmla="*/ 1218533 w 2390775"/>
                <a:gd name="connsiteY31" fmla="*/ 844677 h 2743200"/>
                <a:gd name="connsiteX32" fmla="*/ 678371 w 2390775"/>
                <a:gd name="connsiteY32" fmla="*/ 844677 h 2743200"/>
                <a:gd name="connsiteX33" fmla="*/ 190500 w 2390775"/>
                <a:gd name="connsiteY33" fmla="*/ 356807 h 2743200"/>
                <a:gd name="connsiteX34" fmla="*/ 190500 w 2390775"/>
                <a:gd name="connsiteY34" fmla="*/ 190500 h 2743200"/>
                <a:gd name="connsiteX35" fmla="*/ 730758 w 2390775"/>
                <a:gd name="connsiteY35" fmla="*/ 190500 h 2743200"/>
                <a:gd name="connsiteX36" fmla="*/ 1218629 w 2390775"/>
                <a:gd name="connsiteY36" fmla="*/ 678371 h 2743200"/>
                <a:gd name="connsiteX37" fmla="*/ 1218533 w 2390775"/>
                <a:gd name="connsiteY37" fmla="*/ 844677 h 2743200"/>
                <a:gd name="connsiteX38" fmla="*/ 1218533 w 2390775"/>
                <a:gd name="connsiteY38" fmla="*/ 844677 h 2743200"/>
                <a:gd name="connsiteX39" fmla="*/ 2207514 w 2390775"/>
                <a:gd name="connsiteY39" fmla="*/ 1196912 h 2743200"/>
                <a:gd name="connsiteX40" fmla="*/ 1874234 w 2390775"/>
                <a:gd name="connsiteY40" fmla="*/ 1530191 h 2743200"/>
                <a:gd name="connsiteX41" fmla="*/ 1409033 w 2390775"/>
                <a:gd name="connsiteY41" fmla="*/ 1530191 h 2743200"/>
                <a:gd name="connsiteX42" fmla="*/ 1409033 w 2390775"/>
                <a:gd name="connsiteY42" fmla="*/ 1368457 h 2743200"/>
                <a:gd name="connsiteX43" fmla="*/ 1742313 w 2390775"/>
                <a:gd name="connsiteY43" fmla="*/ 1035177 h 2743200"/>
                <a:gd name="connsiteX44" fmla="*/ 2207514 w 2390775"/>
                <a:gd name="connsiteY44" fmla="*/ 1035177 h 2743200"/>
                <a:gd name="connsiteX45" fmla="*/ 2207514 w 2390775"/>
                <a:gd name="connsiteY45" fmla="*/ 1196912 h 274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90775" h="2743200">
                  <a:moveTo>
                    <a:pt x="2302764" y="844677"/>
                  </a:moveTo>
                  <a:lnTo>
                    <a:pt x="1742313" y="844677"/>
                  </a:lnTo>
                  <a:cubicBezTo>
                    <a:pt x="1615821" y="844677"/>
                    <a:pt x="1499616" y="889730"/>
                    <a:pt x="1409033" y="964692"/>
                  </a:cubicBezTo>
                  <a:lnTo>
                    <a:pt x="1409033" y="939927"/>
                  </a:lnTo>
                  <a:lnTo>
                    <a:pt x="1409033" y="678371"/>
                  </a:lnTo>
                  <a:cubicBezTo>
                    <a:pt x="1409033" y="304324"/>
                    <a:pt x="1104710" y="0"/>
                    <a:pt x="730663" y="0"/>
                  </a:cubicBezTo>
                  <a:lnTo>
                    <a:pt x="95250" y="0"/>
                  </a:lnTo>
                  <a:cubicBezTo>
                    <a:pt x="42672" y="0"/>
                    <a:pt x="0" y="42672"/>
                    <a:pt x="0" y="95250"/>
                  </a:cubicBezTo>
                  <a:lnTo>
                    <a:pt x="0" y="356807"/>
                  </a:lnTo>
                  <a:cubicBezTo>
                    <a:pt x="0" y="730853"/>
                    <a:pt x="304324" y="1035177"/>
                    <a:pt x="678371" y="1035177"/>
                  </a:cubicBezTo>
                  <a:lnTo>
                    <a:pt x="1218533" y="1035177"/>
                  </a:lnTo>
                  <a:lnTo>
                    <a:pt x="1218533" y="1368457"/>
                  </a:lnTo>
                  <a:lnTo>
                    <a:pt x="1218533" y="1625441"/>
                  </a:lnTo>
                  <a:lnTo>
                    <a:pt x="1218533" y="2000726"/>
                  </a:lnTo>
                  <a:cubicBezTo>
                    <a:pt x="1193387" y="1999107"/>
                    <a:pt x="1168146" y="1998250"/>
                    <a:pt x="1142714" y="1998250"/>
                  </a:cubicBezTo>
                  <a:cubicBezTo>
                    <a:pt x="892397" y="1998250"/>
                    <a:pt x="653034" y="2075402"/>
                    <a:pt x="450628" y="2221421"/>
                  </a:cubicBezTo>
                  <a:cubicBezTo>
                    <a:pt x="407956" y="2252186"/>
                    <a:pt x="398336" y="2311718"/>
                    <a:pt x="429101" y="2354390"/>
                  </a:cubicBezTo>
                  <a:cubicBezTo>
                    <a:pt x="459867" y="2397062"/>
                    <a:pt x="519398" y="2406682"/>
                    <a:pt x="562070" y="2375916"/>
                  </a:cubicBezTo>
                  <a:cubicBezTo>
                    <a:pt x="731806" y="2253520"/>
                    <a:pt x="932593" y="2188750"/>
                    <a:pt x="1142714" y="2188750"/>
                  </a:cubicBezTo>
                  <a:cubicBezTo>
                    <a:pt x="1193482" y="2188750"/>
                    <a:pt x="1243679" y="2192750"/>
                    <a:pt x="1293019" y="2200275"/>
                  </a:cubicBezTo>
                  <a:cubicBezTo>
                    <a:pt x="1297114" y="2201228"/>
                    <a:pt x="1301306" y="2201799"/>
                    <a:pt x="1305592" y="2202180"/>
                  </a:cubicBezTo>
                  <a:cubicBezTo>
                    <a:pt x="1602010" y="2251424"/>
                    <a:pt x="1864138" y="2433447"/>
                    <a:pt x="2012632" y="2701576"/>
                  </a:cubicBezTo>
                  <a:cubicBezTo>
                    <a:pt x="2030063" y="2733008"/>
                    <a:pt x="2062544" y="2750630"/>
                    <a:pt x="2096072" y="2750630"/>
                  </a:cubicBezTo>
                  <a:cubicBezTo>
                    <a:pt x="2111693" y="2750630"/>
                    <a:pt x="2127504" y="2746820"/>
                    <a:pt x="2142173" y="2738628"/>
                  </a:cubicBezTo>
                  <a:cubicBezTo>
                    <a:pt x="2188178" y="2713101"/>
                    <a:pt x="2204847" y="2655189"/>
                    <a:pt x="2179320" y="2609183"/>
                  </a:cubicBezTo>
                  <a:cubicBezTo>
                    <a:pt x="2014538" y="2311718"/>
                    <a:pt x="1732312" y="2103311"/>
                    <a:pt x="1409129" y="2028539"/>
                  </a:cubicBezTo>
                  <a:lnTo>
                    <a:pt x="1409129" y="1720596"/>
                  </a:lnTo>
                  <a:lnTo>
                    <a:pt x="1874330" y="1720596"/>
                  </a:lnTo>
                  <a:cubicBezTo>
                    <a:pt x="2163128" y="1720596"/>
                    <a:pt x="2398109" y="1485614"/>
                    <a:pt x="2398109" y="1196816"/>
                  </a:cubicBezTo>
                  <a:lnTo>
                    <a:pt x="2398109" y="939927"/>
                  </a:lnTo>
                  <a:cubicBezTo>
                    <a:pt x="2398014" y="887349"/>
                    <a:pt x="2355342" y="844677"/>
                    <a:pt x="2302764" y="844677"/>
                  </a:cubicBezTo>
                  <a:close/>
                  <a:moveTo>
                    <a:pt x="1218533" y="844677"/>
                  </a:moveTo>
                  <a:lnTo>
                    <a:pt x="678371" y="844677"/>
                  </a:lnTo>
                  <a:cubicBezTo>
                    <a:pt x="409385" y="844677"/>
                    <a:pt x="190500" y="625793"/>
                    <a:pt x="190500" y="356807"/>
                  </a:cubicBezTo>
                  <a:lnTo>
                    <a:pt x="190500" y="190500"/>
                  </a:lnTo>
                  <a:lnTo>
                    <a:pt x="730758" y="190500"/>
                  </a:lnTo>
                  <a:cubicBezTo>
                    <a:pt x="999744" y="190500"/>
                    <a:pt x="1218629" y="409385"/>
                    <a:pt x="1218629" y="678371"/>
                  </a:cubicBezTo>
                  <a:lnTo>
                    <a:pt x="1218533" y="844677"/>
                  </a:lnTo>
                  <a:lnTo>
                    <a:pt x="1218533" y="844677"/>
                  </a:lnTo>
                  <a:close/>
                  <a:moveTo>
                    <a:pt x="2207514" y="1196912"/>
                  </a:moveTo>
                  <a:cubicBezTo>
                    <a:pt x="2207514" y="1380649"/>
                    <a:pt x="2057972" y="1530191"/>
                    <a:pt x="1874234" y="1530191"/>
                  </a:cubicBezTo>
                  <a:lnTo>
                    <a:pt x="1409033" y="1530191"/>
                  </a:lnTo>
                  <a:lnTo>
                    <a:pt x="1409033" y="1368457"/>
                  </a:lnTo>
                  <a:cubicBezTo>
                    <a:pt x="1409033" y="1184624"/>
                    <a:pt x="1558576" y="1035177"/>
                    <a:pt x="1742313" y="1035177"/>
                  </a:cubicBezTo>
                  <a:lnTo>
                    <a:pt x="2207514" y="1035177"/>
                  </a:lnTo>
                  <a:lnTo>
                    <a:pt x="2207514" y="11969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  <p:sp>
          <p:nvSpPr>
            <p:cNvPr id="799" name="Freeform: Shape 798">
              <a:extLst>
                <a:ext uri="{FF2B5EF4-FFF2-40B4-BE49-F238E27FC236}">
                  <a16:creationId xmlns:a16="http://schemas.microsoft.com/office/drawing/2014/main" id="{A58DAB95-0D27-4A34-9DE5-49C2CA7F51F6}"/>
                </a:ext>
              </a:extLst>
            </p:cNvPr>
            <p:cNvSpPr/>
            <p:nvPr/>
          </p:nvSpPr>
          <p:spPr bwMode="gray">
            <a:xfrm>
              <a:off x="10330395" y="2612091"/>
              <a:ext cx="4867275" cy="2352673"/>
            </a:xfrm>
            <a:custGeom>
              <a:avLst/>
              <a:gdLst>
                <a:gd name="connsiteX0" fmla="*/ 4844987 w 4867275"/>
                <a:gd name="connsiteY0" fmla="*/ 655366 h 2352675"/>
                <a:gd name="connsiteX1" fmla="*/ 4352735 w 4867275"/>
                <a:gd name="connsiteY1" fmla="*/ 464676 h 2352675"/>
                <a:gd name="connsiteX2" fmla="*/ 4351306 w 4867275"/>
                <a:gd name="connsiteY2" fmla="*/ 465342 h 2352675"/>
                <a:gd name="connsiteX3" fmla="*/ 3728942 w 4867275"/>
                <a:gd name="connsiteY3" fmla="*/ 752331 h 2352675"/>
                <a:gd name="connsiteX4" fmla="*/ 3682365 w 4867275"/>
                <a:gd name="connsiteY4" fmla="*/ 878727 h 2352675"/>
                <a:gd name="connsiteX5" fmla="*/ 3808762 w 4867275"/>
                <a:gd name="connsiteY5" fmla="*/ 925305 h 2352675"/>
                <a:gd name="connsiteX6" fmla="*/ 4430364 w 4867275"/>
                <a:gd name="connsiteY6" fmla="*/ 638698 h 2352675"/>
                <a:gd name="connsiteX7" fmla="*/ 4670679 w 4867275"/>
                <a:gd name="connsiteY7" fmla="*/ 732328 h 2352675"/>
                <a:gd name="connsiteX8" fmla="*/ 4577334 w 4867275"/>
                <a:gd name="connsiteY8" fmla="*/ 973311 h 2352675"/>
                <a:gd name="connsiteX9" fmla="*/ 3303746 w 4867275"/>
                <a:gd name="connsiteY9" fmla="*/ 1535667 h 2352675"/>
                <a:gd name="connsiteX10" fmla="*/ 2675287 w 4867275"/>
                <a:gd name="connsiteY10" fmla="*/ 1521475 h 2352675"/>
                <a:gd name="connsiteX11" fmla="*/ 2209133 w 4867275"/>
                <a:gd name="connsiteY11" fmla="*/ 1289826 h 2352675"/>
                <a:gd name="connsiteX12" fmla="*/ 1419035 w 4867275"/>
                <a:gd name="connsiteY12" fmla="*/ 1271919 h 2352675"/>
                <a:gd name="connsiteX13" fmla="*/ 1409891 w 4867275"/>
                <a:gd name="connsiteY13" fmla="*/ 1276015 h 2352675"/>
                <a:gd name="connsiteX14" fmla="*/ 1061466 w 4867275"/>
                <a:gd name="connsiteY14" fmla="*/ 486869 h 2352675"/>
                <a:gd name="connsiteX15" fmla="*/ 1545146 w 4867275"/>
                <a:gd name="connsiteY15" fmla="*/ 273318 h 2352675"/>
                <a:gd name="connsiteX16" fmla="*/ 2269141 w 4867275"/>
                <a:gd name="connsiteY16" fmla="*/ 250173 h 2352675"/>
                <a:gd name="connsiteX17" fmla="*/ 3206591 w 4867275"/>
                <a:gd name="connsiteY17" fmla="*/ 594406 h 2352675"/>
                <a:gd name="connsiteX18" fmla="*/ 3308223 w 4867275"/>
                <a:gd name="connsiteY18" fmla="*/ 807671 h 2352675"/>
                <a:gd name="connsiteX19" fmla="*/ 3094196 w 4867275"/>
                <a:gd name="connsiteY19" fmla="*/ 913017 h 2352675"/>
                <a:gd name="connsiteX20" fmla="*/ 2369249 w 4867275"/>
                <a:gd name="connsiteY20" fmla="*/ 667844 h 2352675"/>
                <a:gd name="connsiteX21" fmla="*/ 2248472 w 4867275"/>
                <a:gd name="connsiteY21" fmla="*/ 727566 h 2352675"/>
                <a:gd name="connsiteX22" fmla="*/ 2308193 w 4867275"/>
                <a:gd name="connsiteY22" fmla="*/ 848343 h 2352675"/>
                <a:gd name="connsiteX23" fmla="*/ 3033141 w 4867275"/>
                <a:gd name="connsiteY23" fmla="*/ 1093516 h 2352675"/>
                <a:gd name="connsiteX24" fmla="*/ 3147822 w 4867275"/>
                <a:gd name="connsiteY24" fmla="*/ 1112471 h 2352675"/>
                <a:gd name="connsiteX25" fmla="*/ 3488436 w 4867275"/>
                <a:gd name="connsiteY25" fmla="*/ 869393 h 2352675"/>
                <a:gd name="connsiteX26" fmla="*/ 3272219 w 4867275"/>
                <a:gd name="connsiteY26" fmla="*/ 415622 h 2352675"/>
                <a:gd name="connsiteX27" fmla="*/ 2334768 w 4867275"/>
                <a:gd name="connsiteY27" fmla="*/ 71389 h 2352675"/>
                <a:gd name="connsiteX28" fmla="*/ 1468184 w 4867275"/>
                <a:gd name="connsiteY28" fmla="*/ 99011 h 2352675"/>
                <a:gd name="connsiteX29" fmla="*/ 981361 w 4867275"/>
                <a:gd name="connsiteY29" fmla="*/ 313990 h 2352675"/>
                <a:gd name="connsiteX30" fmla="*/ 866680 w 4867275"/>
                <a:gd name="connsiteY30" fmla="*/ 220836 h 2352675"/>
                <a:gd name="connsiteX31" fmla="*/ 682276 w 4867275"/>
                <a:gd name="connsiteY31" fmla="*/ 225027 h 2352675"/>
                <a:gd name="connsiteX32" fmla="*/ 57055 w 4867275"/>
                <a:gd name="connsiteY32" fmla="*/ 498966 h 2352675"/>
                <a:gd name="connsiteX33" fmla="*/ 0 w 4867275"/>
                <a:gd name="connsiteY33" fmla="*/ 586215 h 2352675"/>
                <a:gd name="connsiteX34" fmla="*/ 0 w 4867275"/>
                <a:gd name="connsiteY34" fmla="*/ 2264329 h 2352675"/>
                <a:gd name="connsiteX35" fmla="*/ 45339 w 4867275"/>
                <a:gd name="connsiteY35" fmla="*/ 2345482 h 2352675"/>
                <a:gd name="connsiteX36" fmla="*/ 95250 w 4867275"/>
                <a:gd name="connsiteY36" fmla="*/ 2359579 h 2352675"/>
                <a:gd name="connsiteX37" fmla="*/ 138208 w 4867275"/>
                <a:gd name="connsiteY37" fmla="*/ 2349388 h 2352675"/>
                <a:gd name="connsiteX38" fmla="*/ 1352264 w 4867275"/>
                <a:gd name="connsiteY38" fmla="*/ 1736073 h 2352675"/>
                <a:gd name="connsiteX39" fmla="*/ 1477328 w 4867275"/>
                <a:gd name="connsiteY39" fmla="*/ 1603675 h 2352675"/>
                <a:gd name="connsiteX40" fmla="*/ 1484662 w 4867275"/>
                <a:gd name="connsiteY40" fmla="*/ 1451275 h 2352675"/>
                <a:gd name="connsiteX41" fmla="*/ 1495997 w 4867275"/>
                <a:gd name="connsiteY41" fmla="*/ 1446227 h 2352675"/>
                <a:gd name="connsiteX42" fmla="*/ 2124456 w 4867275"/>
                <a:gd name="connsiteY42" fmla="*/ 1460515 h 2352675"/>
                <a:gd name="connsiteX43" fmla="*/ 2590610 w 4867275"/>
                <a:gd name="connsiteY43" fmla="*/ 1692163 h 2352675"/>
                <a:gd name="connsiteX44" fmla="*/ 3380708 w 4867275"/>
                <a:gd name="connsiteY44" fmla="*/ 1710069 h 2352675"/>
                <a:gd name="connsiteX45" fmla="*/ 4654296 w 4867275"/>
                <a:gd name="connsiteY45" fmla="*/ 1147714 h 2352675"/>
                <a:gd name="connsiteX46" fmla="*/ 4844987 w 4867275"/>
                <a:gd name="connsiteY46" fmla="*/ 655366 h 2352675"/>
                <a:gd name="connsiteX47" fmla="*/ 1299591 w 4867275"/>
                <a:gd name="connsiteY47" fmla="*/ 1534809 h 2352675"/>
                <a:gd name="connsiteX48" fmla="*/ 1272731 w 4867275"/>
                <a:gd name="connsiteY48" fmla="*/ 1562908 h 2352675"/>
                <a:gd name="connsiteX49" fmla="*/ 1268254 w 4867275"/>
                <a:gd name="connsiteY49" fmla="*/ 1565004 h 2352675"/>
                <a:gd name="connsiteX50" fmla="*/ 190500 w 4867275"/>
                <a:gd name="connsiteY50" fmla="*/ 2109453 h 2352675"/>
                <a:gd name="connsiteX51" fmla="*/ 190500 w 4867275"/>
                <a:gd name="connsiteY51" fmla="*/ 1692543 h 2352675"/>
                <a:gd name="connsiteX52" fmla="*/ 472250 w 4867275"/>
                <a:gd name="connsiteY52" fmla="*/ 1554241 h 2352675"/>
                <a:gd name="connsiteX53" fmla="*/ 515779 w 4867275"/>
                <a:gd name="connsiteY53" fmla="*/ 1426701 h 2352675"/>
                <a:gd name="connsiteX54" fmla="*/ 388334 w 4867275"/>
                <a:gd name="connsiteY54" fmla="*/ 1383172 h 2352675"/>
                <a:gd name="connsiteX55" fmla="*/ 190500 w 4867275"/>
                <a:gd name="connsiteY55" fmla="*/ 1480326 h 2352675"/>
                <a:gd name="connsiteX56" fmla="*/ 190500 w 4867275"/>
                <a:gd name="connsiteY56" fmla="*/ 648508 h 2352675"/>
                <a:gd name="connsiteX57" fmla="*/ 759047 w 4867275"/>
                <a:gd name="connsiteY57" fmla="*/ 399430 h 2352675"/>
                <a:gd name="connsiteX58" fmla="*/ 797909 w 4867275"/>
                <a:gd name="connsiteY58" fmla="*/ 398477 h 2352675"/>
                <a:gd name="connsiteX59" fmla="*/ 826008 w 4867275"/>
                <a:gd name="connsiteY59" fmla="*/ 425338 h 2352675"/>
                <a:gd name="connsiteX60" fmla="*/ 1274064 w 4867275"/>
                <a:gd name="connsiteY60" fmla="*/ 1440036 h 2352675"/>
                <a:gd name="connsiteX61" fmla="*/ 1274159 w 4867275"/>
                <a:gd name="connsiteY61" fmla="*/ 1440322 h 2352675"/>
                <a:gd name="connsiteX62" fmla="*/ 1298734 w 4867275"/>
                <a:gd name="connsiteY62" fmla="*/ 1495948 h 2352675"/>
                <a:gd name="connsiteX63" fmla="*/ 1299591 w 4867275"/>
                <a:gd name="connsiteY63" fmla="*/ 1534809 h 2352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67275" h="2352675">
                  <a:moveTo>
                    <a:pt x="4844987" y="655366"/>
                  </a:moveTo>
                  <a:cubicBezTo>
                    <a:pt x="4761833" y="467057"/>
                    <a:pt x="4541044" y="381618"/>
                    <a:pt x="4352735" y="464676"/>
                  </a:cubicBezTo>
                  <a:cubicBezTo>
                    <a:pt x="4352258" y="464866"/>
                    <a:pt x="4351782" y="465152"/>
                    <a:pt x="4351306" y="465342"/>
                  </a:cubicBezTo>
                  <a:lnTo>
                    <a:pt x="3728942" y="752331"/>
                  </a:lnTo>
                  <a:cubicBezTo>
                    <a:pt x="3681127" y="774333"/>
                    <a:pt x="3660267" y="830912"/>
                    <a:pt x="3682365" y="878727"/>
                  </a:cubicBezTo>
                  <a:cubicBezTo>
                    <a:pt x="3704368" y="926543"/>
                    <a:pt x="3760946" y="947308"/>
                    <a:pt x="3808762" y="925305"/>
                  </a:cubicBezTo>
                  <a:lnTo>
                    <a:pt x="4430364" y="638698"/>
                  </a:lnTo>
                  <a:cubicBezTo>
                    <a:pt x="4522375" y="598502"/>
                    <a:pt x="4630103" y="640412"/>
                    <a:pt x="4670679" y="732328"/>
                  </a:cubicBezTo>
                  <a:cubicBezTo>
                    <a:pt x="4711351" y="824530"/>
                    <a:pt x="4669441" y="932639"/>
                    <a:pt x="4577334" y="973311"/>
                  </a:cubicBezTo>
                  <a:lnTo>
                    <a:pt x="3303746" y="1535667"/>
                  </a:lnTo>
                  <a:cubicBezTo>
                    <a:pt x="3101912" y="1624821"/>
                    <a:pt x="2872931" y="1619582"/>
                    <a:pt x="2675287" y="1521475"/>
                  </a:cubicBezTo>
                  <a:lnTo>
                    <a:pt x="2209133" y="1289826"/>
                  </a:lnTo>
                  <a:cubicBezTo>
                    <a:pt x="1960721" y="1166383"/>
                    <a:pt x="1672685" y="1159906"/>
                    <a:pt x="1419035" y="1271919"/>
                  </a:cubicBezTo>
                  <a:lnTo>
                    <a:pt x="1409891" y="1276015"/>
                  </a:lnTo>
                  <a:lnTo>
                    <a:pt x="1061466" y="486869"/>
                  </a:lnTo>
                  <a:lnTo>
                    <a:pt x="1545146" y="273318"/>
                  </a:lnTo>
                  <a:cubicBezTo>
                    <a:pt x="1775555" y="171591"/>
                    <a:pt x="2032730" y="163400"/>
                    <a:pt x="2269141" y="250173"/>
                  </a:cubicBezTo>
                  <a:lnTo>
                    <a:pt x="3206591" y="594406"/>
                  </a:lnTo>
                  <a:cubicBezTo>
                    <a:pt x="3292126" y="625839"/>
                    <a:pt x="3337751" y="721470"/>
                    <a:pt x="3308223" y="807671"/>
                  </a:cubicBezTo>
                  <a:cubicBezTo>
                    <a:pt x="3278220" y="895491"/>
                    <a:pt x="3182207" y="942735"/>
                    <a:pt x="3094196" y="913017"/>
                  </a:cubicBezTo>
                  <a:lnTo>
                    <a:pt x="2369249" y="667844"/>
                  </a:lnTo>
                  <a:cubicBezTo>
                    <a:pt x="2319433" y="650985"/>
                    <a:pt x="2265331" y="677750"/>
                    <a:pt x="2248472" y="727566"/>
                  </a:cubicBezTo>
                  <a:cubicBezTo>
                    <a:pt x="2231612" y="777382"/>
                    <a:pt x="2258378" y="831483"/>
                    <a:pt x="2308193" y="848343"/>
                  </a:cubicBezTo>
                  <a:lnTo>
                    <a:pt x="3033141" y="1093516"/>
                  </a:lnTo>
                  <a:cubicBezTo>
                    <a:pt x="3071051" y="1106375"/>
                    <a:pt x="3109722" y="1112471"/>
                    <a:pt x="3147822" y="1112471"/>
                  </a:cubicBezTo>
                  <a:cubicBezTo>
                    <a:pt x="3297365" y="1112471"/>
                    <a:pt x="3437478" y="1018364"/>
                    <a:pt x="3488436" y="869393"/>
                  </a:cubicBezTo>
                  <a:cubicBezTo>
                    <a:pt x="3551206" y="686037"/>
                    <a:pt x="3454146" y="482392"/>
                    <a:pt x="3272219" y="415622"/>
                  </a:cubicBezTo>
                  <a:lnTo>
                    <a:pt x="2334768" y="71389"/>
                  </a:lnTo>
                  <a:cubicBezTo>
                    <a:pt x="2051780" y="-32529"/>
                    <a:pt x="1743932" y="-22718"/>
                    <a:pt x="1468184" y="99011"/>
                  </a:cubicBezTo>
                  <a:lnTo>
                    <a:pt x="981361" y="313990"/>
                  </a:lnTo>
                  <a:cubicBezTo>
                    <a:pt x="953929" y="271890"/>
                    <a:pt x="914400" y="239409"/>
                    <a:pt x="866680" y="220836"/>
                  </a:cubicBezTo>
                  <a:cubicBezTo>
                    <a:pt x="806577" y="197595"/>
                    <a:pt x="741045" y="199024"/>
                    <a:pt x="682276" y="225027"/>
                  </a:cubicBezTo>
                  <a:lnTo>
                    <a:pt x="57055" y="498966"/>
                  </a:lnTo>
                  <a:cubicBezTo>
                    <a:pt x="22384" y="514206"/>
                    <a:pt x="0" y="548400"/>
                    <a:pt x="0" y="586215"/>
                  </a:cubicBezTo>
                  <a:lnTo>
                    <a:pt x="0" y="2264329"/>
                  </a:lnTo>
                  <a:cubicBezTo>
                    <a:pt x="0" y="2297381"/>
                    <a:pt x="17145" y="2328147"/>
                    <a:pt x="45339" y="2345482"/>
                  </a:cubicBezTo>
                  <a:cubicBezTo>
                    <a:pt x="60579" y="2354817"/>
                    <a:pt x="77915" y="2359579"/>
                    <a:pt x="95250" y="2359579"/>
                  </a:cubicBezTo>
                  <a:cubicBezTo>
                    <a:pt x="109919" y="2359579"/>
                    <a:pt x="124682" y="2356150"/>
                    <a:pt x="138208" y="2349388"/>
                  </a:cubicBezTo>
                  <a:lnTo>
                    <a:pt x="1352264" y="1736073"/>
                  </a:lnTo>
                  <a:cubicBezTo>
                    <a:pt x="1409986" y="1709784"/>
                    <a:pt x="1454372" y="1662825"/>
                    <a:pt x="1477328" y="1603675"/>
                  </a:cubicBezTo>
                  <a:cubicBezTo>
                    <a:pt x="1496473" y="1554336"/>
                    <a:pt x="1498854" y="1501282"/>
                    <a:pt x="1484662" y="1451275"/>
                  </a:cubicBezTo>
                  <a:lnTo>
                    <a:pt x="1495997" y="1446227"/>
                  </a:lnTo>
                  <a:cubicBezTo>
                    <a:pt x="1697831" y="1357073"/>
                    <a:pt x="1926908" y="1362312"/>
                    <a:pt x="2124456" y="1460515"/>
                  </a:cubicBezTo>
                  <a:lnTo>
                    <a:pt x="2590610" y="1692163"/>
                  </a:lnTo>
                  <a:cubicBezTo>
                    <a:pt x="2839022" y="1815607"/>
                    <a:pt x="3127058" y="1822084"/>
                    <a:pt x="3380708" y="1710069"/>
                  </a:cubicBezTo>
                  <a:lnTo>
                    <a:pt x="4654296" y="1147714"/>
                  </a:lnTo>
                  <a:cubicBezTo>
                    <a:pt x="4842606" y="1064465"/>
                    <a:pt x="4928140" y="843675"/>
                    <a:pt x="4844987" y="655366"/>
                  </a:cubicBezTo>
                  <a:close/>
                  <a:moveTo>
                    <a:pt x="1299591" y="1534809"/>
                  </a:moveTo>
                  <a:cubicBezTo>
                    <a:pt x="1294733" y="1547478"/>
                    <a:pt x="1285113" y="1557479"/>
                    <a:pt x="1272731" y="1562908"/>
                  </a:cubicBezTo>
                  <a:cubicBezTo>
                    <a:pt x="1271207" y="1563575"/>
                    <a:pt x="1269683" y="1564242"/>
                    <a:pt x="1268254" y="1565004"/>
                  </a:cubicBezTo>
                  <a:lnTo>
                    <a:pt x="190500" y="2109453"/>
                  </a:lnTo>
                  <a:lnTo>
                    <a:pt x="190500" y="1692543"/>
                  </a:lnTo>
                  <a:lnTo>
                    <a:pt x="472250" y="1554241"/>
                  </a:lnTo>
                  <a:cubicBezTo>
                    <a:pt x="519494" y="1531095"/>
                    <a:pt x="538925" y="1473945"/>
                    <a:pt x="515779" y="1426701"/>
                  </a:cubicBezTo>
                  <a:cubicBezTo>
                    <a:pt x="492633" y="1379457"/>
                    <a:pt x="435483" y="1360026"/>
                    <a:pt x="388334" y="1383172"/>
                  </a:cubicBezTo>
                  <a:lnTo>
                    <a:pt x="190500" y="1480326"/>
                  </a:lnTo>
                  <a:lnTo>
                    <a:pt x="190500" y="648508"/>
                  </a:lnTo>
                  <a:lnTo>
                    <a:pt x="759047" y="399430"/>
                  </a:lnTo>
                  <a:cubicBezTo>
                    <a:pt x="771430" y="393905"/>
                    <a:pt x="785241" y="393619"/>
                    <a:pt x="797909" y="398477"/>
                  </a:cubicBezTo>
                  <a:cubicBezTo>
                    <a:pt x="810578" y="403430"/>
                    <a:pt x="820579" y="412955"/>
                    <a:pt x="826008" y="425338"/>
                  </a:cubicBezTo>
                  <a:lnTo>
                    <a:pt x="1274064" y="1440036"/>
                  </a:lnTo>
                  <a:cubicBezTo>
                    <a:pt x="1274064" y="1440131"/>
                    <a:pt x="1274159" y="1440226"/>
                    <a:pt x="1274159" y="1440322"/>
                  </a:cubicBezTo>
                  <a:lnTo>
                    <a:pt x="1298734" y="1495948"/>
                  </a:lnTo>
                  <a:cubicBezTo>
                    <a:pt x="1304258" y="1508330"/>
                    <a:pt x="1304544" y="1522141"/>
                    <a:pt x="1299591" y="153480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t"/>
            <a:lstStyle/>
            <a:p>
              <a:endParaRPr lang="de-DE" sz="600"/>
            </a:p>
          </p:txBody>
        </p:sp>
      </p:grpSp>
      <p:sp>
        <p:nvSpPr>
          <p:cNvPr id="800" name="TextBox 16">
            <a:extLst>
              <a:ext uri="{FF2B5EF4-FFF2-40B4-BE49-F238E27FC236}">
                <a16:creationId xmlns:a16="http://schemas.microsoft.com/office/drawing/2014/main" id="{88D455D6-C976-488A-B524-C24FFCDFB63D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187624" y="3909208"/>
            <a:ext cx="882177" cy="195902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marL="0" lvl="0" indent="0" defTabSz="913542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80000" lvl="1" indent="-180000" defTabSz="91354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360000" lvl="2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540000" lvl="3" indent="-180000" defTabSz="91354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20000" lvl="4" indent="-180000" defTabSz="91354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42" indent="-132820" defTabSz="91354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lvl="0">
              <a:buClr>
                <a:srgbClr val="B2B2B2"/>
              </a:buClr>
              <a:defRPr/>
            </a:pP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CLIMATE-</a:t>
            </a:r>
            <a:b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</a:br>
            <a:r>
              <a:rPr lang="en-GB" sz="600" b="1">
                <a:solidFill>
                  <a:schemeClr val="tx2"/>
                </a:solidFill>
                <a:cs typeface="Calibri" panose="020F0502020204030204" pitchFamily="34" charset="0"/>
              </a:rPr>
              <a:t>RELEVANT RESOURCES</a:t>
            </a:r>
            <a:endParaRPr lang="en-GB" sz="600" b="1" dirty="0">
              <a:solidFill>
                <a:schemeClr val="tx2"/>
              </a:solidFill>
              <a:cs typeface="Calibri" panose="020F050202020403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48CED03-1310-4951-B0EC-4B9169757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6308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4" name="Picture 713">
            <a:extLst>
              <a:ext uri="{FF2B5EF4-FFF2-40B4-BE49-F238E27FC236}">
                <a16:creationId xmlns:a16="http://schemas.microsoft.com/office/drawing/2014/main" id="{07059C76-0BBF-4D21-BE1E-9B3E87ADD34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7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8" t="54727" b="1"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15" name="Rectangle 714">
            <a:extLst>
              <a:ext uri="{FF2B5EF4-FFF2-40B4-BE49-F238E27FC236}">
                <a16:creationId xmlns:a16="http://schemas.microsoft.com/office/drawing/2014/main" id="{BFB9FB67-B635-42F4-88E3-4BE4CC62C5A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-2981"/>
            <a:ext cx="9144000" cy="51435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738" name="Rectangle 20">
            <a:extLst>
              <a:ext uri="{FF2B5EF4-FFF2-40B4-BE49-F238E27FC236}">
                <a16:creationId xmlns:a16="http://schemas.microsoft.com/office/drawing/2014/main" id="{29FDDB88-14F9-4B8F-9BE0-70948335CDD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50026" y="555526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2400" b="1" dirty="0">
                <a:solidFill>
                  <a:schemeClr val="tx1"/>
                </a:solidFill>
              </a:rPr>
              <a:t>THE SMART TECHEM HOUSE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0534AC7-C6F3-4A61-BB7B-61D766B2C022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8140230" y="922567"/>
            <a:ext cx="564412" cy="472905"/>
            <a:chOff x="8140230" y="971550"/>
            <a:chExt cx="564412" cy="472905"/>
          </a:xfrm>
        </p:grpSpPr>
        <p:grpSp>
          <p:nvGrpSpPr>
            <p:cNvPr id="790" name="Group 789">
              <a:extLst>
                <a:ext uri="{FF2B5EF4-FFF2-40B4-BE49-F238E27FC236}">
                  <a16:creationId xmlns:a16="http://schemas.microsoft.com/office/drawing/2014/main" id="{AB764E7F-CB92-4673-ACF3-A617F9A6D439}"/>
                </a:ext>
              </a:extLst>
            </p:cNvPr>
            <p:cNvGrpSpPr/>
            <p:nvPr>
              <p:custDataLst>
                <p:tags r:id="rId73"/>
              </p:custDataLst>
            </p:nvPr>
          </p:nvGrpSpPr>
          <p:grpSpPr bwMode="gray">
            <a:xfrm>
              <a:off x="8247096" y="971550"/>
              <a:ext cx="350681" cy="345009"/>
              <a:chOff x="10330395" y="176211"/>
              <a:chExt cx="4867275" cy="4788553"/>
            </a:xfrm>
            <a:solidFill>
              <a:schemeClr val="accent4"/>
            </a:solidFill>
          </p:grpSpPr>
          <p:sp>
            <p:nvSpPr>
              <p:cNvPr id="791" name="Freeform: Shape 790">
                <a:extLst>
                  <a:ext uri="{FF2B5EF4-FFF2-40B4-BE49-F238E27FC236}">
                    <a16:creationId xmlns:a16="http://schemas.microsoft.com/office/drawing/2014/main" id="{2731FD05-4C94-411A-B1CF-5CDDF1E9A68A}"/>
                  </a:ext>
                </a:extLst>
              </p:cNvPr>
              <p:cNvSpPr/>
              <p:nvPr/>
            </p:nvSpPr>
            <p:spPr bwMode="gray">
              <a:xfrm>
                <a:off x="11008194" y="3839526"/>
                <a:ext cx="190498" cy="190498"/>
              </a:xfrm>
              <a:custGeom>
                <a:avLst/>
                <a:gdLst>
                  <a:gd name="connsiteX0" fmla="*/ 190500 w 190500"/>
                  <a:gd name="connsiteY0" fmla="*/ 95250 h 190500"/>
                  <a:gd name="connsiteX1" fmla="*/ 95250 w 190500"/>
                  <a:gd name="connsiteY1" fmla="*/ 190500 h 190500"/>
                  <a:gd name="connsiteX2" fmla="*/ 0 w 190500"/>
                  <a:gd name="connsiteY2" fmla="*/ 95250 h 190500"/>
                  <a:gd name="connsiteX3" fmla="*/ 95250 w 190500"/>
                  <a:gd name="connsiteY3" fmla="*/ 0 h 190500"/>
                  <a:gd name="connsiteX4" fmla="*/ 190500 w 190500"/>
                  <a:gd name="connsiteY4" fmla="*/ 95250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190500">
                    <a:moveTo>
                      <a:pt x="190500" y="95250"/>
                    </a:moveTo>
                    <a:cubicBezTo>
                      <a:pt x="190500" y="147855"/>
                      <a:pt x="147855" y="190500"/>
                      <a:pt x="95250" y="190500"/>
                    </a:cubicBezTo>
                    <a:cubicBezTo>
                      <a:pt x="42645" y="190500"/>
                      <a:pt x="0" y="147855"/>
                      <a:pt x="0" y="95250"/>
                    </a:cubicBezTo>
                    <a:cubicBezTo>
                      <a:pt x="0" y="42645"/>
                      <a:pt x="42645" y="0"/>
                      <a:pt x="95250" y="0"/>
                    </a:cubicBezTo>
                    <a:cubicBezTo>
                      <a:pt x="147855" y="0"/>
                      <a:pt x="190500" y="42645"/>
                      <a:pt x="19050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  <p:sp>
            <p:nvSpPr>
              <p:cNvPr id="792" name="Freeform: Shape 791">
                <a:extLst>
                  <a:ext uri="{FF2B5EF4-FFF2-40B4-BE49-F238E27FC236}">
                    <a16:creationId xmlns:a16="http://schemas.microsoft.com/office/drawing/2014/main" id="{6F22AE0A-ABEA-4CA6-A0B7-9C1BE5BF7C43}"/>
                  </a:ext>
                </a:extLst>
              </p:cNvPr>
              <p:cNvSpPr/>
              <p:nvPr/>
            </p:nvSpPr>
            <p:spPr bwMode="gray">
              <a:xfrm>
                <a:off x="12420560" y="176211"/>
                <a:ext cx="2390777" cy="2743203"/>
              </a:xfrm>
              <a:custGeom>
                <a:avLst/>
                <a:gdLst>
                  <a:gd name="connsiteX0" fmla="*/ 2302764 w 2390775"/>
                  <a:gd name="connsiteY0" fmla="*/ 844677 h 2743200"/>
                  <a:gd name="connsiteX1" fmla="*/ 1742313 w 2390775"/>
                  <a:gd name="connsiteY1" fmla="*/ 844677 h 2743200"/>
                  <a:gd name="connsiteX2" fmla="*/ 1409033 w 2390775"/>
                  <a:gd name="connsiteY2" fmla="*/ 964692 h 2743200"/>
                  <a:gd name="connsiteX3" fmla="*/ 1409033 w 2390775"/>
                  <a:gd name="connsiteY3" fmla="*/ 939927 h 2743200"/>
                  <a:gd name="connsiteX4" fmla="*/ 1409033 w 2390775"/>
                  <a:gd name="connsiteY4" fmla="*/ 678371 h 2743200"/>
                  <a:gd name="connsiteX5" fmla="*/ 730663 w 2390775"/>
                  <a:gd name="connsiteY5" fmla="*/ 0 h 2743200"/>
                  <a:gd name="connsiteX6" fmla="*/ 95250 w 2390775"/>
                  <a:gd name="connsiteY6" fmla="*/ 0 h 2743200"/>
                  <a:gd name="connsiteX7" fmla="*/ 0 w 2390775"/>
                  <a:gd name="connsiteY7" fmla="*/ 95250 h 2743200"/>
                  <a:gd name="connsiteX8" fmla="*/ 0 w 2390775"/>
                  <a:gd name="connsiteY8" fmla="*/ 356807 h 2743200"/>
                  <a:gd name="connsiteX9" fmla="*/ 678371 w 2390775"/>
                  <a:gd name="connsiteY9" fmla="*/ 1035177 h 2743200"/>
                  <a:gd name="connsiteX10" fmla="*/ 1218533 w 2390775"/>
                  <a:gd name="connsiteY10" fmla="*/ 1035177 h 2743200"/>
                  <a:gd name="connsiteX11" fmla="*/ 1218533 w 2390775"/>
                  <a:gd name="connsiteY11" fmla="*/ 1368457 h 2743200"/>
                  <a:gd name="connsiteX12" fmla="*/ 1218533 w 2390775"/>
                  <a:gd name="connsiteY12" fmla="*/ 1625441 h 2743200"/>
                  <a:gd name="connsiteX13" fmla="*/ 1218533 w 2390775"/>
                  <a:gd name="connsiteY13" fmla="*/ 2000726 h 2743200"/>
                  <a:gd name="connsiteX14" fmla="*/ 1142714 w 2390775"/>
                  <a:gd name="connsiteY14" fmla="*/ 1998250 h 2743200"/>
                  <a:gd name="connsiteX15" fmla="*/ 450628 w 2390775"/>
                  <a:gd name="connsiteY15" fmla="*/ 2221421 h 2743200"/>
                  <a:gd name="connsiteX16" fmla="*/ 429101 w 2390775"/>
                  <a:gd name="connsiteY16" fmla="*/ 2354390 h 2743200"/>
                  <a:gd name="connsiteX17" fmla="*/ 562070 w 2390775"/>
                  <a:gd name="connsiteY17" fmla="*/ 2375916 h 2743200"/>
                  <a:gd name="connsiteX18" fmla="*/ 1142714 w 2390775"/>
                  <a:gd name="connsiteY18" fmla="*/ 2188750 h 2743200"/>
                  <a:gd name="connsiteX19" fmla="*/ 1293019 w 2390775"/>
                  <a:gd name="connsiteY19" fmla="*/ 2200275 h 2743200"/>
                  <a:gd name="connsiteX20" fmla="*/ 1305592 w 2390775"/>
                  <a:gd name="connsiteY20" fmla="*/ 2202180 h 2743200"/>
                  <a:gd name="connsiteX21" fmla="*/ 2012632 w 2390775"/>
                  <a:gd name="connsiteY21" fmla="*/ 2701576 h 2743200"/>
                  <a:gd name="connsiteX22" fmla="*/ 2096072 w 2390775"/>
                  <a:gd name="connsiteY22" fmla="*/ 2750630 h 2743200"/>
                  <a:gd name="connsiteX23" fmla="*/ 2142173 w 2390775"/>
                  <a:gd name="connsiteY23" fmla="*/ 2738628 h 2743200"/>
                  <a:gd name="connsiteX24" fmla="*/ 2179320 w 2390775"/>
                  <a:gd name="connsiteY24" fmla="*/ 2609183 h 2743200"/>
                  <a:gd name="connsiteX25" fmla="*/ 1409129 w 2390775"/>
                  <a:gd name="connsiteY25" fmla="*/ 2028539 h 2743200"/>
                  <a:gd name="connsiteX26" fmla="*/ 1409129 w 2390775"/>
                  <a:gd name="connsiteY26" fmla="*/ 1720596 h 2743200"/>
                  <a:gd name="connsiteX27" fmla="*/ 1874330 w 2390775"/>
                  <a:gd name="connsiteY27" fmla="*/ 1720596 h 2743200"/>
                  <a:gd name="connsiteX28" fmla="*/ 2398109 w 2390775"/>
                  <a:gd name="connsiteY28" fmla="*/ 1196816 h 2743200"/>
                  <a:gd name="connsiteX29" fmla="*/ 2398109 w 2390775"/>
                  <a:gd name="connsiteY29" fmla="*/ 939927 h 2743200"/>
                  <a:gd name="connsiteX30" fmla="*/ 2302764 w 2390775"/>
                  <a:gd name="connsiteY30" fmla="*/ 844677 h 2743200"/>
                  <a:gd name="connsiteX31" fmla="*/ 1218533 w 2390775"/>
                  <a:gd name="connsiteY31" fmla="*/ 844677 h 2743200"/>
                  <a:gd name="connsiteX32" fmla="*/ 678371 w 2390775"/>
                  <a:gd name="connsiteY32" fmla="*/ 844677 h 2743200"/>
                  <a:gd name="connsiteX33" fmla="*/ 190500 w 2390775"/>
                  <a:gd name="connsiteY33" fmla="*/ 356807 h 2743200"/>
                  <a:gd name="connsiteX34" fmla="*/ 190500 w 2390775"/>
                  <a:gd name="connsiteY34" fmla="*/ 190500 h 2743200"/>
                  <a:gd name="connsiteX35" fmla="*/ 730758 w 2390775"/>
                  <a:gd name="connsiteY35" fmla="*/ 190500 h 2743200"/>
                  <a:gd name="connsiteX36" fmla="*/ 1218629 w 2390775"/>
                  <a:gd name="connsiteY36" fmla="*/ 678371 h 2743200"/>
                  <a:gd name="connsiteX37" fmla="*/ 1218533 w 2390775"/>
                  <a:gd name="connsiteY37" fmla="*/ 844677 h 2743200"/>
                  <a:gd name="connsiteX38" fmla="*/ 1218533 w 2390775"/>
                  <a:gd name="connsiteY38" fmla="*/ 844677 h 2743200"/>
                  <a:gd name="connsiteX39" fmla="*/ 2207514 w 2390775"/>
                  <a:gd name="connsiteY39" fmla="*/ 1196912 h 2743200"/>
                  <a:gd name="connsiteX40" fmla="*/ 1874234 w 2390775"/>
                  <a:gd name="connsiteY40" fmla="*/ 1530191 h 2743200"/>
                  <a:gd name="connsiteX41" fmla="*/ 1409033 w 2390775"/>
                  <a:gd name="connsiteY41" fmla="*/ 1530191 h 2743200"/>
                  <a:gd name="connsiteX42" fmla="*/ 1409033 w 2390775"/>
                  <a:gd name="connsiteY42" fmla="*/ 1368457 h 2743200"/>
                  <a:gd name="connsiteX43" fmla="*/ 1742313 w 2390775"/>
                  <a:gd name="connsiteY43" fmla="*/ 1035177 h 2743200"/>
                  <a:gd name="connsiteX44" fmla="*/ 2207514 w 2390775"/>
                  <a:gd name="connsiteY44" fmla="*/ 1035177 h 2743200"/>
                  <a:gd name="connsiteX45" fmla="*/ 2207514 w 2390775"/>
                  <a:gd name="connsiteY45" fmla="*/ 1196912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390775" h="2743200">
                    <a:moveTo>
                      <a:pt x="2302764" y="844677"/>
                    </a:moveTo>
                    <a:lnTo>
                      <a:pt x="1742313" y="844677"/>
                    </a:lnTo>
                    <a:cubicBezTo>
                      <a:pt x="1615821" y="844677"/>
                      <a:pt x="1499616" y="889730"/>
                      <a:pt x="1409033" y="964692"/>
                    </a:cubicBezTo>
                    <a:lnTo>
                      <a:pt x="1409033" y="939927"/>
                    </a:lnTo>
                    <a:lnTo>
                      <a:pt x="1409033" y="678371"/>
                    </a:lnTo>
                    <a:cubicBezTo>
                      <a:pt x="1409033" y="304324"/>
                      <a:pt x="1104710" y="0"/>
                      <a:pt x="730663" y="0"/>
                    </a:cubicBezTo>
                    <a:lnTo>
                      <a:pt x="95250" y="0"/>
                    </a:lnTo>
                    <a:cubicBezTo>
                      <a:pt x="42672" y="0"/>
                      <a:pt x="0" y="42672"/>
                      <a:pt x="0" y="95250"/>
                    </a:cubicBezTo>
                    <a:lnTo>
                      <a:pt x="0" y="356807"/>
                    </a:lnTo>
                    <a:cubicBezTo>
                      <a:pt x="0" y="730853"/>
                      <a:pt x="304324" y="1035177"/>
                      <a:pt x="678371" y="1035177"/>
                    </a:cubicBezTo>
                    <a:lnTo>
                      <a:pt x="1218533" y="1035177"/>
                    </a:lnTo>
                    <a:lnTo>
                      <a:pt x="1218533" y="1368457"/>
                    </a:lnTo>
                    <a:lnTo>
                      <a:pt x="1218533" y="1625441"/>
                    </a:lnTo>
                    <a:lnTo>
                      <a:pt x="1218533" y="2000726"/>
                    </a:lnTo>
                    <a:cubicBezTo>
                      <a:pt x="1193387" y="1999107"/>
                      <a:pt x="1168146" y="1998250"/>
                      <a:pt x="1142714" y="1998250"/>
                    </a:cubicBezTo>
                    <a:cubicBezTo>
                      <a:pt x="892397" y="1998250"/>
                      <a:pt x="653034" y="2075402"/>
                      <a:pt x="450628" y="2221421"/>
                    </a:cubicBezTo>
                    <a:cubicBezTo>
                      <a:pt x="407956" y="2252186"/>
                      <a:pt x="398336" y="2311718"/>
                      <a:pt x="429101" y="2354390"/>
                    </a:cubicBezTo>
                    <a:cubicBezTo>
                      <a:pt x="459867" y="2397062"/>
                      <a:pt x="519398" y="2406682"/>
                      <a:pt x="562070" y="2375916"/>
                    </a:cubicBezTo>
                    <a:cubicBezTo>
                      <a:pt x="731806" y="2253520"/>
                      <a:pt x="932593" y="2188750"/>
                      <a:pt x="1142714" y="2188750"/>
                    </a:cubicBezTo>
                    <a:cubicBezTo>
                      <a:pt x="1193482" y="2188750"/>
                      <a:pt x="1243679" y="2192750"/>
                      <a:pt x="1293019" y="2200275"/>
                    </a:cubicBezTo>
                    <a:cubicBezTo>
                      <a:pt x="1297114" y="2201228"/>
                      <a:pt x="1301306" y="2201799"/>
                      <a:pt x="1305592" y="2202180"/>
                    </a:cubicBezTo>
                    <a:cubicBezTo>
                      <a:pt x="1602010" y="2251424"/>
                      <a:pt x="1864138" y="2433447"/>
                      <a:pt x="2012632" y="2701576"/>
                    </a:cubicBezTo>
                    <a:cubicBezTo>
                      <a:pt x="2030063" y="2733008"/>
                      <a:pt x="2062544" y="2750630"/>
                      <a:pt x="2096072" y="2750630"/>
                    </a:cubicBezTo>
                    <a:cubicBezTo>
                      <a:pt x="2111693" y="2750630"/>
                      <a:pt x="2127504" y="2746820"/>
                      <a:pt x="2142173" y="2738628"/>
                    </a:cubicBezTo>
                    <a:cubicBezTo>
                      <a:pt x="2188178" y="2713101"/>
                      <a:pt x="2204847" y="2655189"/>
                      <a:pt x="2179320" y="2609183"/>
                    </a:cubicBezTo>
                    <a:cubicBezTo>
                      <a:pt x="2014538" y="2311718"/>
                      <a:pt x="1732312" y="2103311"/>
                      <a:pt x="1409129" y="2028539"/>
                    </a:cubicBezTo>
                    <a:lnTo>
                      <a:pt x="1409129" y="1720596"/>
                    </a:lnTo>
                    <a:lnTo>
                      <a:pt x="1874330" y="1720596"/>
                    </a:lnTo>
                    <a:cubicBezTo>
                      <a:pt x="2163128" y="1720596"/>
                      <a:pt x="2398109" y="1485614"/>
                      <a:pt x="2398109" y="1196816"/>
                    </a:cubicBezTo>
                    <a:lnTo>
                      <a:pt x="2398109" y="939927"/>
                    </a:lnTo>
                    <a:cubicBezTo>
                      <a:pt x="2398014" y="887349"/>
                      <a:pt x="2355342" y="844677"/>
                      <a:pt x="2302764" y="844677"/>
                    </a:cubicBezTo>
                    <a:close/>
                    <a:moveTo>
                      <a:pt x="1218533" y="844677"/>
                    </a:moveTo>
                    <a:lnTo>
                      <a:pt x="678371" y="844677"/>
                    </a:lnTo>
                    <a:cubicBezTo>
                      <a:pt x="409385" y="844677"/>
                      <a:pt x="190500" y="625793"/>
                      <a:pt x="190500" y="356807"/>
                    </a:cubicBezTo>
                    <a:lnTo>
                      <a:pt x="190500" y="190500"/>
                    </a:lnTo>
                    <a:lnTo>
                      <a:pt x="730758" y="190500"/>
                    </a:lnTo>
                    <a:cubicBezTo>
                      <a:pt x="999744" y="190500"/>
                      <a:pt x="1218629" y="409385"/>
                      <a:pt x="1218629" y="678371"/>
                    </a:cubicBezTo>
                    <a:lnTo>
                      <a:pt x="1218533" y="844677"/>
                    </a:lnTo>
                    <a:lnTo>
                      <a:pt x="1218533" y="844677"/>
                    </a:lnTo>
                    <a:close/>
                    <a:moveTo>
                      <a:pt x="2207514" y="1196912"/>
                    </a:moveTo>
                    <a:cubicBezTo>
                      <a:pt x="2207514" y="1380649"/>
                      <a:pt x="2057972" y="1530191"/>
                      <a:pt x="1874234" y="1530191"/>
                    </a:cubicBezTo>
                    <a:lnTo>
                      <a:pt x="1409033" y="1530191"/>
                    </a:lnTo>
                    <a:lnTo>
                      <a:pt x="1409033" y="1368457"/>
                    </a:lnTo>
                    <a:cubicBezTo>
                      <a:pt x="1409033" y="1184624"/>
                      <a:pt x="1558576" y="1035177"/>
                      <a:pt x="1742313" y="1035177"/>
                    </a:cubicBezTo>
                    <a:lnTo>
                      <a:pt x="2207514" y="1035177"/>
                    </a:lnTo>
                    <a:lnTo>
                      <a:pt x="2207514" y="119691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  <p:sp>
            <p:nvSpPr>
              <p:cNvPr id="793" name="Freeform: Shape 792">
                <a:extLst>
                  <a:ext uri="{FF2B5EF4-FFF2-40B4-BE49-F238E27FC236}">
                    <a16:creationId xmlns:a16="http://schemas.microsoft.com/office/drawing/2014/main" id="{AEA41782-1CC3-4FF4-9F69-A39105C96B41}"/>
                  </a:ext>
                </a:extLst>
              </p:cNvPr>
              <p:cNvSpPr/>
              <p:nvPr/>
            </p:nvSpPr>
            <p:spPr bwMode="gray">
              <a:xfrm>
                <a:off x="10330395" y="2612091"/>
                <a:ext cx="4867275" cy="2352673"/>
              </a:xfrm>
              <a:custGeom>
                <a:avLst/>
                <a:gdLst>
                  <a:gd name="connsiteX0" fmla="*/ 4844987 w 4867275"/>
                  <a:gd name="connsiteY0" fmla="*/ 655366 h 2352675"/>
                  <a:gd name="connsiteX1" fmla="*/ 4352735 w 4867275"/>
                  <a:gd name="connsiteY1" fmla="*/ 464676 h 2352675"/>
                  <a:gd name="connsiteX2" fmla="*/ 4351306 w 4867275"/>
                  <a:gd name="connsiteY2" fmla="*/ 465342 h 2352675"/>
                  <a:gd name="connsiteX3" fmla="*/ 3728942 w 4867275"/>
                  <a:gd name="connsiteY3" fmla="*/ 752331 h 2352675"/>
                  <a:gd name="connsiteX4" fmla="*/ 3682365 w 4867275"/>
                  <a:gd name="connsiteY4" fmla="*/ 878727 h 2352675"/>
                  <a:gd name="connsiteX5" fmla="*/ 3808762 w 4867275"/>
                  <a:gd name="connsiteY5" fmla="*/ 925305 h 2352675"/>
                  <a:gd name="connsiteX6" fmla="*/ 4430364 w 4867275"/>
                  <a:gd name="connsiteY6" fmla="*/ 638698 h 2352675"/>
                  <a:gd name="connsiteX7" fmla="*/ 4670679 w 4867275"/>
                  <a:gd name="connsiteY7" fmla="*/ 732328 h 2352675"/>
                  <a:gd name="connsiteX8" fmla="*/ 4577334 w 4867275"/>
                  <a:gd name="connsiteY8" fmla="*/ 973311 h 2352675"/>
                  <a:gd name="connsiteX9" fmla="*/ 3303746 w 4867275"/>
                  <a:gd name="connsiteY9" fmla="*/ 1535667 h 2352675"/>
                  <a:gd name="connsiteX10" fmla="*/ 2675287 w 4867275"/>
                  <a:gd name="connsiteY10" fmla="*/ 1521475 h 2352675"/>
                  <a:gd name="connsiteX11" fmla="*/ 2209133 w 4867275"/>
                  <a:gd name="connsiteY11" fmla="*/ 1289826 h 2352675"/>
                  <a:gd name="connsiteX12" fmla="*/ 1419035 w 4867275"/>
                  <a:gd name="connsiteY12" fmla="*/ 1271919 h 2352675"/>
                  <a:gd name="connsiteX13" fmla="*/ 1409891 w 4867275"/>
                  <a:gd name="connsiteY13" fmla="*/ 1276015 h 2352675"/>
                  <a:gd name="connsiteX14" fmla="*/ 1061466 w 4867275"/>
                  <a:gd name="connsiteY14" fmla="*/ 486869 h 2352675"/>
                  <a:gd name="connsiteX15" fmla="*/ 1545146 w 4867275"/>
                  <a:gd name="connsiteY15" fmla="*/ 273318 h 2352675"/>
                  <a:gd name="connsiteX16" fmla="*/ 2269141 w 4867275"/>
                  <a:gd name="connsiteY16" fmla="*/ 250173 h 2352675"/>
                  <a:gd name="connsiteX17" fmla="*/ 3206591 w 4867275"/>
                  <a:gd name="connsiteY17" fmla="*/ 594406 h 2352675"/>
                  <a:gd name="connsiteX18" fmla="*/ 3308223 w 4867275"/>
                  <a:gd name="connsiteY18" fmla="*/ 807671 h 2352675"/>
                  <a:gd name="connsiteX19" fmla="*/ 3094196 w 4867275"/>
                  <a:gd name="connsiteY19" fmla="*/ 913017 h 2352675"/>
                  <a:gd name="connsiteX20" fmla="*/ 2369249 w 4867275"/>
                  <a:gd name="connsiteY20" fmla="*/ 667844 h 2352675"/>
                  <a:gd name="connsiteX21" fmla="*/ 2248472 w 4867275"/>
                  <a:gd name="connsiteY21" fmla="*/ 727566 h 2352675"/>
                  <a:gd name="connsiteX22" fmla="*/ 2308193 w 4867275"/>
                  <a:gd name="connsiteY22" fmla="*/ 848343 h 2352675"/>
                  <a:gd name="connsiteX23" fmla="*/ 3033141 w 4867275"/>
                  <a:gd name="connsiteY23" fmla="*/ 1093516 h 2352675"/>
                  <a:gd name="connsiteX24" fmla="*/ 3147822 w 4867275"/>
                  <a:gd name="connsiteY24" fmla="*/ 1112471 h 2352675"/>
                  <a:gd name="connsiteX25" fmla="*/ 3488436 w 4867275"/>
                  <a:gd name="connsiteY25" fmla="*/ 869393 h 2352675"/>
                  <a:gd name="connsiteX26" fmla="*/ 3272219 w 4867275"/>
                  <a:gd name="connsiteY26" fmla="*/ 415622 h 2352675"/>
                  <a:gd name="connsiteX27" fmla="*/ 2334768 w 4867275"/>
                  <a:gd name="connsiteY27" fmla="*/ 71389 h 2352675"/>
                  <a:gd name="connsiteX28" fmla="*/ 1468184 w 4867275"/>
                  <a:gd name="connsiteY28" fmla="*/ 99011 h 2352675"/>
                  <a:gd name="connsiteX29" fmla="*/ 981361 w 4867275"/>
                  <a:gd name="connsiteY29" fmla="*/ 313990 h 2352675"/>
                  <a:gd name="connsiteX30" fmla="*/ 866680 w 4867275"/>
                  <a:gd name="connsiteY30" fmla="*/ 220836 h 2352675"/>
                  <a:gd name="connsiteX31" fmla="*/ 682276 w 4867275"/>
                  <a:gd name="connsiteY31" fmla="*/ 225027 h 2352675"/>
                  <a:gd name="connsiteX32" fmla="*/ 57055 w 4867275"/>
                  <a:gd name="connsiteY32" fmla="*/ 498966 h 2352675"/>
                  <a:gd name="connsiteX33" fmla="*/ 0 w 4867275"/>
                  <a:gd name="connsiteY33" fmla="*/ 586215 h 2352675"/>
                  <a:gd name="connsiteX34" fmla="*/ 0 w 4867275"/>
                  <a:gd name="connsiteY34" fmla="*/ 2264329 h 2352675"/>
                  <a:gd name="connsiteX35" fmla="*/ 45339 w 4867275"/>
                  <a:gd name="connsiteY35" fmla="*/ 2345482 h 2352675"/>
                  <a:gd name="connsiteX36" fmla="*/ 95250 w 4867275"/>
                  <a:gd name="connsiteY36" fmla="*/ 2359579 h 2352675"/>
                  <a:gd name="connsiteX37" fmla="*/ 138208 w 4867275"/>
                  <a:gd name="connsiteY37" fmla="*/ 2349388 h 2352675"/>
                  <a:gd name="connsiteX38" fmla="*/ 1352264 w 4867275"/>
                  <a:gd name="connsiteY38" fmla="*/ 1736073 h 2352675"/>
                  <a:gd name="connsiteX39" fmla="*/ 1477328 w 4867275"/>
                  <a:gd name="connsiteY39" fmla="*/ 1603675 h 2352675"/>
                  <a:gd name="connsiteX40" fmla="*/ 1484662 w 4867275"/>
                  <a:gd name="connsiteY40" fmla="*/ 1451275 h 2352675"/>
                  <a:gd name="connsiteX41" fmla="*/ 1495997 w 4867275"/>
                  <a:gd name="connsiteY41" fmla="*/ 1446227 h 2352675"/>
                  <a:gd name="connsiteX42" fmla="*/ 2124456 w 4867275"/>
                  <a:gd name="connsiteY42" fmla="*/ 1460515 h 2352675"/>
                  <a:gd name="connsiteX43" fmla="*/ 2590610 w 4867275"/>
                  <a:gd name="connsiteY43" fmla="*/ 1692163 h 2352675"/>
                  <a:gd name="connsiteX44" fmla="*/ 3380708 w 4867275"/>
                  <a:gd name="connsiteY44" fmla="*/ 1710069 h 2352675"/>
                  <a:gd name="connsiteX45" fmla="*/ 4654296 w 4867275"/>
                  <a:gd name="connsiteY45" fmla="*/ 1147714 h 2352675"/>
                  <a:gd name="connsiteX46" fmla="*/ 4844987 w 4867275"/>
                  <a:gd name="connsiteY46" fmla="*/ 655366 h 2352675"/>
                  <a:gd name="connsiteX47" fmla="*/ 1299591 w 4867275"/>
                  <a:gd name="connsiteY47" fmla="*/ 1534809 h 2352675"/>
                  <a:gd name="connsiteX48" fmla="*/ 1272731 w 4867275"/>
                  <a:gd name="connsiteY48" fmla="*/ 1562908 h 2352675"/>
                  <a:gd name="connsiteX49" fmla="*/ 1268254 w 4867275"/>
                  <a:gd name="connsiteY49" fmla="*/ 1565004 h 2352675"/>
                  <a:gd name="connsiteX50" fmla="*/ 190500 w 4867275"/>
                  <a:gd name="connsiteY50" fmla="*/ 2109453 h 2352675"/>
                  <a:gd name="connsiteX51" fmla="*/ 190500 w 4867275"/>
                  <a:gd name="connsiteY51" fmla="*/ 1692543 h 2352675"/>
                  <a:gd name="connsiteX52" fmla="*/ 472250 w 4867275"/>
                  <a:gd name="connsiteY52" fmla="*/ 1554241 h 2352675"/>
                  <a:gd name="connsiteX53" fmla="*/ 515779 w 4867275"/>
                  <a:gd name="connsiteY53" fmla="*/ 1426701 h 2352675"/>
                  <a:gd name="connsiteX54" fmla="*/ 388334 w 4867275"/>
                  <a:gd name="connsiteY54" fmla="*/ 1383172 h 2352675"/>
                  <a:gd name="connsiteX55" fmla="*/ 190500 w 4867275"/>
                  <a:gd name="connsiteY55" fmla="*/ 1480326 h 2352675"/>
                  <a:gd name="connsiteX56" fmla="*/ 190500 w 4867275"/>
                  <a:gd name="connsiteY56" fmla="*/ 648508 h 2352675"/>
                  <a:gd name="connsiteX57" fmla="*/ 759047 w 4867275"/>
                  <a:gd name="connsiteY57" fmla="*/ 399430 h 2352675"/>
                  <a:gd name="connsiteX58" fmla="*/ 797909 w 4867275"/>
                  <a:gd name="connsiteY58" fmla="*/ 398477 h 2352675"/>
                  <a:gd name="connsiteX59" fmla="*/ 826008 w 4867275"/>
                  <a:gd name="connsiteY59" fmla="*/ 425338 h 2352675"/>
                  <a:gd name="connsiteX60" fmla="*/ 1274064 w 4867275"/>
                  <a:gd name="connsiteY60" fmla="*/ 1440036 h 2352675"/>
                  <a:gd name="connsiteX61" fmla="*/ 1274159 w 4867275"/>
                  <a:gd name="connsiteY61" fmla="*/ 1440322 h 2352675"/>
                  <a:gd name="connsiteX62" fmla="*/ 1298734 w 4867275"/>
                  <a:gd name="connsiteY62" fmla="*/ 1495948 h 2352675"/>
                  <a:gd name="connsiteX63" fmla="*/ 1299591 w 4867275"/>
                  <a:gd name="connsiteY63" fmla="*/ 1534809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4867275" h="2352675">
                    <a:moveTo>
                      <a:pt x="4844987" y="655366"/>
                    </a:moveTo>
                    <a:cubicBezTo>
                      <a:pt x="4761833" y="467057"/>
                      <a:pt x="4541044" y="381618"/>
                      <a:pt x="4352735" y="464676"/>
                    </a:cubicBezTo>
                    <a:cubicBezTo>
                      <a:pt x="4352258" y="464866"/>
                      <a:pt x="4351782" y="465152"/>
                      <a:pt x="4351306" y="465342"/>
                    </a:cubicBezTo>
                    <a:lnTo>
                      <a:pt x="3728942" y="752331"/>
                    </a:lnTo>
                    <a:cubicBezTo>
                      <a:pt x="3681127" y="774333"/>
                      <a:pt x="3660267" y="830912"/>
                      <a:pt x="3682365" y="878727"/>
                    </a:cubicBezTo>
                    <a:cubicBezTo>
                      <a:pt x="3704368" y="926543"/>
                      <a:pt x="3760946" y="947308"/>
                      <a:pt x="3808762" y="925305"/>
                    </a:cubicBezTo>
                    <a:lnTo>
                      <a:pt x="4430364" y="638698"/>
                    </a:lnTo>
                    <a:cubicBezTo>
                      <a:pt x="4522375" y="598502"/>
                      <a:pt x="4630103" y="640412"/>
                      <a:pt x="4670679" y="732328"/>
                    </a:cubicBezTo>
                    <a:cubicBezTo>
                      <a:pt x="4711351" y="824530"/>
                      <a:pt x="4669441" y="932639"/>
                      <a:pt x="4577334" y="973311"/>
                    </a:cubicBezTo>
                    <a:lnTo>
                      <a:pt x="3303746" y="1535667"/>
                    </a:lnTo>
                    <a:cubicBezTo>
                      <a:pt x="3101912" y="1624821"/>
                      <a:pt x="2872931" y="1619582"/>
                      <a:pt x="2675287" y="1521475"/>
                    </a:cubicBezTo>
                    <a:lnTo>
                      <a:pt x="2209133" y="1289826"/>
                    </a:lnTo>
                    <a:cubicBezTo>
                      <a:pt x="1960721" y="1166383"/>
                      <a:pt x="1672685" y="1159906"/>
                      <a:pt x="1419035" y="1271919"/>
                    </a:cubicBezTo>
                    <a:lnTo>
                      <a:pt x="1409891" y="1276015"/>
                    </a:lnTo>
                    <a:lnTo>
                      <a:pt x="1061466" y="486869"/>
                    </a:lnTo>
                    <a:lnTo>
                      <a:pt x="1545146" y="273318"/>
                    </a:lnTo>
                    <a:cubicBezTo>
                      <a:pt x="1775555" y="171591"/>
                      <a:pt x="2032730" y="163400"/>
                      <a:pt x="2269141" y="250173"/>
                    </a:cubicBezTo>
                    <a:lnTo>
                      <a:pt x="3206591" y="594406"/>
                    </a:lnTo>
                    <a:cubicBezTo>
                      <a:pt x="3292126" y="625839"/>
                      <a:pt x="3337751" y="721470"/>
                      <a:pt x="3308223" y="807671"/>
                    </a:cubicBezTo>
                    <a:cubicBezTo>
                      <a:pt x="3278220" y="895491"/>
                      <a:pt x="3182207" y="942735"/>
                      <a:pt x="3094196" y="913017"/>
                    </a:cubicBezTo>
                    <a:lnTo>
                      <a:pt x="2369249" y="667844"/>
                    </a:lnTo>
                    <a:cubicBezTo>
                      <a:pt x="2319433" y="650985"/>
                      <a:pt x="2265331" y="677750"/>
                      <a:pt x="2248472" y="727566"/>
                    </a:cubicBezTo>
                    <a:cubicBezTo>
                      <a:pt x="2231612" y="777382"/>
                      <a:pt x="2258378" y="831483"/>
                      <a:pt x="2308193" y="848343"/>
                    </a:cubicBezTo>
                    <a:lnTo>
                      <a:pt x="3033141" y="1093516"/>
                    </a:lnTo>
                    <a:cubicBezTo>
                      <a:pt x="3071051" y="1106375"/>
                      <a:pt x="3109722" y="1112471"/>
                      <a:pt x="3147822" y="1112471"/>
                    </a:cubicBezTo>
                    <a:cubicBezTo>
                      <a:pt x="3297365" y="1112471"/>
                      <a:pt x="3437478" y="1018364"/>
                      <a:pt x="3488436" y="869393"/>
                    </a:cubicBezTo>
                    <a:cubicBezTo>
                      <a:pt x="3551206" y="686037"/>
                      <a:pt x="3454146" y="482392"/>
                      <a:pt x="3272219" y="415622"/>
                    </a:cubicBezTo>
                    <a:lnTo>
                      <a:pt x="2334768" y="71389"/>
                    </a:lnTo>
                    <a:cubicBezTo>
                      <a:pt x="2051780" y="-32529"/>
                      <a:pt x="1743932" y="-22718"/>
                      <a:pt x="1468184" y="99011"/>
                    </a:cubicBezTo>
                    <a:lnTo>
                      <a:pt x="981361" y="313990"/>
                    </a:lnTo>
                    <a:cubicBezTo>
                      <a:pt x="953929" y="271890"/>
                      <a:pt x="914400" y="239409"/>
                      <a:pt x="866680" y="220836"/>
                    </a:cubicBezTo>
                    <a:cubicBezTo>
                      <a:pt x="806577" y="197595"/>
                      <a:pt x="741045" y="199024"/>
                      <a:pt x="682276" y="225027"/>
                    </a:cubicBezTo>
                    <a:lnTo>
                      <a:pt x="57055" y="498966"/>
                    </a:lnTo>
                    <a:cubicBezTo>
                      <a:pt x="22384" y="514206"/>
                      <a:pt x="0" y="548400"/>
                      <a:pt x="0" y="586215"/>
                    </a:cubicBezTo>
                    <a:lnTo>
                      <a:pt x="0" y="2264329"/>
                    </a:lnTo>
                    <a:cubicBezTo>
                      <a:pt x="0" y="2297381"/>
                      <a:pt x="17145" y="2328147"/>
                      <a:pt x="45339" y="2345482"/>
                    </a:cubicBezTo>
                    <a:cubicBezTo>
                      <a:pt x="60579" y="2354817"/>
                      <a:pt x="77915" y="2359579"/>
                      <a:pt x="95250" y="2359579"/>
                    </a:cubicBezTo>
                    <a:cubicBezTo>
                      <a:pt x="109919" y="2359579"/>
                      <a:pt x="124682" y="2356150"/>
                      <a:pt x="138208" y="2349388"/>
                    </a:cubicBezTo>
                    <a:lnTo>
                      <a:pt x="1352264" y="1736073"/>
                    </a:lnTo>
                    <a:cubicBezTo>
                      <a:pt x="1409986" y="1709784"/>
                      <a:pt x="1454372" y="1662825"/>
                      <a:pt x="1477328" y="1603675"/>
                    </a:cubicBezTo>
                    <a:cubicBezTo>
                      <a:pt x="1496473" y="1554336"/>
                      <a:pt x="1498854" y="1501282"/>
                      <a:pt x="1484662" y="1451275"/>
                    </a:cubicBezTo>
                    <a:lnTo>
                      <a:pt x="1495997" y="1446227"/>
                    </a:lnTo>
                    <a:cubicBezTo>
                      <a:pt x="1697831" y="1357073"/>
                      <a:pt x="1926908" y="1362312"/>
                      <a:pt x="2124456" y="1460515"/>
                    </a:cubicBezTo>
                    <a:lnTo>
                      <a:pt x="2590610" y="1692163"/>
                    </a:lnTo>
                    <a:cubicBezTo>
                      <a:pt x="2839022" y="1815607"/>
                      <a:pt x="3127058" y="1822084"/>
                      <a:pt x="3380708" y="1710069"/>
                    </a:cubicBezTo>
                    <a:lnTo>
                      <a:pt x="4654296" y="1147714"/>
                    </a:lnTo>
                    <a:cubicBezTo>
                      <a:pt x="4842606" y="1064465"/>
                      <a:pt x="4928140" y="843675"/>
                      <a:pt x="4844987" y="655366"/>
                    </a:cubicBezTo>
                    <a:close/>
                    <a:moveTo>
                      <a:pt x="1299591" y="1534809"/>
                    </a:moveTo>
                    <a:cubicBezTo>
                      <a:pt x="1294733" y="1547478"/>
                      <a:pt x="1285113" y="1557479"/>
                      <a:pt x="1272731" y="1562908"/>
                    </a:cubicBezTo>
                    <a:cubicBezTo>
                      <a:pt x="1271207" y="1563575"/>
                      <a:pt x="1269683" y="1564242"/>
                      <a:pt x="1268254" y="1565004"/>
                    </a:cubicBezTo>
                    <a:lnTo>
                      <a:pt x="190500" y="2109453"/>
                    </a:lnTo>
                    <a:lnTo>
                      <a:pt x="190500" y="1692543"/>
                    </a:lnTo>
                    <a:lnTo>
                      <a:pt x="472250" y="1554241"/>
                    </a:lnTo>
                    <a:cubicBezTo>
                      <a:pt x="519494" y="1531095"/>
                      <a:pt x="538925" y="1473945"/>
                      <a:pt x="515779" y="1426701"/>
                    </a:cubicBezTo>
                    <a:cubicBezTo>
                      <a:pt x="492633" y="1379457"/>
                      <a:pt x="435483" y="1360026"/>
                      <a:pt x="388334" y="1383172"/>
                    </a:cubicBezTo>
                    <a:lnTo>
                      <a:pt x="190500" y="1480326"/>
                    </a:lnTo>
                    <a:lnTo>
                      <a:pt x="190500" y="648508"/>
                    </a:lnTo>
                    <a:lnTo>
                      <a:pt x="759047" y="399430"/>
                    </a:lnTo>
                    <a:cubicBezTo>
                      <a:pt x="771430" y="393905"/>
                      <a:pt x="785241" y="393619"/>
                      <a:pt x="797909" y="398477"/>
                    </a:cubicBezTo>
                    <a:cubicBezTo>
                      <a:pt x="810578" y="403430"/>
                      <a:pt x="820579" y="412955"/>
                      <a:pt x="826008" y="425338"/>
                    </a:cubicBezTo>
                    <a:lnTo>
                      <a:pt x="1274064" y="1440036"/>
                    </a:lnTo>
                    <a:cubicBezTo>
                      <a:pt x="1274064" y="1440131"/>
                      <a:pt x="1274159" y="1440226"/>
                      <a:pt x="1274159" y="1440322"/>
                    </a:cubicBezTo>
                    <a:lnTo>
                      <a:pt x="1298734" y="1495948"/>
                    </a:lnTo>
                    <a:cubicBezTo>
                      <a:pt x="1304258" y="1508330"/>
                      <a:pt x="1304544" y="1522141"/>
                      <a:pt x="1299591" y="15348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</p:grpSp>
        <p:sp>
          <p:nvSpPr>
            <p:cNvPr id="794" name="TextBox 16">
              <a:extLst>
                <a:ext uri="{FF2B5EF4-FFF2-40B4-BE49-F238E27FC236}">
                  <a16:creationId xmlns:a16="http://schemas.microsoft.com/office/drawing/2014/main" id="{4F6CEA57-570E-468B-8507-D165C047A5D8}"/>
                </a:ext>
              </a:extLst>
            </p:cNvPr>
            <p:cNvSpPr txBox="1">
              <a:spLocks/>
            </p:cNvSpPr>
            <p:nvPr>
              <p:custDataLst>
                <p:tags r:id="rId74"/>
              </p:custDataLst>
            </p:nvPr>
          </p:nvSpPr>
          <p:spPr bwMode="gray">
            <a:xfrm>
              <a:off x="8140230" y="1347272"/>
              <a:ext cx="564412" cy="97183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accent4"/>
                  </a:solidFill>
                  <a:cs typeface="Calibri" panose="020F0502020204030204" pitchFamily="34" charset="0"/>
                </a:rPr>
                <a:t>CLIMATE-</a:t>
              </a:r>
              <a:br>
                <a:rPr lang="en-GB" sz="400" b="1">
                  <a:solidFill>
                    <a:schemeClr val="accent4"/>
                  </a:solidFill>
                  <a:cs typeface="Calibri" panose="020F0502020204030204" pitchFamily="34" charset="0"/>
                </a:rPr>
              </a:br>
              <a:r>
                <a:rPr lang="en-GB" sz="400" b="1">
                  <a:solidFill>
                    <a:schemeClr val="accent4"/>
                  </a:solidFill>
                  <a:cs typeface="Calibri" panose="020F0502020204030204" pitchFamily="34" charset="0"/>
                </a:rPr>
                <a:t>RELEVANT RESOURCES</a:t>
              </a:r>
              <a:endParaRPr lang="en-GB" sz="400" b="1" dirty="0">
                <a:solidFill>
                  <a:schemeClr val="accent4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722" name="Rechteck 721">
            <a:extLst>
              <a:ext uri="{FF2B5EF4-FFF2-40B4-BE49-F238E27FC236}">
                <a16:creationId xmlns:a16="http://schemas.microsoft.com/office/drawing/2014/main" id="{F623AF88-2F49-427B-A211-E3DF2711E83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0" y="4221004"/>
            <a:ext cx="9144000" cy="9224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832" name="Group 831">
            <a:extLst>
              <a:ext uri="{FF2B5EF4-FFF2-40B4-BE49-F238E27FC236}">
                <a16:creationId xmlns:a16="http://schemas.microsoft.com/office/drawing/2014/main" id="{FA0A7902-EA05-4981-AE42-7B4875BE8401}"/>
              </a:ext>
            </a:extLst>
          </p:cNvPr>
          <p:cNvGrpSpPr/>
          <p:nvPr>
            <p:custDataLst>
              <p:tags r:id="rId6"/>
            </p:custDataLst>
          </p:nvPr>
        </p:nvGrpSpPr>
        <p:grpSpPr bwMode="gray">
          <a:xfrm>
            <a:off x="1435084" y="1633471"/>
            <a:ext cx="6310322" cy="3056251"/>
            <a:chOff x="1435084" y="1633471"/>
            <a:chExt cx="6310322" cy="3056251"/>
          </a:xfrm>
        </p:grpSpPr>
        <p:grpSp>
          <p:nvGrpSpPr>
            <p:cNvPr id="833" name="Gruppieren 11">
              <a:extLst>
                <a:ext uri="{FF2B5EF4-FFF2-40B4-BE49-F238E27FC236}">
                  <a16:creationId xmlns:a16="http://schemas.microsoft.com/office/drawing/2014/main" id="{169F031C-3599-4F72-88D9-3A968A0EEA98}"/>
                </a:ext>
              </a:extLst>
            </p:cNvPr>
            <p:cNvGrpSpPr>
              <a:grpSpLocks noChangeAspect="1"/>
            </p:cNvGrpSpPr>
            <p:nvPr>
              <p:custDataLst>
                <p:tags r:id="rId65"/>
              </p:custDataLst>
            </p:nvPr>
          </p:nvGrpSpPr>
          <p:grpSpPr bwMode="gray">
            <a:xfrm>
              <a:off x="1435084" y="1633471"/>
              <a:ext cx="6310322" cy="3056251"/>
              <a:chOff x="1435084" y="1633471"/>
              <a:chExt cx="6310322" cy="3056251"/>
            </a:xfrm>
          </p:grpSpPr>
          <p:grpSp>
            <p:nvGrpSpPr>
              <p:cNvPr id="876" name="Gruppieren 6">
                <a:extLst>
                  <a:ext uri="{FF2B5EF4-FFF2-40B4-BE49-F238E27FC236}">
                    <a16:creationId xmlns:a16="http://schemas.microsoft.com/office/drawing/2014/main" id="{72EC146A-0DD7-4F01-A248-541517E88AF7}"/>
                  </a:ext>
                </a:extLst>
              </p:cNvPr>
              <p:cNvGrpSpPr/>
              <p:nvPr/>
            </p:nvGrpSpPr>
            <p:grpSpPr bwMode="gray">
              <a:xfrm>
                <a:off x="1435084" y="3530307"/>
                <a:ext cx="991410" cy="687326"/>
                <a:chOff x="1249020" y="3530307"/>
                <a:chExt cx="991410" cy="687326"/>
              </a:xfrm>
            </p:grpSpPr>
            <p:grpSp>
              <p:nvGrpSpPr>
                <p:cNvPr id="2082" name="Gruppierung 1870">
                  <a:extLst>
                    <a:ext uri="{FF2B5EF4-FFF2-40B4-BE49-F238E27FC236}">
                      <a16:creationId xmlns:a16="http://schemas.microsoft.com/office/drawing/2014/main" id="{6A4AC928-1000-4ECA-8A64-545CC4DB124F}"/>
                    </a:ext>
                  </a:extLst>
                </p:cNvPr>
                <p:cNvGrpSpPr/>
                <p:nvPr/>
              </p:nvGrpSpPr>
              <p:grpSpPr bwMode="gray">
                <a:xfrm>
                  <a:off x="1249020" y="4119567"/>
                  <a:ext cx="792000" cy="98066"/>
                  <a:chOff x="1388890" y="5238292"/>
                  <a:chExt cx="989163" cy="130038"/>
                </a:xfrm>
              </p:grpSpPr>
              <p:sp>
                <p:nvSpPr>
                  <p:cNvPr id="2087" name="Rectangle 17">
                    <a:extLst>
                      <a:ext uri="{FF2B5EF4-FFF2-40B4-BE49-F238E27FC236}">
                        <a16:creationId xmlns:a16="http://schemas.microsoft.com/office/drawing/2014/main" id="{7A736267-4A5B-42B3-BB9C-1AD436FAAD6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500674" y="5238292"/>
                    <a:ext cx="876613" cy="130038"/>
                  </a:xfrm>
                  <a:prstGeom prst="rect">
                    <a:avLst/>
                  </a:prstGeom>
                  <a:solidFill>
                    <a:srgbClr val="A3969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2088" name="Rectangle 18">
                    <a:extLst>
                      <a:ext uri="{FF2B5EF4-FFF2-40B4-BE49-F238E27FC236}">
                        <a16:creationId xmlns:a16="http://schemas.microsoft.com/office/drawing/2014/main" id="{3734B7CE-2A8C-4436-8BFB-56C027BAF0F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388890" y="5301341"/>
                    <a:ext cx="989163" cy="66989"/>
                  </a:xfrm>
                  <a:prstGeom prst="rect">
                    <a:avLst/>
                  </a:prstGeom>
                  <a:solidFill>
                    <a:srgbClr val="75626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</p:grpSp>
            <p:pic>
              <p:nvPicPr>
                <p:cNvPr id="2083" name="Bild 1913">
                  <a:extLst>
                    <a:ext uri="{FF2B5EF4-FFF2-40B4-BE49-F238E27FC236}">
                      <a16:creationId xmlns:a16="http://schemas.microsoft.com/office/drawing/2014/main" id="{9443FF21-3C8C-4EEB-B811-5910401090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8" cstate="print"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gray">
                <a:xfrm>
                  <a:off x="1556853" y="3912470"/>
                  <a:ext cx="390044" cy="211025"/>
                </a:xfrm>
                <a:prstGeom prst="rect">
                  <a:avLst/>
                </a:prstGeom>
              </p:spPr>
            </p:pic>
            <p:grpSp>
              <p:nvGrpSpPr>
                <p:cNvPr id="2084" name="Gruppierung 392">
                  <a:extLst>
                    <a:ext uri="{FF2B5EF4-FFF2-40B4-BE49-F238E27FC236}">
                      <a16:creationId xmlns:a16="http://schemas.microsoft.com/office/drawing/2014/main" id="{83FE8729-3A2F-4818-AC70-1A787A2E6A91}"/>
                    </a:ext>
                  </a:extLst>
                </p:cNvPr>
                <p:cNvGrpSpPr/>
                <p:nvPr/>
              </p:nvGrpSpPr>
              <p:grpSpPr bwMode="gray">
                <a:xfrm>
                  <a:off x="1353771" y="3530307"/>
                  <a:ext cx="886659" cy="647604"/>
                  <a:chOff x="1527244" y="4456957"/>
                  <a:chExt cx="1175733" cy="858742"/>
                </a:xfrm>
              </p:grpSpPr>
              <p:sp>
                <p:nvSpPr>
                  <p:cNvPr id="2085" name="Freeform 19">
                    <a:extLst>
                      <a:ext uri="{FF2B5EF4-FFF2-40B4-BE49-F238E27FC236}">
                        <a16:creationId xmlns:a16="http://schemas.microsoft.com/office/drawing/2014/main" id="{9A994636-B16B-4A49-A3E7-2CD3C8B9B4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527244" y="4456957"/>
                    <a:ext cx="1175733" cy="191910"/>
                  </a:xfrm>
                  <a:custGeom>
                    <a:avLst/>
                    <a:gdLst>
                      <a:gd name="T0" fmla="*/ 38 w 1635"/>
                      <a:gd name="T1" fmla="*/ 0 h 176"/>
                      <a:gd name="T2" fmla="*/ 0 w 1635"/>
                      <a:gd name="T3" fmla="*/ 176 h 176"/>
                      <a:gd name="T4" fmla="*/ 1635 w 1635"/>
                      <a:gd name="T5" fmla="*/ 176 h 176"/>
                      <a:gd name="T6" fmla="*/ 1596 w 1635"/>
                      <a:gd name="T7" fmla="*/ 0 h 176"/>
                      <a:gd name="T8" fmla="*/ 38 w 1635"/>
                      <a:gd name="T9" fmla="*/ 0 h 1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635" h="176">
                        <a:moveTo>
                          <a:pt x="38" y="0"/>
                        </a:moveTo>
                        <a:lnTo>
                          <a:pt x="0" y="176"/>
                        </a:lnTo>
                        <a:lnTo>
                          <a:pt x="1635" y="176"/>
                        </a:lnTo>
                        <a:lnTo>
                          <a:pt x="1596" y="0"/>
                        </a:lnTo>
                        <a:lnTo>
                          <a:pt x="38" y="0"/>
                        </a:ln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>
                      <a:latin typeface="Lucida Sans Techem"/>
                      <a:cs typeface="Calibri"/>
                    </a:endParaRPr>
                  </a:p>
                </p:txBody>
              </p:sp>
              <p:sp>
                <p:nvSpPr>
                  <p:cNvPr id="2086" name="Rechteck 806">
                    <a:extLst>
                      <a:ext uri="{FF2B5EF4-FFF2-40B4-BE49-F238E27FC236}">
                        <a16:creationId xmlns:a16="http://schemas.microsoft.com/office/drawing/2014/main" id="{29D5A0FB-5AC8-4863-BF98-A22D22020FEE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1601718" y="4647380"/>
                    <a:ext cx="64635" cy="668319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dirty="0" err="1">
                      <a:latin typeface="Lucida Sans Techem"/>
                      <a:cs typeface="Calibri"/>
                    </a:endParaRPr>
                  </a:p>
                </p:txBody>
              </p:sp>
            </p:grpSp>
          </p:grpSp>
          <p:pic>
            <p:nvPicPr>
              <p:cNvPr id="877" name="Bild 1912">
                <a:extLst>
                  <a:ext uri="{FF2B5EF4-FFF2-40B4-BE49-F238E27FC236}">
                    <a16:creationId xmlns:a16="http://schemas.microsoft.com/office/drawing/2014/main" id="{DDA6D567-ED11-4E58-ABA1-67357D102F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9" cstate="print">
                <a:extLst>
                  <a:ext uri="{BEBA8EAE-BF5A-486C-A8C5-ECC9F3942E4B}">
                    <a14:imgProps xmlns:a14="http://schemas.microsoft.com/office/drawing/2010/main">
                      <a14:imgLayer r:embed="rId80">
                        <a14:imgEffect>
                          <a14:brightnessContrast bright="-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70"/>
              <a:stretch/>
            </p:blipFill>
            <p:spPr bwMode="gray">
              <a:xfrm>
                <a:off x="6784139" y="3252826"/>
                <a:ext cx="961267" cy="971107"/>
              </a:xfrm>
              <a:prstGeom prst="rect">
                <a:avLst/>
              </a:prstGeom>
            </p:spPr>
          </p:pic>
          <p:grpSp>
            <p:nvGrpSpPr>
              <p:cNvPr id="878" name="Gruppieren 7">
                <a:extLst>
                  <a:ext uri="{FF2B5EF4-FFF2-40B4-BE49-F238E27FC236}">
                    <a16:creationId xmlns:a16="http://schemas.microsoft.com/office/drawing/2014/main" id="{7EA5133D-039C-44F7-BE03-B8C80D8F61FB}"/>
                  </a:ext>
                </a:extLst>
              </p:cNvPr>
              <p:cNvGrpSpPr/>
              <p:nvPr/>
            </p:nvGrpSpPr>
            <p:grpSpPr bwMode="gray">
              <a:xfrm>
                <a:off x="1994275" y="1633471"/>
                <a:ext cx="5499026" cy="3056251"/>
                <a:chOff x="1946431" y="1633471"/>
                <a:chExt cx="5499026" cy="3056251"/>
              </a:xfrm>
            </p:grpSpPr>
            <p:grpSp>
              <p:nvGrpSpPr>
                <p:cNvPr id="879" name="Gruppieren 4">
                  <a:extLst>
                    <a:ext uri="{FF2B5EF4-FFF2-40B4-BE49-F238E27FC236}">
                      <a16:creationId xmlns:a16="http://schemas.microsoft.com/office/drawing/2014/main" id="{D786686D-FC36-4887-A968-3559707142CF}"/>
                    </a:ext>
                  </a:extLst>
                </p:cNvPr>
                <p:cNvGrpSpPr/>
                <p:nvPr/>
              </p:nvGrpSpPr>
              <p:grpSpPr bwMode="gray">
                <a:xfrm>
                  <a:off x="1946431" y="1633471"/>
                  <a:ext cx="5499026" cy="3056251"/>
                  <a:chOff x="874235" y="1633471"/>
                  <a:chExt cx="5499026" cy="3056251"/>
                </a:xfrm>
              </p:grpSpPr>
              <p:sp>
                <p:nvSpPr>
                  <p:cNvPr id="887" name="Freeform 20">
                    <a:extLst>
                      <a:ext uri="{FF2B5EF4-FFF2-40B4-BE49-F238E27FC236}">
                        <a16:creationId xmlns:a16="http://schemas.microsoft.com/office/drawing/2014/main" id="{8CA72E21-767B-4303-B80F-C33924C34F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720918" y="1913063"/>
                    <a:ext cx="2698492" cy="261511"/>
                  </a:xfrm>
                  <a:custGeom>
                    <a:avLst/>
                    <a:gdLst>
                      <a:gd name="T0" fmla="*/ 38 w 1635"/>
                      <a:gd name="T1" fmla="*/ 0 h 176"/>
                      <a:gd name="T2" fmla="*/ 0 w 1635"/>
                      <a:gd name="T3" fmla="*/ 176 h 176"/>
                      <a:gd name="T4" fmla="*/ 1635 w 1635"/>
                      <a:gd name="T5" fmla="*/ 176 h 176"/>
                      <a:gd name="T6" fmla="*/ 1596 w 1635"/>
                      <a:gd name="T7" fmla="*/ 0 h 176"/>
                      <a:gd name="T8" fmla="*/ 38 w 1635"/>
                      <a:gd name="T9" fmla="*/ 0 h 1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635" h="176">
                        <a:moveTo>
                          <a:pt x="38" y="0"/>
                        </a:moveTo>
                        <a:lnTo>
                          <a:pt x="0" y="176"/>
                        </a:lnTo>
                        <a:lnTo>
                          <a:pt x="1635" y="176"/>
                        </a:lnTo>
                        <a:lnTo>
                          <a:pt x="1596" y="0"/>
                        </a:lnTo>
                        <a:lnTo>
                          <a:pt x="38" y="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88" name="Freeform 46">
                    <a:extLst>
                      <a:ext uri="{FF2B5EF4-FFF2-40B4-BE49-F238E27FC236}">
                        <a16:creationId xmlns:a16="http://schemas.microsoft.com/office/drawing/2014/main" id="{37256958-5762-4B8D-8EEF-FAB89C47F0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874235" y="3260739"/>
                    <a:ext cx="9903" cy="20801"/>
                  </a:xfrm>
                  <a:custGeom>
                    <a:avLst/>
                    <a:gdLst>
                      <a:gd name="T0" fmla="*/ 7 w 7"/>
                      <a:gd name="T1" fmla="*/ 1 h 17"/>
                      <a:gd name="T2" fmla="*/ 6 w 7"/>
                      <a:gd name="T3" fmla="*/ 0 h 17"/>
                      <a:gd name="T4" fmla="*/ 7 w 7"/>
                      <a:gd name="T5" fmla="*/ 1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7" h="17">
                        <a:moveTo>
                          <a:pt x="7" y="1"/>
                        </a:moveTo>
                        <a:cubicBezTo>
                          <a:pt x="7" y="1"/>
                          <a:pt x="7" y="1"/>
                          <a:pt x="6" y="0"/>
                        </a:cubicBezTo>
                        <a:cubicBezTo>
                          <a:pt x="0" y="17"/>
                          <a:pt x="7" y="1"/>
                          <a:pt x="7" y="1"/>
                        </a:cubicBezTo>
                        <a:close/>
                      </a:path>
                    </a:pathLst>
                  </a:custGeom>
                  <a:solidFill>
                    <a:srgbClr val="76956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89" name="Freeform 59">
                    <a:extLst>
                      <a:ext uri="{FF2B5EF4-FFF2-40B4-BE49-F238E27FC236}">
                        <a16:creationId xmlns:a16="http://schemas.microsoft.com/office/drawing/2014/main" id="{82E334D6-9617-40F5-863E-E0EBB9BFF08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1856256" y="1942780"/>
                    <a:ext cx="278926" cy="199105"/>
                  </a:xfrm>
                  <a:custGeom>
                    <a:avLst/>
                    <a:gdLst>
                      <a:gd name="T0" fmla="*/ 31 w 169"/>
                      <a:gd name="T1" fmla="*/ 0 h 134"/>
                      <a:gd name="T2" fmla="*/ 23 w 169"/>
                      <a:gd name="T3" fmla="*/ 0 h 134"/>
                      <a:gd name="T4" fmla="*/ 22 w 169"/>
                      <a:gd name="T5" fmla="*/ 8 h 134"/>
                      <a:gd name="T6" fmla="*/ 2 w 169"/>
                      <a:gd name="T7" fmla="*/ 123 h 134"/>
                      <a:gd name="T8" fmla="*/ 0 w 169"/>
                      <a:gd name="T9" fmla="*/ 134 h 134"/>
                      <a:gd name="T10" fmla="*/ 11 w 169"/>
                      <a:gd name="T11" fmla="*/ 134 h 134"/>
                      <a:gd name="T12" fmla="*/ 143 w 169"/>
                      <a:gd name="T13" fmla="*/ 134 h 134"/>
                      <a:gd name="T14" fmla="*/ 152 w 169"/>
                      <a:gd name="T15" fmla="*/ 134 h 134"/>
                      <a:gd name="T16" fmla="*/ 152 w 169"/>
                      <a:gd name="T17" fmla="*/ 126 h 134"/>
                      <a:gd name="T18" fmla="*/ 168 w 169"/>
                      <a:gd name="T19" fmla="*/ 11 h 134"/>
                      <a:gd name="T20" fmla="*/ 169 w 169"/>
                      <a:gd name="T21" fmla="*/ 0 h 134"/>
                      <a:gd name="T22" fmla="*/ 158 w 169"/>
                      <a:gd name="T23" fmla="*/ 0 h 134"/>
                      <a:gd name="T24" fmla="*/ 31 w 169"/>
                      <a:gd name="T25" fmla="*/ 0 h 134"/>
                      <a:gd name="T26" fmla="*/ 143 w 169"/>
                      <a:gd name="T27" fmla="*/ 124 h 134"/>
                      <a:gd name="T28" fmla="*/ 11 w 169"/>
                      <a:gd name="T29" fmla="*/ 124 h 134"/>
                      <a:gd name="T30" fmla="*/ 31 w 169"/>
                      <a:gd name="T31" fmla="*/ 9 h 134"/>
                      <a:gd name="T32" fmla="*/ 158 w 169"/>
                      <a:gd name="T33" fmla="*/ 9 h 134"/>
                      <a:gd name="T34" fmla="*/ 143 w 169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69" h="134">
                        <a:moveTo>
                          <a:pt x="31" y="0"/>
                        </a:moveTo>
                        <a:lnTo>
                          <a:pt x="23" y="0"/>
                        </a:lnTo>
                        <a:lnTo>
                          <a:pt x="22" y="8"/>
                        </a:lnTo>
                        <a:lnTo>
                          <a:pt x="2" y="123"/>
                        </a:lnTo>
                        <a:lnTo>
                          <a:pt x="0" y="134"/>
                        </a:lnTo>
                        <a:lnTo>
                          <a:pt x="11" y="134"/>
                        </a:lnTo>
                        <a:lnTo>
                          <a:pt x="143" y="134"/>
                        </a:lnTo>
                        <a:lnTo>
                          <a:pt x="152" y="134"/>
                        </a:lnTo>
                        <a:lnTo>
                          <a:pt x="152" y="126"/>
                        </a:lnTo>
                        <a:lnTo>
                          <a:pt x="168" y="11"/>
                        </a:lnTo>
                        <a:lnTo>
                          <a:pt x="169" y="0"/>
                        </a:lnTo>
                        <a:lnTo>
                          <a:pt x="158" y="0"/>
                        </a:lnTo>
                        <a:lnTo>
                          <a:pt x="31" y="0"/>
                        </a:lnTo>
                        <a:moveTo>
                          <a:pt x="143" y="124"/>
                        </a:moveTo>
                        <a:lnTo>
                          <a:pt x="11" y="124"/>
                        </a:lnTo>
                        <a:lnTo>
                          <a:pt x="31" y="9"/>
                        </a:lnTo>
                        <a:lnTo>
                          <a:pt x="158" y="9"/>
                        </a:lnTo>
                        <a:lnTo>
                          <a:pt x="143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0" name="Freeform 127">
                    <a:extLst>
                      <a:ext uri="{FF2B5EF4-FFF2-40B4-BE49-F238E27FC236}">
                        <a16:creationId xmlns:a16="http://schemas.microsoft.com/office/drawing/2014/main" id="{7470C9B4-0D42-4A50-8C9E-99EBD32A648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090621" y="1942780"/>
                    <a:ext cx="270675" cy="199105"/>
                  </a:xfrm>
                  <a:custGeom>
                    <a:avLst/>
                    <a:gdLst>
                      <a:gd name="T0" fmla="*/ 26 w 164"/>
                      <a:gd name="T1" fmla="*/ 0 h 134"/>
                      <a:gd name="T2" fmla="*/ 17 w 164"/>
                      <a:gd name="T3" fmla="*/ 0 h 134"/>
                      <a:gd name="T4" fmla="*/ 16 w 164"/>
                      <a:gd name="T5" fmla="*/ 9 h 134"/>
                      <a:gd name="T6" fmla="*/ 2 w 164"/>
                      <a:gd name="T7" fmla="*/ 123 h 134"/>
                      <a:gd name="T8" fmla="*/ 0 w 164"/>
                      <a:gd name="T9" fmla="*/ 134 h 134"/>
                      <a:gd name="T10" fmla="*/ 10 w 164"/>
                      <a:gd name="T11" fmla="*/ 134 h 134"/>
                      <a:gd name="T12" fmla="*/ 143 w 164"/>
                      <a:gd name="T13" fmla="*/ 134 h 134"/>
                      <a:gd name="T14" fmla="*/ 152 w 164"/>
                      <a:gd name="T15" fmla="*/ 134 h 134"/>
                      <a:gd name="T16" fmla="*/ 153 w 164"/>
                      <a:gd name="T17" fmla="*/ 125 h 134"/>
                      <a:gd name="T18" fmla="*/ 163 w 164"/>
                      <a:gd name="T19" fmla="*/ 10 h 134"/>
                      <a:gd name="T20" fmla="*/ 164 w 164"/>
                      <a:gd name="T21" fmla="*/ 0 h 134"/>
                      <a:gd name="T22" fmla="*/ 153 w 164"/>
                      <a:gd name="T23" fmla="*/ 0 h 134"/>
                      <a:gd name="T24" fmla="*/ 26 w 164"/>
                      <a:gd name="T25" fmla="*/ 0 h 134"/>
                      <a:gd name="T26" fmla="*/ 143 w 164"/>
                      <a:gd name="T27" fmla="*/ 124 h 134"/>
                      <a:gd name="T28" fmla="*/ 10 w 164"/>
                      <a:gd name="T29" fmla="*/ 124 h 134"/>
                      <a:gd name="T30" fmla="*/ 26 w 164"/>
                      <a:gd name="T31" fmla="*/ 9 h 134"/>
                      <a:gd name="T32" fmla="*/ 153 w 164"/>
                      <a:gd name="T33" fmla="*/ 9 h 134"/>
                      <a:gd name="T34" fmla="*/ 143 w 164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64" h="134">
                        <a:moveTo>
                          <a:pt x="26" y="0"/>
                        </a:moveTo>
                        <a:lnTo>
                          <a:pt x="17" y="0"/>
                        </a:lnTo>
                        <a:lnTo>
                          <a:pt x="16" y="9"/>
                        </a:lnTo>
                        <a:lnTo>
                          <a:pt x="2" y="123"/>
                        </a:lnTo>
                        <a:lnTo>
                          <a:pt x="0" y="134"/>
                        </a:lnTo>
                        <a:lnTo>
                          <a:pt x="10" y="134"/>
                        </a:lnTo>
                        <a:lnTo>
                          <a:pt x="143" y="134"/>
                        </a:lnTo>
                        <a:lnTo>
                          <a:pt x="152" y="134"/>
                        </a:lnTo>
                        <a:lnTo>
                          <a:pt x="153" y="125"/>
                        </a:lnTo>
                        <a:lnTo>
                          <a:pt x="163" y="10"/>
                        </a:lnTo>
                        <a:lnTo>
                          <a:pt x="164" y="0"/>
                        </a:lnTo>
                        <a:lnTo>
                          <a:pt x="153" y="0"/>
                        </a:lnTo>
                        <a:lnTo>
                          <a:pt x="26" y="0"/>
                        </a:lnTo>
                        <a:moveTo>
                          <a:pt x="143" y="124"/>
                        </a:moveTo>
                        <a:lnTo>
                          <a:pt x="10" y="124"/>
                        </a:lnTo>
                        <a:lnTo>
                          <a:pt x="26" y="9"/>
                        </a:lnTo>
                        <a:lnTo>
                          <a:pt x="153" y="9"/>
                        </a:lnTo>
                        <a:lnTo>
                          <a:pt x="143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1" name="Freeform 197">
                    <a:extLst>
                      <a:ext uri="{FF2B5EF4-FFF2-40B4-BE49-F238E27FC236}">
                        <a16:creationId xmlns:a16="http://schemas.microsoft.com/office/drawing/2014/main" id="{A372CCE5-87CE-46C7-A09B-AE004B9A430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2326635" y="1942780"/>
                    <a:ext cx="260771" cy="199105"/>
                  </a:xfrm>
                  <a:custGeom>
                    <a:avLst/>
                    <a:gdLst>
                      <a:gd name="T0" fmla="*/ 20 w 158"/>
                      <a:gd name="T1" fmla="*/ 0 h 134"/>
                      <a:gd name="T2" fmla="*/ 11 w 158"/>
                      <a:gd name="T3" fmla="*/ 0 h 134"/>
                      <a:gd name="T4" fmla="*/ 11 w 158"/>
                      <a:gd name="T5" fmla="*/ 9 h 134"/>
                      <a:gd name="T6" fmla="*/ 1 w 158"/>
                      <a:gd name="T7" fmla="*/ 123 h 134"/>
                      <a:gd name="T8" fmla="*/ 0 w 158"/>
                      <a:gd name="T9" fmla="*/ 134 h 134"/>
                      <a:gd name="T10" fmla="*/ 10 w 158"/>
                      <a:gd name="T11" fmla="*/ 134 h 134"/>
                      <a:gd name="T12" fmla="*/ 144 w 158"/>
                      <a:gd name="T13" fmla="*/ 134 h 134"/>
                      <a:gd name="T14" fmla="*/ 152 w 158"/>
                      <a:gd name="T15" fmla="*/ 134 h 134"/>
                      <a:gd name="T16" fmla="*/ 152 w 158"/>
                      <a:gd name="T17" fmla="*/ 125 h 134"/>
                      <a:gd name="T18" fmla="*/ 158 w 158"/>
                      <a:gd name="T19" fmla="*/ 10 h 134"/>
                      <a:gd name="T20" fmla="*/ 158 w 158"/>
                      <a:gd name="T21" fmla="*/ 0 h 134"/>
                      <a:gd name="T22" fmla="*/ 148 w 158"/>
                      <a:gd name="T23" fmla="*/ 0 h 134"/>
                      <a:gd name="T24" fmla="*/ 20 w 158"/>
                      <a:gd name="T25" fmla="*/ 0 h 134"/>
                      <a:gd name="T26" fmla="*/ 144 w 158"/>
                      <a:gd name="T27" fmla="*/ 124 h 134"/>
                      <a:gd name="T28" fmla="*/ 10 w 158"/>
                      <a:gd name="T29" fmla="*/ 124 h 134"/>
                      <a:gd name="T30" fmla="*/ 21 w 158"/>
                      <a:gd name="T31" fmla="*/ 9 h 134"/>
                      <a:gd name="T32" fmla="*/ 148 w 158"/>
                      <a:gd name="T33" fmla="*/ 9 h 134"/>
                      <a:gd name="T34" fmla="*/ 144 w 158"/>
                      <a:gd name="T35" fmla="*/ 12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58" h="134">
                        <a:moveTo>
                          <a:pt x="20" y="0"/>
                        </a:moveTo>
                        <a:lnTo>
                          <a:pt x="11" y="0"/>
                        </a:lnTo>
                        <a:lnTo>
                          <a:pt x="11" y="9"/>
                        </a:lnTo>
                        <a:lnTo>
                          <a:pt x="1" y="123"/>
                        </a:lnTo>
                        <a:lnTo>
                          <a:pt x="0" y="134"/>
                        </a:lnTo>
                        <a:lnTo>
                          <a:pt x="10" y="134"/>
                        </a:lnTo>
                        <a:lnTo>
                          <a:pt x="144" y="134"/>
                        </a:lnTo>
                        <a:lnTo>
                          <a:pt x="152" y="134"/>
                        </a:lnTo>
                        <a:lnTo>
                          <a:pt x="152" y="125"/>
                        </a:lnTo>
                        <a:lnTo>
                          <a:pt x="158" y="10"/>
                        </a:lnTo>
                        <a:lnTo>
                          <a:pt x="158" y="0"/>
                        </a:lnTo>
                        <a:lnTo>
                          <a:pt x="148" y="0"/>
                        </a:lnTo>
                        <a:lnTo>
                          <a:pt x="20" y="0"/>
                        </a:lnTo>
                        <a:moveTo>
                          <a:pt x="144" y="124"/>
                        </a:moveTo>
                        <a:lnTo>
                          <a:pt x="10" y="124"/>
                        </a:lnTo>
                        <a:lnTo>
                          <a:pt x="21" y="9"/>
                        </a:lnTo>
                        <a:lnTo>
                          <a:pt x="148" y="9"/>
                        </a:lnTo>
                        <a:lnTo>
                          <a:pt x="144" y="124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2" name="Freeform 590">
                    <a:extLst>
                      <a:ext uri="{FF2B5EF4-FFF2-40B4-BE49-F238E27FC236}">
                        <a16:creationId xmlns:a16="http://schemas.microsoft.com/office/drawing/2014/main" id="{6CAD4696-8895-4A39-B3FB-A9748AFE5F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1121805" y="2176060"/>
                    <a:ext cx="4588262" cy="2041572"/>
                  </a:xfrm>
                  <a:custGeom>
                    <a:avLst/>
                    <a:gdLst>
                      <a:gd name="T0" fmla="*/ 2632 w 2780"/>
                      <a:gd name="T1" fmla="*/ 880 h 1374"/>
                      <a:gd name="T2" fmla="*/ 2633 w 2780"/>
                      <a:gd name="T3" fmla="*/ 474 h 1374"/>
                      <a:gd name="T4" fmla="*/ 2633 w 2780"/>
                      <a:gd name="T5" fmla="*/ 474 h 1374"/>
                      <a:gd name="T6" fmla="*/ 2633 w 2780"/>
                      <a:gd name="T7" fmla="*/ 270 h 1374"/>
                      <a:gd name="T8" fmla="*/ 2571 w 2780"/>
                      <a:gd name="T9" fmla="*/ 270 h 1374"/>
                      <a:gd name="T10" fmla="*/ 2571 w 2780"/>
                      <a:gd name="T11" fmla="*/ 422 h 1374"/>
                      <a:gd name="T12" fmla="*/ 1933 w 2780"/>
                      <a:gd name="T13" fmla="*/ 422 h 1374"/>
                      <a:gd name="T14" fmla="*/ 1933 w 2780"/>
                      <a:gd name="T15" fmla="*/ 0 h 1374"/>
                      <a:gd name="T16" fmla="*/ 428 w 2780"/>
                      <a:gd name="T17" fmla="*/ 0 h 1374"/>
                      <a:gd name="T18" fmla="*/ 428 w 2780"/>
                      <a:gd name="T19" fmla="*/ 466 h 1374"/>
                      <a:gd name="T20" fmla="*/ 428 w 2780"/>
                      <a:gd name="T21" fmla="*/ 466 h 1374"/>
                      <a:gd name="T22" fmla="*/ 428 w 2780"/>
                      <a:gd name="T23" fmla="*/ 888 h 1374"/>
                      <a:gd name="T24" fmla="*/ 35 w 2780"/>
                      <a:gd name="T25" fmla="*/ 888 h 1374"/>
                      <a:gd name="T26" fmla="*/ 0 w 2780"/>
                      <a:gd name="T27" fmla="*/ 987 h 1374"/>
                      <a:gd name="T28" fmla="*/ 50 w 2780"/>
                      <a:gd name="T29" fmla="*/ 987 h 1374"/>
                      <a:gd name="T30" fmla="*/ 50 w 2780"/>
                      <a:gd name="T31" fmla="*/ 1374 h 1374"/>
                      <a:gd name="T32" fmla="*/ 87 w 2780"/>
                      <a:gd name="T33" fmla="*/ 1374 h 1374"/>
                      <a:gd name="T34" fmla="*/ 87 w 2780"/>
                      <a:gd name="T35" fmla="*/ 987 h 1374"/>
                      <a:gd name="T36" fmla="*/ 428 w 2780"/>
                      <a:gd name="T37" fmla="*/ 987 h 1374"/>
                      <a:gd name="T38" fmla="*/ 428 w 2780"/>
                      <a:gd name="T39" fmla="*/ 1373 h 1374"/>
                      <a:gd name="T40" fmla="*/ 2754 w 2780"/>
                      <a:gd name="T41" fmla="*/ 1373 h 1374"/>
                      <a:gd name="T42" fmla="*/ 2754 w 2780"/>
                      <a:gd name="T43" fmla="*/ 937 h 1374"/>
                      <a:gd name="T44" fmla="*/ 2780 w 2780"/>
                      <a:gd name="T45" fmla="*/ 937 h 1374"/>
                      <a:gd name="T46" fmla="*/ 2769 w 2780"/>
                      <a:gd name="T47" fmla="*/ 880 h 1374"/>
                      <a:gd name="T48" fmla="*/ 2632 w 2780"/>
                      <a:gd name="T49" fmla="*/ 880 h 13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2780" h="1374">
                        <a:moveTo>
                          <a:pt x="2632" y="880"/>
                        </a:moveTo>
                        <a:lnTo>
                          <a:pt x="2633" y="474"/>
                        </a:lnTo>
                        <a:lnTo>
                          <a:pt x="2633" y="474"/>
                        </a:lnTo>
                        <a:lnTo>
                          <a:pt x="2633" y="270"/>
                        </a:lnTo>
                        <a:lnTo>
                          <a:pt x="2571" y="270"/>
                        </a:lnTo>
                        <a:lnTo>
                          <a:pt x="2571" y="422"/>
                        </a:lnTo>
                        <a:lnTo>
                          <a:pt x="1933" y="422"/>
                        </a:lnTo>
                        <a:lnTo>
                          <a:pt x="1933" y="0"/>
                        </a:lnTo>
                        <a:lnTo>
                          <a:pt x="428" y="0"/>
                        </a:lnTo>
                        <a:lnTo>
                          <a:pt x="428" y="466"/>
                        </a:lnTo>
                        <a:lnTo>
                          <a:pt x="428" y="466"/>
                        </a:lnTo>
                        <a:lnTo>
                          <a:pt x="428" y="888"/>
                        </a:lnTo>
                        <a:lnTo>
                          <a:pt x="35" y="888"/>
                        </a:lnTo>
                        <a:lnTo>
                          <a:pt x="0" y="987"/>
                        </a:lnTo>
                        <a:lnTo>
                          <a:pt x="50" y="987"/>
                        </a:lnTo>
                        <a:lnTo>
                          <a:pt x="50" y="1374"/>
                        </a:lnTo>
                        <a:lnTo>
                          <a:pt x="87" y="1374"/>
                        </a:lnTo>
                        <a:lnTo>
                          <a:pt x="87" y="987"/>
                        </a:lnTo>
                        <a:lnTo>
                          <a:pt x="428" y="987"/>
                        </a:lnTo>
                        <a:lnTo>
                          <a:pt x="428" y="1373"/>
                        </a:lnTo>
                        <a:lnTo>
                          <a:pt x="2754" y="1373"/>
                        </a:lnTo>
                        <a:lnTo>
                          <a:pt x="2754" y="937"/>
                        </a:lnTo>
                        <a:lnTo>
                          <a:pt x="2780" y="937"/>
                        </a:lnTo>
                        <a:lnTo>
                          <a:pt x="2769" y="880"/>
                        </a:lnTo>
                        <a:lnTo>
                          <a:pt x="2632" y="880"/>
                        </a:lnTo>
                      </a:path>
                    </a:pathLst>
                  </a:cu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3" name="Rectangle 598">
                    <a:extLst>
                      <a:ext uri="{FF2B5EF4-FFF2-40B4-BE49-F238E27FC236}">
                        <a16:creationId xmlns:a16="http://schemas.microsoft.com/office/drawing/2014/main" id="{B8F4E2F5-C837-40A1-8205-93F27A97588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061087" y="3532652"/>
                    <a:ext cx="1104154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4" name="Rectangle 601">
                    <a:extLst>
                      <a:ext uri="{FF2B5EF4-FFF2-40B4-BE49-F238E27FC236}">
                        <a16:creationId xmlns:a16="http://schemas.microsoft.com/office/drawing/2014/main" id="{7DC3EADB-BAEA-4F60-A9C3-388341559AE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788937" y="3693123"/>
                    <a:ext cx="184851" cy="42941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895" name="Gruppierung 27">
                    <a:extLst>
                      <a:ext uri="{FF2B5EF4-FFF2-40B4-BE49-F238E27FC236}">
                        <a16:creationId xmlns:a16="http://schemas.microsoft.com/office/drawing/2014/main" id="{BBF9AA5A-F79D-42CA-BF5E-E1E56006A926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252365" y="4488046"/>
                    <a:ext cx="41262" cy="34174"/>
                    <a:chOff x="2368062" y="6213561"/>
                    <a:chExt cx="70723" cy="58575"/>
                  </a:xfrm>
                </p:grpSpPr>
                <p:sp>
                  <p:nvSpPr>
                    <p:cNvPr id="2077" name="Freeform 731">
                      <a:extLst>
                        <a:ext uri="{FF2B5EF4-FFF2-40B4-BE49-F238E27FC236}">
                          <a16:creationId xmlns:a16="http://schemas.microsoft.com/office/drawing/2014/main" id="{FE187E81-B931-4FDD-827A-02A818DD835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2370891" y="6216106"/>
                      <a:ext cx="62235" cy="56028"/>
                    </a:xfrm>
                    <a:custGeom>
                      <a:avLst/>
                      <a:gdLst>
                        <a:gd name="T0" fmla="*/ 11 w 27"/>
                        <a:gd name="T1" fmla="*/ 1 h 27"/>
                        <a:gd name="T2" fmla="*/ 1 w 27"/>
                        <a:gd name="T3" fmla="*/ 16 h 27"/>
                        <a:gd name="T4" fmla="*/ 16 w 27"/>
                        <a:gd name="T5" fmla="*/ 26 h 27"/>
                        <a:gd name="T6" fmla="*/ 26 w 27"/>
                        <a:gd name="T7" fmla="*/ 11 h 27"/>
                        <a:gd name="T8" fmla="*/ 11 w 27"/>
                        <a:gd name="T9" fmla="*/ 1 h 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27">
                          <a:moveTo>
                            <a:pt x="11" y="1"/>
                          </a:moveTo>
                          <a:cubicBezTo>
                            <a:pt x="5" y="3"/>
                            <a:pt x="0" y="9"/>
                            <a:pt x="1" y="16"/>
                          </a:cubicBezTo>
                          <a:cubicBezTo>
                            <a:pt x="3" y="23"/>
                            <a:pt x="9" y="27"/>
                            <a:pt x="16" y="26"/>
                          </a:cubicBezTo>
                          <a:cubicBezTo>
                            <a:pt x="23" y="25"/>
                            <a:pt x="27" y="18"/>
                            <a:pt x="26" y="11"/>
                          </a:cubicBezTo>
                          <a:cubicBezTo>
                            <a:pt x="25" y="4"/>
                            <a:pt x="18" y="0"/>
                            <a:pt x="11" y="1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78" name="Freeform 732">
                      <a:extLst>
                        <a:ext uri="{FF2B5EF4-FFF2-40B4-BE49-F238E27FC236}">
                          <a16:creationId xmlns:a16="http://schemas.microsoft.com/office/drawing/2014/main" id="{F05A8BC0-EF08-4A12-A387-9142135AD473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gray">
                    <a:xfrm>
                      <a:off x="2368062" y="6213561"/>
                      <a:ext cx="70723" cy="58575"/>
                    </a:xfrm>
                    <a:custGeom>
                      <a:avLst/>
                      <a:gdLst>
                        <a:gd name="T0" fmla="*/ 16 w 31"/>
                        <a:gd name="T1" fmla="*/ 0 h 29"/>
                        <a:gd name="T2" fmla="*/ 13 w 31"/>
                        <a:gd name="T3" fmla="*/ 0 h 29"/>
                        <a:gd name="T4" fmla="*/ 2 w 31"/>
                        <a:gd name="T5" fmla="*/ 17 h 29"/>
                        <a:gd name="T6" fmla="*/ 16 w 31"/>
                        <a:gd name="T7" fmla="*/ 29 h 29"/>
                        <a:gd name="T8" fmla="*/ 18 w 31"/>
                        <a:gd name="T9" fmla="*/ 29 h 29"/>
                        <a:gd name="T10" fmla="*/ 28 w 31"/>
                        <a:gd name="T11" fmla="*/ 23 h 29"/>
                        <a:gd name="T12" fmla="*/ 30 w 31"/>
                        <a:gd name="T13" fmla="*/ 12 h 29"/>
                        <a:gd name="T14" fmla="*/ 16 w 31"/>
                        <a:gd name="T15" fmla="*/ 0 h 29"/>
                        <a:gd name="T16" fmla="*/ 25 w 31"/>
                        <a:gd name="T17" fmla="*/ 21 h 29"/>
                        <a:gd name="T18" fmla="*/ 18 w 31"/>
                        <a:gd name="T19" fmla="*/ 25 h 29"/>
                        <a:gd name="T20" fmla="*/ 5 w 31"/>
                        <a:gd name="T21" fmla="*/ 17 h 29"/>
                        <a:gd name="T22" fmla="*/ 14 w 31"/>
                        <a:gd name="T23" fmla="*/ 4 h 29"/>
                        <a:gd name="T24" fmla="*/ 16 w 31"/>
                        <a:gd name="T25" fmla="*/ 4 h 29"/>
                        <a:gd name="T26" fmla="*/ 26 w 31"/>
                        <a:gd name="T27" fmla="*/ 13 h 29"/>
                        <a:gd name="T28" fmla="*/ 25 w 31"/>
                        <a:gd name="T29" fmla="*/ 21 h 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1" h="29">
                          <a:moveTo>
                            <a:pt x="16" y="0"/>
                          </a:moveTo>
                          <a:cubicBezTo>
                            <a:pt x="15" y="0"/>
                            <a:pt x="14" y="0"/>
                            <a:pt x="13" y="0"/>
                          </a:cubicBezTo>
                          <a:cubicBezTo>
                            <a:pt x="5" y="2"/>
                            <a:pt x="0" y="9"/>
                            <a:pt x="2" y="17"/>
                          </a:cubicBezTo>
                          <a:cubicBezTo>
                            <a:pt x="3" y="24"/>
                            <a:pt x="9" y="29"/>
                            <a:pt x="16" y="29"/>
                          </a:cubicBezTo>
                          <a:cubicBezTo>
                            <a:pt x="17" y="29"/>
                            <a:pt x="18" y="29"/>
                            <a:pt x="18" y="29"/>
                          </a:cubicBezTo>
                          <a:cubicBezTo>
                            <a:pt x="22" y="28"/>
                            <a:pt x="26" y="26"/>
                            <a:pt x="28" y="23"/>
                          </a:cubicBezTo>
                          <a:cubicBezTo>
                            <a:pt x="30" y="19"/>
                            <a:pt x="31" y="16"/>
                            <a:pt x="30" y="12"/>
                          </a:cubicBezTo>
                          <a:cubicBezTo>
                            <a:pt x="29" y="5"/>
                            <a:pt x="23" y="0"/>
                            <a:pt x="16" y="0"/>
                          </a:cubicBezTo>
                          <a:close/>
                          <a:moveTo>
                            <a:pt x="25" y="21"/>
                          </a:moveTo>
                          <a:cubicBezTo>
                            <a:pt x="23" y="23"/>
                            <a:pt x="21" y="25"/>
                            <a:pt x="18" y="25"/>
                          </a:cubicBezTo>
                          <a:cubicBezTo>
                            <a:pt x="12" y="26"/>
                            <a:pt x="6" y="22"/>
                            <a:pt x="5" y="17"/>
                          </a:cubicBezTo>
                          <a:cubicBezTo>
                            <a:pt x="4" y="11"/>
                            <a:pt x="8" y="5"/>
                            <a:pt x="14" y="4"/>
                          </a:cubicBezTo>
                          <a:cubicBezTo>
                            <a:pt x="14" y="4"/>
                            <a:pt x="15" y="4"/>
                            <a:pt x="16" y="4"/>
                          </a:cubicBezTo>
                          <a:cubicBezTo>
                            <a:pt x="21" y="4"/>
                            <a:pt x="25" y="8"/>
                            <a:pt x="26" y="13"/>
                          </a:cubicBezTo>
                          <a:cubicBezTo>
                            <a:pt x="27" y="15"/>
                            <a:pt x="26" y="18"/>
                            <a:pt x="25" y="21"/>
                          </a:cubicBezTo>
                          <a:close/>
                        </a:path>
                      </a:pathLst>
                    </a:cu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grpSp>
                  <p:nvGrpSpPr>
                    <p:cNvPr id="2079" name="Gruppierung 19">
                      <a:extLst>
                        <a:ext uri="{FF2B5EF4-FFF2-40B4-BE49-F238E27FC236}">
                          <a16:creationId xmlns:a16="http://schemas.microsoft.com/office/drawing/2014/main" id="{1EDE5CC1-D2AC-4710-9162-5FA6B19B5609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2387864" y="6228840"/>
                      <a:ext cx="22631" cy="20376"/>
                      <a:chOff x="2387864" y="6228840"/>
                      <a:chExt cx="22631" cy="20376"/>
                    </a:xfrm>
                  </p:grpSpPr>
                  <p:sp>
                    <p:nvSpPr>
                      <p:cNvPr id="2080" name="Freeform 733">
                        <a:extLst>
                          <a:ext uri="{FF2B5EF4-FFF2-40B4-BE49-F238E27FC236}">
                            <a16:creationId xmlns:a16="http://schemas.microsoft.com/office/drawing/2014/main" id="{6F2FA073-D1AA-4FF0-917F-FA44C6BFCE7A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2396350" y="6236482"/>
                        <a:ext cx="14145" cy="12734"/>
                      </a:xfrm>
                      <a:custGeom>
                        <a:avLst/>
                        <a:gdLst>
                          <a:gd name="T0" fmla="*/ 2 w 6"/>
                          <a:gd name="T1" fmla="*/ 1 h 7"/>
                          <a:gd name="T2" fmla="*/ 0 w 6"/>
                          <a:gd name="T3" fmla="*/ 4 h 7"/>
                          <a:gd name="T4" fmla="*/ 3 w 6"/>
                          <a:gd name="T5" fmla="*/ 6 h 7"/>
                          <a:gd name="T6" fmla="*/ 6 w 6"/>
                          <a:gd name="T7" fmla="*/ 3 h 7"/>
                          <a:gd name="T8" fmla="*/ 2 w 6"/>
                          <a:gd name="T9" fmla="*/ 1 h 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6" h="7">
                            <a:moveTo>
                              <a:pt x="2" y="1"/>
                            </a:moveTo>
                            <a:cubicBezTo>
                              <a:pt x="1" y="1"/>
                              <a:pt x="0" y="3"/>
                              <a:pt x="0" y="4"/>
                            </a:cubicBezTo>
                            <a:cubicBezTo>
                              <a:pt x="0" y="6"/>
                              <a:pt x="2" y="7"/>
                              <a:pt x="3" y="6"/>
                            </a:cubicBezTo>
                            <a:cubicBezTo>
                              <a:pt x="5" y="6"/>
                              <a:pt x="6" y="5"/>
                              <a:pt x="6" y="3"/>
                            </a:cubicBezTo>
                            <a:cubicBezTo>
                              <a:pt x="5" y="1"/>
                              <a:pt x="4" y="0"/>
                              <a:pt x="2" y="1"/>
                            </a:cubicBezTo>
                            <a:close/>
                          </a:path>
                        </a:pathLst>
                      </a:cu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81" name="Freeform 734">
                        <a:extLst>
                          <a:ext uri="{FF2B5EF4-FFF2-40B4-BE49-F238E27FC236}">
                            <a16:creationId xmlns:a16="http://schemas.microsoft.com/office/drawing/2014/main" id="{9DCBFD18-6DAD-438A-BB32-FAE1E6032860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gray">
                      <a:xfrm>
                        <a:off x="2387864" y="6228840"/>
                        <a:ext cx="16973" cy="17827"/>
                      </a:xfrm>
                      <a:custGeom>
                        <a:avLst/>
                        <a:gdLst>
                          <a:gd name="T0" fmla="*/ 2 w 8"/>
                          <a:gd name="T1" fmla="*/ 1 h 9"/>
                          <a:gd name="T2" fmla="*/ 1 w 8"/>
                          <a:gd name="T3" fmla="*/ 1 h 9"/>
                          <a:gd name="T4" fmla="*/ 1 w 8"/>
                          <a:gd name="T5" fmla="*/ 3 h 9"/>
                          <a:gd name="T6" fmla="*/ 6 w 8"/>
                          <a:gd name="T7" fmla="*/ 8 h 9"/>
                          <a:gd name="T8" fmla="*/ 7 w 8"/>
                          <a:gd name="T9" fmla="*/ 9 h 9"/>
                          <a:gd name="T10" fmla="*/ 8 w 8"/>
                          <a:gd name="T11" fmla="*/ 9 h 9"/>
                          <a:gd name="T12" fmla="*/ 8 w 8"/>
                          <a:gd name="T13" fmla="*/ 7 h 9"/>
                          <a:gd name="T14" fmla="*/ 2 w 8"/>
                          <a:gd name="T15" fmla="*/ 1 h 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</a:cxnLst>
                        <a:rect l="0" t="0" r="r" b="b"/>
                        <a:pathLst>
                          <a:path w="8" h="9">
                            <a:moveTo>
                              <a:pt x="2" y="1"/>
                            </a:moveTo>
                            <a:cubicBezTo>
                              <a:pt x="2" y="0"/>
                              <a:pt x="1" y="0"/>
                              <a:pt x="1" y="1"/>
                            </a:cubicBezTo>
                            <a:cubicBezTo>
                              <a:pt x="0" y="1"/>
                              <a:pt x="0" y="2"/>
                              <a:pt x="1" y="3"/>
                            </a:cubicBezTo>
                            <a:cubicBezTo>
                              <a:pt x="6" y="8"/>
                              <a:pt x="6" y="8"/>
                              <a:pt x="6" y="8"/>
                            </a:cubicBezTo>
                            <a:cubicBezTo>
                              <a:pt x="7" y="9"/>
                              <a:pt x="7" y="9"/>
                              <a:pt x="7" y="9"/>
                            </a:cubicBezTo>
                            <a:cubicBezTo>
                              <a:pt x="8" y="9"/>
                              <a:pt x="8" y="9"/>
                              <a:pt x="8" y="9"/>
                            </a:cubicBezTo>
                            <a:cubicBezTo>
                              <a:pt x="8" y="8"/>
                              <a:pt x="8" y="7"/>
                              <a:pt x="8" y="7"/>
                            </a:cubicBezTo>
                            <a:lnTo>
                              <a:pt x="2" y="1"/>
                            </a:lnTo>
                            <a:close/>
                          </a:path>
                        </a:pathLst>
                      </a:cu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</p:grpSp>
              <p:sp>
                <p:nvSpPr>
                  <p:cNvPr id="896" name="Rectangle 745">
                    <a:extLst>
                      <a:ext uri="{FF2B5EF4-FFF2-40B4-BE49-F238E27FC236}">
                        <a16:creationId xmlns:a16="http://schemas.microsoft.com/office/drawing/2014/main" id="{83D1A24D-39A7-416C-A70E-71431E1589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884313" y="3532651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7" name="Rectangle 759">
                    <a:extLst>
                      <a:ext uri="{FF2B5EF4-FFF2-40B4-BE49-F238E27FC236}">
                        <a16:creationId xmlns:a16="http://schemas.microsoft.com/office/drawing/2014/main" id="{3090673B-8B61-4B27-84A1-72D6F5D2101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996544" y="3694610"/>
                    <a:ext cx="305333" cy="16344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8" name="Rectangle 793">
                    <a:extLst>
                      <a:ext uri="{FF2B5EF4-FFF2-40B4-BE49-F238E27FC236}">
                        <a16:creationId xmlns:a16="http://schemas.microsoft.com/office/drawing/2014/main" id="{7F3BA07E-DBE9-47FC-A802-62FAF3E129C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884313" y="2294930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899" name="Rectangle 887">
                    <a:extLst>
                      <a:ext uri="{FF2B5EF4-FFF2-40B4-BE49-F238E27FC236}">
                        <a16:creationId xmlns:a16="http://schemas.microsoft.com/office/drawing/2014/main" id="{8450A752-D632-409D-BBD0-B743F8D4847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3064388" y="2294930"/>
                    <a:ext cx="1102503" cy="5898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900" name="Rectangle 966">
                    <a:extLst>
                      <a:ext uri="{FF2B5EF4-FFF2-40B4-BE49-F238E27FC236}">
                        <a16:creationId xmlns:a16="http://schemas.microsoft.com/office/drawing/2014/main" id="{111F3090-6048-4598-B78B-EF414F7DA56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359995" y="3529679"/>
                    <a:ext cx="1249394" cy="5928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901" name="Rectangle 1166">
                    <a:extLst>
                      <a:ext uri="{FF2B5EF4-FFF2-40B4-BE49-F238E27FC236}">
                        <a16:creationId xmlns:a16="http://schemas.microsoft.com/office/drawing/2014/main" id="{F8E3795B-7A33-4652-A350-DDE4897EBA9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752348" y="3466355"/>
                    <a:ext cx="620913" cy="0"/>
                  </a:xfrm>
                  <a:prstGeom prst="rect">
                    <a:avLst/>
                  </a:pr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902" name="Gruppieren 2067">
                    <a:extLst>
                      <a:ext uri="{FF2B5EF4-FFF2-40B4-BE49-F238E27FC236}">
                        <a16:creationId xmlns:a16="http://schemas.microsoft.com/office/drawing/2014/main" id="{3F8049F0-FEE4-4D50-B138-F9467B910CE7}"/>
                      </a:ext>
                    </a:extLst>
                  </p:cNvPr>
                  <p:cNvGrpSpPr>
                    <a:grpSpLocks noChangeAspect="1"/>
                  </p:cNvGrpSpPr>
                  <p:nvPr/>
                </p:nvGrpSpPr>
                <p:grpSpPr bwMode="gray">
                  <a:xfrm rot="2700000">
                    <a:off x="1778874" y="3181346"/>
                    <a:ext cx="144000" cy="144000"/>
                    <a:chOff x="5591795" y="3647298"/>
                    <a:chExt cx="1008000" cy="1008000"/>
                  </a:xfrm>
                </p:grpSpPr>
                <p:sp>
                  <p:nvSpPr>
                    <p:cNvPr id="2074" name="Bogen 2068">
                      <a:extLst>
                        <a:ext uri="{FF2B5EF4-FFF2-40B4-BE49-F238E27FC236}">
                          <a16:creationId xmlns:a16="http://schemas.microsoft.com/office/drawing/2014/main" id="{C6B9A5A1-22AC-4523-8677-BA25CA869B0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880000" y="3934199"/>
                      <a:ext cx="432000" cy="432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75" name="Bogen 2069">
                      <a:extLst>
                        <a:ext uri="{FF2B5EF4-FFF2-40B4-BE49-F238E27FC236}">
                          <a16:creationId xmlns:a16="http://schemas.microsoft.com/office/drawing/2014/main" id="{80104590-4F9C-47D9-A826-3120DFDC02CE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735795" y="3790199"/>
                      <a:ext cx="720000" cy="720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2076" name="Bogen 2070">
                      <a:extLst>
                        <a:ext uri="{FF2B5EF4-FFF2-40B4-BE49-F238E27FC236}">
                          <a16:creationId xmlns:a16="http://schemas.microsoft.com/office/drawing/2014/main" id="{14102D9A-D2DE-4194-8CC8-8C9843B78EC7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591795" y="3647298"/>
                      <a:ext cx="1008000" cy="1008000"/>
                    </a:xfrm>
                    <a:prstGeom prst="arc">
                      <a:avLst/>
                    </a:prstGeom>
                    <a:ln w="9525">
                      <a:solidFill>
                        <a:srgbClr val="FF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sp>
                <p:nvSpPr>
                  <p:cNvPr id="903" name="Rechteck: abgerundete Ecken 27">
                    <a:extLst>
                      <a:ext uri="{FF2B5EF4-FFF2-40B4-BE49-F238E27FC236}">
                        <a16:creationId xmlns:a16="http://schemas.microsoft.com/office/drawing/2014/main" id="{8B8ED3A7-FD2B-4A3A-9362-795CC49F7051}"/>
                      </a:ext>
                    </a:extLst>
                  </p:cNvPr>
                  <p:cNvSpPr>
                    <a:spLocks noChangeAspect="1"/>
                  </p:cNvSpPr>
                  <p:nvPr>
                    <p:custDataLst>
                      <p:tags r:id="rId72"/>
                    </p:custDataLst>
                  </p:nvPr>
                </p:nvSpPr>
                <p:spPr bwMode="gray">
                  <a:xfrm>
                    <a:off x="1280119" y="2975242"/>
                    <a:ext cx="90001" cy="90000"/>
                  </a:xfrm>
                  <a:prstGeom prst="roundRect">
                    <a:avLst>
                      <a:gd name="adj" fmla="val 11024"/>
                    </a:avLst>
                  </a:prstGeom>
                  <a:solidFill>
                    <a:schemeClr val="accent1"/>
                  </a:solidFill>
                  <a:ln w="63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tIns="57600" rtlCol="0" anchor="ctr">
                    <a:noAutofit/>
                  </a:bodyPr>
                  <a:lstStyle/>
                  <a:p>
                    <a:pPr marL="0" marR="0" lvl="0" indent="0" algn="ctr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5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rPr>
                      <a:t>1</a:t>
                    </a:r>
                    <a:endParaRPr kumimoji="0" lang="en-GB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sp>
                <p:nvSpPr>
                  <p:cNvPr id="904" name="Rectangle 681">
                    <a:extLst>
                      <a:ext uri="{FF2B5EF4-FFF2-40B4-BE49-F238E27FC236}">
                        <a16:creationId xmlns:a16="http://schemas.microsoft.com/office/drawing/2014/main" id="{92A0DF5A-F242-4A30-8F49-CBFBA3D1BF9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106870" y="2128374"/>
                    <a:ext cx="4571138" cy="2561348"/>
                  </a:xfrm>
                  <a:prstGeom prst="rect">
                    <a:avLst/>
                  </a:pr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 dirty="0">
                      <a:ln>
                        <a:noFill/>
                      </a:ln>
                      <a:effectLst/>
                      <a:uLnTx/>
                      <a:uFillTx/>
                      <a:latin typeface="Lucida Sans Techem"/>
                      <a:ea typeface="+mn-ea"/>
                      <a:cs typeface="Calibri"/>
                    </a:endParaRPr>
                  </a:p>
                </p:txBody>
              </p:sp>
              <p:grpSp>
                <p:nvGrpSpPr>
                  <p:cNvPr id="905" name="Gruppieren 1379">
                    <a:extLst>
                      <a:ext uri="{FF2B5EF4-FFF2-40B4-BE49-F238E27FC236}">
                        <a16:creationId xmlns:a16="http://schemas.microsoft.com/office/drawing/2014/main" id="{C0A61BEB-6F38-42A7-BEFB-E764FCA984DF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3466350" y="2180234"/>
                    <a:ext cx="812477" cy="1867001"/>
                    <a:chOff x="4240856" y="2180234"/>
                    <a:chExt cx="812477" cy="1867001"/>
                  </a:xfrm>
                </p:grpSpPr>
                <p:grpSp>
                  <p:nvGrpSpPr>
                    <p:cNvPr id="1995" name="Gruppieren 1658">
                      <a:extLst>
                        <a:ext uri="{FF2B5EF4-FFF2-40B4-BE49-F238E27FC236}">
                          <a16:creationId xmlns:a16="http://schemas.microsoft.com/office/drawing/2014/main" id="{74F7C327-91A2-494A-A8DD-6C6BAB98BA2C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59" y="2180234"/>
                      <a:ext cx="812470" cy="588807"/>
                      <a:chOff x="4240305" y="2254998"/>
                      <a:chExt cx="812470" cy="588807"/>
                    </a:xfrm>
                  </p:grpSpPr>
                  <p:sp>
                    <p:nvSpPr>
                      <p:cNvPr id="2056" name="Rectangle 965">
                        <a:extLst>
                          <a:ext uri="{FF2B5EF4-FFF2-40B4-BE49-F238E27FC236}">
                            <a16:creationId xmlns:a16="http://schemas.microsoft.com/office/drawing/2014/main" id="{82F86ED1-D9BB-44DF-A831-7271D842F14C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57" name="Rectangle 998">
                        <a:extLst>
                          <a:ext uri="{FF2B5EF4-FFF2-40B4-BE49-F238E27FC236}">
                            <a16:creationId xmlns:a16="http://schemas.microsoft.com/office/drawing/2014/main" id="{2BE4303C-FEB0-4885-8759-3AB106C7F674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58" name="Rectangle 1166">
                        <a:extLst>
                          <a:ext uri="{FF2B5EF4-FFF2-40B4-BE49-F238E27FC236}">
                            <a16:creationId xmlns:a16="http://schemas.microsoft.com/office/drawing/2014/main" id="{419A38CC-5EB4-427C-88AD-08E6C5BA410A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2059" name="Bild 2217">
                        <a:extLst>
                          <a:ext uri="{FF2B5EF4-FFF2-40B4-BE49-F238E27FC236}">
                            <a16:creationId xmlns:a16="http://schemas.microsoft.com/office/drawing/2014/main" id="{DC63AD37-724A-4EE8-94F5-3F263EE71DB7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60" name="Bild 2218">
                        <a:extLst>
                          <a:ext uri="{FF2B5EF4-FFF2-40B4-BE49-F238E27FC236}">
                            <a16:creationId xmlns:a16="http://schemas.microsoft.com/office/drawing/2014/main" id="{EF211392-F3CE-4492-9616-3620A220E0AA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2061" name="Gruppieren 1694">
                        <a:extLst>
                          <a:ext uri="{FF2B5EF4-FFF2-40B4-BE49-F238E27FC236}">
                            <a16:creationId xmlns:a16="http://schemas.microsoft.com/office/drawing/2014/main" id="{4AFEBCC2-EC74-4EBE-BF0A-8ECF8CE6E8E1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2067" name="Bild 2220">
                          <a:extLst>
                            <a:ext uri="{FF2B5EF4-FFF2-40B4-BE49-F238E27FC236}">
                              <a16:creationId xmlns:a16="http://schemas.microsoft.com/office/drawing/2014/main" id="{7071E684-13B7-4C57-B3FC-537E8DEC779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72" name="Bild 2224">
                          <a:extLst>
                            <a:ext uri="{FF2B5EF4-FFF2-40B4-BE49-F238E27FC236}">
                              <a16:creationId xmlns:a16="http://schemas.microsoft.com/office/drawing/2014/main" id="{45C00E45-85F3-4B17-9174-7824CCD4EA0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73" name="Bild 1859">
                          <a:extLst>
                            <a:ext uri="{FF2B5EF4-FFF2-40B4-BE49-F238E27FC236}">
                              <a16:creationId xmlns:a16="http://schemas.microsoft.com/office/drawing/2014/main" id="{4A2B9EB0-256E-4501-A49B-ED1F079B130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2062" name="Rectangle 965">
                        <a:extLst>
                          <a:ext uri="{FF2B5EF4-FFF2-40B4-BE49-F238E27FC236}">
                            <a16:creationId xmlns:a16="http://schemas.microsoft.com/office/drawing/2014/main" id="{DA47B9B1-76DD-4628-94F3-E3E639BDF4C9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2063" name="Gruppieren 1696">
                        <a:extLst>
                          <a:ext uri="{FF2B5EF4-FFF2-40B4-BE49-F238E27FC236}">
                            <a16:creationId xmlns:a16="http://schemas.microsoft.com/office/drawing/2014/main" id="{D226B790-D03C-4734-96A6-953A0B52637C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2064" name="Bild 1031">
                          <a:extLst>
                            <a:ext uri="{FF2B5EF4-FFF2-40B4-BE49-F238E27FC236}">
                              <a16:creationId xmlns:a16="http://schemas.microsoft.com/office/drawing/2014/main" id="{65139288-BEB4-41A9-AF7E-5F06AD0E92C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65" name="Bild 1032">
                          <a:extLst>
                            <a:ext uri="{FF2B5EF4-FFF2-40B4-BE49-F238E27FC236}">
                              <a16:creationId xmlns:a16="http://schemas.microsoft.com/office/drawing/2014/main" id="{F22A2525-8A4E-46BA-B974-CEFAEE423B7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66" name="Bild 1858">
                          <a:extLst>
                            <a:ext uri="{FF2B5EF4-FFF2-40B4-BE49-F238E27FC236}">
                              <a16:creationId xmlns:a16="http://schemas.microsoft.com/office/drawing/2014/main" id="{01D994F9-B8A5-4E8D-9D21-E82BF960C8C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996" name="Gruppieren 1659">
                      <a:extLst>
                        <a:ext uri="{FF2B5EF4-FFF2-40B4-BE49-F238E27FC236}">
                          <a16:creationId xmlns:a16="http://schemas.microsoft.com/office/drawing/2014/main" id="{5381F1E1-7BBF-4481-9AFE-C1AC1449A98B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56" y="3456835"/>
                      <a:ext cx="812470" cy="590400"/>
                      <a:chOff x="4240305" y="2254998"/>
                      <a:chExt cx="812470" cy="588807"/>
                    </a:xfrm>
                  </p:grpSpPr>
                  <p:sp>
                    <p:nvSpPr>
                      <p:cNvPr id="2017" name="Rectangle 965">
                        <a:extLst>
                          <a:ext uri="{FF2B5EF4-FFF2-40B4-BE49-F238E27FC236}">
                            <a16:creationId xmlns:a16="http://schemas.microsoft.com/office/drawing/2014/main" id="{290243CA-0460-4A26-B205-5A8EE20E2396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18" name="Rectangle 998">
                        <a:extLst>
                          <a:ext uri="{FF2B5EF4-FFF2-40B4-BE49-F238E27FC236}">
                            <a16:creationId xmlns:a16="http://schemas.microsoft.com/office/drawing/2014/main" id="{6BEF92CD-2F2D-4969-BD77-49896E58A97E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19" name="Rectangle 1166">
                        <a:extLst>
                          <a:ext uri="{FF2B5EF4-FFF2-40B4-BE49-F238E27FC236}">
                            <a16:creationId xmlns:a16="http://schemas.microsoft.com/office/drawing/2014/main" id="{26379A65-8C54-4B16-A090-A362F045B058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2020" name="Bild 2217">
                        <a:extLst>
                          <a:ext uri="{FF2B5EF4-FFF2-40B4-BE49-F238E27FC236}">
                            <a16:creationId xmlns:a16="http://schemas.microsoft.com/office/drawing/2014/main" id="{46D97133-3376-4049-BE0C-E97040370A89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21" name="Bild 2218">
                        <a:extLst>
                          <a:ext uri="{FF2B5EF4-FFF2-40B4-BE49-F238E27FC236}">
                            <a16:creationId xmlns:a16="http://schemas.microsoft.com/office/drawing/2014/main" id="{6C57D3A6-598C-4EC6-9258-762FCB3F3B80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2022" name="Gruppieren 1680">
                        <a:extLst>
                          <a:ext uri="{FF2B5EF4-FFF2-40B4-BE49-F238E27FC236}">
                            <a16:creationId xmlns:a16="http://schemas.microsoft.com/office/drawing/2014/main" id="{F7042DEE-B423-4682-94E0-9DD4E971137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2053" name="Bild 2220">
                          <a:extLst>
                            <a:ext uri="{FF2B5EF4-FFF2-40B4-BE49-F238E27FC236}">
                              <a16:creationId xmlns:a16="http://schemas.microsoft.com/office/drawing/2014/main" id="{898CC616-E085-468F-A07B-DD7E1B20917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54" name="Bild 2224">
                          <a:extLst>
                            <a:ext uri="{FF2B5EF4-FFF2-40B4-BE49-F238E27FC236}">
                              <a16:creationId xmlns:a16="http://schemas.microsoft.com/office/drawing/2014/main" id="{7BF95C7D-234A-41AF-A735-86FC5C42BA0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55" name="Bild 1859">
                          <a:extLst>
                            <a:ext uri="{FF2B5EF4-FFF2-40B4-BE49-F238E27FC236}">
                              <a16:creationId xmlns:a16="http://schemas.microsoft.com/office/drawing/2014/main" id="{1AD994A6-8F80-445F-A66D-FE5D7F96906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2023" name="Rectangle 965">
                        <a:extLst>
                          <a:ext uri="{FF2B5EF4-FFF2-40B4-BE49-F238E27FC236}">
                            <a16:creationId xmlns:a16="http://schemas.microsoft.com/office/drawing/2014/main" id="{B2C01A81-FD57-4C4C-8AAF-A9FA573DF3B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2024" name="Gruppieren 1682">
                        <a:extLst>
                          <a:ext uri="{FF2B5EF4-FFF2-40B4-BE49-F238E27FC236}">
                            <a16:creationId xmlns:a16="http://schemas.microsoft.com/office/drawing/2014/main" id="{0DA6BE69-4879-4930-A39C-987D408A1AC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2025" name="Bild 1031">
                          <a:extLst>
                            <a:ext uri="{FF2B5EF4-FFF2-40B4-BE49-F238E27FC236}">
                              <a16:creationId xmlns:a16="http://schemas.microsoft.com/office/drawing/2014/main" id="{2A6668A7-7146-487A-A74B-C23946213B4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26" name="Bild 1032">
                          <a:extLst>
                            <a:ext uri="{FF2B5EF4-FFF2-40B4-BE49-F238E27FC236}">
                              <a16:creationId xmlns:a16="http://schemas.microsoft.com/office/drawing/2014/main" id="{1DCFABBB-1C9D-48A0-80D8-D7C51136904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52" name="Bild 1858">
                          <a:extLst>
                            <a:ext uri="{FF2B5EF4-FFF2-40B4-BE49-F238E27FC236}">
                              <a16:creationId xmlns:a16="http://schemas.microsoft.com/office/drawing/2014/main" id="{EB9F22CF-A2FE-4DD2-9CDC-0487EF1EAF96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997" name="Gruppieren 1660">
                      <a:extLst>
                        <a:ext uri="{FF2B5EF4-FFF2-40B4-BE49-F238E27FC236}">
                          <a16:creationId xmlns:a16="http://schemas.microsoft.com/office/drawing/2014/main" id="{9E703ED9-6B21-4F13-A459-36A24CF1F348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4240863" y="2823176"/>
                      <a:ext cx="812470" cy="588807"/>
                      <a:chOff x="4240305" y="2254998"/>
                      <a:chExt cx="812470" cy="588807"/>
                    </a:xfrm>
                  </p:grpSpPr>
                  <p:sp>
                    <p:nvSpPr>
                      <p:cNvPr id="1998" name="Rectangle 965">
                        <a:extLst>
                          <a:ext uri="{FF2B5EF4-FFF2-40B4-BE49-F238E27FC236}">
                            <a16:creationId xmlns:a16="http://schemas.microsoft.com/office/drawing/2014/main" id="{405B9D40-3034-4BC8-B4D3-2F98DFFF331B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2775" y="2301637"/>
                        <a:ext cx="810000" cy="524937"/>
                      </a:xfrm>
                      <a:prstGeom prst="rect">
                        <a:avLst/>
                      </a:prstGeom>
                      <a:solidFill>
                        <a:srgbClr val="EE7A5F">
                          <a:alpha val="20000"/>
                        </a:srgb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999" name="Rectangle 998">
                        <a:extLst>
                          <a:ext uri="{FF2B5EF4-FFF2-40B4-BE49-F238E27FC236}">
                            <a16:creationId xmlns:a16="http://schemas.microsoft.com/office/drawing/2014/main" id="{DA367158-E7A8-4261-9E92-2D409D2AD506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254998"/>
                        <a:ext cx="810000" cy="46248"/>
                      </a:xfrm>
                      <a:prstGeom prst="rect">
                        <a:avLst/>
                      </a:prstGeom>
                      <a:solidFill>
                        <a:srgbClr val="CB4E3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2000" name="Rectangle 1166">
                        <a:extLst>
                          <a:ext uri="{FF2B5EF4-FFF2-40B4-BE49-F238E27FC236}">
                            <a16:creationId xmlns:a16="http://schemas.microsoft.com/office/drawing/2014/main" id="{98C2614E-AAAB-4598-BA96-F14EA81B57E6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800" y="2817131"/>
                        <a:ext cx="810000" cy="26674"/>
                      </a:xfrm>
                      <a:prstGeom prst="rect">
                        <a:avLst/>
                      </a:prstGeom>
                      <a:solidFill>
                        <a:srgbClr val="66383E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pic>
                    <p:nvPicPr>
                      <p:cNvPr id="2001" name="Bild 2217">
                        <a:extLst>
                          <a:ext uri="{FF2B5EF4-FFF2-40B4-BE49-F238E27FC236}">
                            <a16:creationId xmlns:a16="http://schemas.microsoft.com/office/drawing/2014/main" id="{E61C24F7-B151-4C63-BF61-0847F52C4F52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240800" y="2413373"/>
                        <a:ext cx="144000" cy="40320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2002" name="Bild 2218">
                        <a:extLst>
                          <a:ext uri="{FF2B5EF4-FFF2-40B4-BE49-F238E27FC236}">
                            <a16:creationId xmlns:a16="http://schemas.microsoft.com/office/drawing/2014/main" id="{D84E5580-E3A3-4DFC-955C-9D51C6A74B02}"/>
                          </a:ext>
                        </a:extLst>
                      </p:cNvPr>
                      <p:cNvPicPr preferRelativeResize="0">
                        <a:picLocks/>
                      </p:cNvPicPr>
                      <p:nvPr/>
                    </p:nvPicPr>
                    <p:blipFill>
                      <a:blip r:embed="rId82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4906703" y="2411729"/>
                        <a:ext cx="144000" cy="404611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2003" name="Gruppieren 1666">
                        <a:extLst>
                          <a:ext uri="{FF2B5EF4-FFF2-40B4-BE49-F238E27FC236}">
                            <a16:creationId xmlns:a16="http://schemas.microsoft.com/office/drawing/2014/main" id="{D6A449F0-A092-467B-AB88-B07D26269E5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433718" y="2333793"/>
                        <a:ext cx="379290" cy="480885"/>
                        <a:chOff x="4448613" y="2979644"/>
                        <a:chExt cx="379290" cy="480885"/>
                      </a:xfrm>
                    </p:grpSpPr>
                    <p:pic>
                      <p:nvPicPr>
                        <p:cNvPr id="2014" name="Bild 2220">
                          <a:extLst>
                            <a:ext uri="{FF2B5EF4-FFF2-40B4-BE49-F238E27FC236}">
                              <a16:creationId xmlns:a16="http://schemas.microsoft.com/office/drawing/2014/main" id="{9B5738C1-ECF4-4C2C-A438-441978F17C3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48613" y="3180775"/>
                          <a:ext cx="379290" cy="279754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15" name="Bild 2224">
                          <a:extLst>
                            <a:ext uri="{FF2B5EF4-FFF2-40B4-BE49-F238E27FC236}">
                              <a16:creationId xmlns:a16="http://schemas.microsoft.com/office/drawing/2014/main" id="{EEA1680A-989B-4376-938A-66E4CE8D7F2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485393" y="2979644"/>
                          <a:ext cx="125799" cy="136696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16" name="Bild 1859">
                          <a:extLst>
                            <a:ext uri="{FF2B5EF4-FFF2-40B4-BE49-F238E27FC236}">
                              <a16:creationId xmlns:a16="http://schemas.microsoft.com/office/drawing/2014/main" id="{D787F819-1B02-482F-9530-B8B44E4E9D5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5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715135" y="3176729"/>
                          <a:ext cx="77869" cy="79285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2004" name="Rectangle 965">
                        <a:extLst>
                          <a:ext uri="{FF2B5EF4-FFF2-40B4-BE49-F238E27FC236}">
                            <a16:creationId xmlns:a16="http://schemas.microsoft.com/office/drawing/2014/main" id="{48A81BA2-17D4-498B-B95F-5307D386984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4240305" y="2299339"/>
                        <a:ext cx="810000" cy="105660"/>
                      </a:xfrm>
                      <a:prstGeom prst="rect">
                        <a:avLst/>
                      </a:prstGeom>
                      <a:solidFill>
                        <a:srgbClr val="EE7A5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2005" name="Gruppieren 1668">
                        <a:extLst>
                          <a:ext uri="{FF2B5EF4-FFF2-40B4-BE49-F238E27FC236}">
                            <a16:creationId xmlns:a16="http://schemas.microsoft.com/office/drawing/2014/main" id="{74441076-F5BA-4067-8050-446B7C70F2CB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539526" y="2301007"/>
                        <a:ext cx="258639" cy="514290"/>
                        <a:chOff x="4554421" y="2946858"/>
                        <a:chExt cx="258639" cy="514290"/>
                      </a:xfrm>
                    </p:grpSpPr>
                    <p:pic>
                      <p:nvPicPr>
                        <p:cNvPr id="2006" name="Bild 1031">
                          <a:extLst>
                            <a:ext uri="{FF2B5EF4-FFF2-40B4-BE49-F238E27FC236}">
                              <a16:creationId xmlns:a16="http://schemas.microsoft.com/office/drawing/2014/main" id="{665D0E09-878A-4B62-B1B0-70546A03C0A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554421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12" name="Bild 1032">
                          <a:extLst>
                            <a:ext uri="{FF2B5EF4-FFF2-40B4-BE49-F238E27FC236}">
                              <a16:creationId xmlns:a16="http://schemas.microsoft.com/office/drawing/2014/main" id="{8434C3A2-187A-4185-9C00-5F5731736CA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6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64373" y="3313281"/>
                          <a:ext cx="63537" cy="147867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2013" name="Bild 1858">
                          <a:extLst>
                            <a:ext uri="{FF2B5EF4-FFF2-40B4-BE49-F238E27FC236}">
                              <a16:creationId xmlns:a16="http://schemas.microsoft.com/office/drawing/2014/main" id="{4CF1EED8-5897-480B-8CA4-3296167D03EA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687261" y="2946858"/>
                          <a:ext cx="125799" cy="152822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906" name="Gruppieren 1380">
                    <a:extLst>
                      <a:ext uri="{FF2B5EF4-FFF2-40B4-BE49-F238E27FC236}">
                        <a16:creationId xmlns:a16="http://schemas.microsoft.com/office/drawing/2014/main" id="{DB66AD0C-3B1A-486C-83BC-E33A004D11B2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892" y="2179424"/>
                    <a:ext cx="1105254" cy="1865530"/>
                    <a:chOff x="3091398" y="2179424"/>
                    <a:chExt cx="1105254" cy="1865530"/>
                  </a:xfrm>
                </p:grpSpPr>
                <p:grpSp>
                  <p:nvGrpSpPr>
                    <p:cNvPr id="1746" name="Gruppieren 1619">
                      <a:extLst>
                        <a:ext uri="{FF2B5EF4-FFF2-40B4-BE49-F238E27FC236}">
                          <a16:creationId xmlns:a16="http://schemas.microsoft.com/office/drawing/2014/main" id="{6EAF62D0-7C3A-4F71-9236-93F02801F383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452" y="2179424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1773" name="Gruppierung 2228">
                        <a:extLst>
                          <a:ext uri="{FF2B5EF4-FFF2-40B4-BE49-F238E27FC236}">
                            <a16:creationId xmlns:a16="http://schemas.microsoft.com/office/drawing/2014/main" id="{0DC009E4-E2BA-41F2-8C70-FD44A9F12888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1992" name="Rectangle 1175">
                          <a:extLst>
                            <a:ext uri="{FF2B5EF4-FFF2-40B4-BE49-F238E27FC236}">
                              <a16:creationId xmlns:a16="http://schemas.microsoft.com/office/drawing/2014/main" id="{25A13EF2-56CB-4CE7-A49B-5927570F0F8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993" name="Rectangle 1166">
                          <a:extLst>
                            <a:ext uri="{FF2B5EF4-FFF2-40B4-BE49-F238E27FC236}">
                              <a16:creationId xmlns:a16="http://schemas.microsoft.com/office/drawing/2014/main" id="{91DCE440-72C8-41CF-8D07-661B4C7EA4D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994" name="Rectangle 599">
                          <a:extLst>
                            <a:ext uri="{FF2B5EF4-FFF2-40B4-BE49-F238E27FC236}">
                              <a16:creationId xmlns:a16="http://schemas.microsoft.com/office/drawing/2014/main" id="{9148CA82-E31F-4603-89A5-B5DB18DDFEB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774" name="Gruppierung 2229">
                        <a:extLst>
                          <a:ext uri="{FF2B5EF4-FFF2-40B4-BE49-F238E27FC236}">
                            <a16:creationId xmlns:a16="http://schemas.microsoft.com/office/drawing/2014/main" id="{52D42AE2-53EF-46CF-B8BA-212561BB3354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1775" name="Gruppierung 2230">
                          <a:extLst>
                            <a:ext uri="{FF2B5EF4-FFF2-40B4-BE49-F238E27FC236}">
                              <a16:creationId xmlns:a16="http://schemas.microsoft.com/office/drawing/2014/main" id="{23E6FB6C-3A24-43AE-AF6C-CE4F31C7C11E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1989" name="Rectangle 1156">
                            <a:extLst>
                              <a:ext uri="{FF2B5EF4-FFF2-40B4-BE49-F238E27FC236}">
                                <a16:creationId xmlns:a16="http://schemas.microsoft.com/office/drawing/2014/main" id="{AAA8C578-7E88-4F50-9026-7D9EFB388160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990" name="Rectangle 1157">
                            <a:extLst>
                              <a:ext uri="{FF2B5EF4-FFF2-40B4-BE49-F238E27FC236}">
                                <a16:creationId xmlns:a16="http://schemas.microsoft.com/office/drawing/2014/main" id="{B807EA6E-EC92-496A-BE26-FFA3EC9794F8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991" name="Freeform 1158">
                            <a:extLst>
                              <a:ext uri="{FF2B5EF4-FFF2-40B4-BE49-F238E27FC236}">
                                <a16:creationId xmlns:a16="http://schemas.microsoft.com/office/drawing/2014/main" id="{F9755CC2-BDD5-47C7-B7F5-C5709641101B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1776" name="Bild 2231">
                          <a:extLst>
                            <a:ext uri="{FF2B5EF4-FFF2-40B4-BE49-F238E27FC236}">
                              <a16:creationId xmlns:a16="http://schemas.microsoft.com/office/drawing/2014/main" id="{35ECDCE3-8B7B-43DB-A0EF-637F6EC1494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987" name="Bild 2232">
                          <a:extLst>
                            <a:ext uri="{FF2B5EF4-FFF2-40B4-BE49-F238E27FC236}">
                              <a16:creationId xmlns:a16="http://schemas.microsoft.com/office/drawing/2014/main" id="{B2570B11-8EF7-4D9B-848A-A5E094C71FA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988" name="Bild 2233">
                          <a:extLst>
                            <a:ext uri="{FF2B5EF4-FFF2-40B4-BE49-F238E27FC236}">
                              <a16:creationId xmlns:a16="http://schemas.microsoft.com/office/drawing/2014/main" id="{C5371ECF-5DAC-43DB-8117-D8FF388065C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747" name="Gruppieren 1620">
                      <a:extLst>
                        <a:ext uri="{FF2B5EF4-FFF2-40B4-BE49-F238E27FC236}">
                          <a16:creationId xmlns:a16="http://schemas.microsoft.com/office/drawing/2014/main" id="{5CA08743-A5FA-4200-9C43-77653BF85345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398" y="2822382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1761" name="Gruppierung 2228">
                        <a:extLst>
                          <a:ext uri="{FF2B5EF4-FFF2-40B4-BE49-F238E27FC236}">
                            <a16:creationId xmlns:a16="http://schemas.microsoft.com/office/drawing/2014/main" id="{4D48E02E-B8F9-4238-AF34-67E34731400B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1770" name="Rectangle 1175">
                          <a:extLst>
                            <a:ext uri="{FF2B5EF4-FFF2-40B4-BE49-F238E27FC236}">
                              <a16:creationId xmlns:a16="http://schemas.microsoft.com/office/drawing/2014/main" id="{1AF312C8-A9A3-418C-946E-B489B349BF8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71" name="Rectangle 1166">
                          <a:extLst>
                            <a:ext uri="{FF2B5EF4-FFF2-40B4-BE49-F238E27FC236}">
                              <a16:creationId xmlns:a16="http://schemas.microsoft.com/office/drawing/2014/main" id="{62F1D578-D1B3-4319-BA09-BA1A8EB23CA5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72" name="Rectangle 599">
                          <a:extLst>
                            <a:ext uri="{FF2B5EF4-FFF2-40B4-BE49-F238E27FC236}">
                              <a16:creationId xmlns:a16="http://schemas.microsoft.com/office/drawing/2014/main" id="{BEF2B2CC-7B5C-4ECA-A19D-ACAB5F0BE3F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762" name="Gruppierung 2229">
                        <a:extLst>
                          <a:ext uri="{FF2B5EF4-FFF2-40B4-BE49-F238E27FC236}">
                            <a16:creationId xmlns:a16="http://schemas.microsoft.com/office/drawing/2014/main" id="{52F8B7E4-BCED-4CBB-B12C-02948273072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1763" name="Gruppierung 2230">
                          <a:extLst>
                            <a:ext uri="{FF2B5EF4-FFF2-40B4-BE49-F238E27FC236}">
                              <a16:creationId xmlns:a16="http://schemas.microsoft.com/office/drawing/2014/main" id="{7E85B077-19AD-4326-9F91-13E3BBE60F52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1767" name="Rectangle 1156">
                            <a:extLst>
                              <a:ext uri="{FF2B5EF4-FFF2-40B4-BE49-F238E27FC236}">
                                <a16:creationId xmlns:a16="http://schemas.microsoft.com/office/drawing/2014/main" id="{878FA03A-43F5-4C1C-97E8-FC82D81B1A92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768" name="Rectangle 1157">
                            <a:extLst>
                              <a:ext uri="{FF2B5EF4-FFF2-40B4-BE49-F238E27FC236}">
                                <a16:creationId xmlns:a16="http://schemas.microsoft.com/office/drawing/2014/main" id="{0BC27597-455F-43B4-8374-9C921FB429AA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769" name="Freeform 1158">
                            <a:extLst>
                              <a:ext uri="{FF2B5EF4-FFF2-40B4-BE49-F238E27FC236}">
                                <a16:creationId xmlns:a16="http://schemas.microsoft.com/office/drawing/2014/main" id="{D3D8BAEE-612B-4497-8B28-E9BC68379FA1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1764" name="Bild 2231">
                          <a:extLst>
                            <a:ext uri="{FF2B5EF4-FFF2-40B4-BE49-F238E27FC236}">
                              <a16:creationId xmlns:a16="http://schemas.microsoft.com/office/drawing/2014/main" id="{AE99BED0-0C6A-44BD-8CF7-945879B5822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765" name="Bild 2232">
                          <a:extLst>
                            <a:ext uri="{FF2B5EF4-FFF2-40B4-BE49-F238E27FC236}">
                              <a16:creationId xmlns:a16="http://schemas.microsoft.com/office/drawing/2014/main" id="{E2536342-3F24-40B0-9480-925E66A568B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766" name="Bild 2233">
                          <a:extLst>
                            <a:ext uri="{FF2B5EF4-FFF2-40B4-BE49-F238E27FC236}">
                              <a16:creationId xmlns:a16="http://schemas.microsoft.com/office/drawing/2014/main" id="{78CC43B6-9EC9-4EC8-B4DF-2BBF65B09BC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748" name="Gruppieren 1621">
                      <a:extLst>
                        <a:ext uri="{FF2B5EF4-FFF2-40B4-BE49-F238E27FC236}">
                          <a16:creationId xmlns:a16="http://schemas.microsoft.com/office/drawing/2014/main" id="{327EFC82-632D-4303-AB38-13119DEF161B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3091398" y="3455776"/>
                      <a:ext cx="1105200" cy="589178"/>
                      <a:chOff x="3086136" y="2254188"/>
                      <a:chExt cx="1105200" cy="589178"/>
                    </a:xfrm>
                  </p:grpSpPr>
                  <p:grpSp>
                    <p:nvGrpSpPr>
                      <p:cNvPr id="1749" name="Gruppierung 2228">
                        <a:extLst>
                          <a:ext uri="{FF2B5EF4-FFF2-40B4-BE49-F238E27FC236}">
                            <a16:creationId xmlns:a16="http://schemas.microsoft.com/office/drawing/2014/main" id="{9E3C26E8-D4C5-4737-B9E7-11C3F4AD5F4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086136" y="2254188"/>
                        <a:ext cx="1105200" cy="589178"/>
                        <a:chOff x="4097196" y="4460031"/>
                        <a:chExt cx="1464138" cy="781262"/>
                      </a:xfrm>
                    </p:grpSpPr>
                    <p:sp>
                      <p:nvSpPr>
                        <p:cNvPr id="1758" name="Rectangle 1175">
                          <a:extLst>
                            <a:ext uri="{FF2B5EF4-FFF2-40B4-BE49-F238E27FC236}">
                              <a16:creationId xmlns:a16="http://schemas.microsoft.com/office/drawing/2014/main" id="{BF10F85A-B0CB-459C-8700-BCF7EE1E97E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1062"/>
                          <a:ext cx="1464138" cy="780231"/>
                        </a:xfrm>
                        <a:prstGeom prst="rect">
                          <a:avLst/>
                        </a:prstGeom>
                        <a:solidFill>
                          <a:srgbClr val="53B4BA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59" name="Rectangle 1166">
                          <a:extLst>
                            <a:ext uri="{FF2B5EF4-FFF2-40B4-BE49-F238E27FC236}">
                              <a16:creationId xmlns:a16="http://schemas.microsoft.com/office/drawing/2014/main" id="{A353B0E5-70E6-484B-A532-BFB87E201B3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5204696"/>
                          <a:ext cx="1462833" cy="36265"/>
                        </a:xfrm>
                        <a:prstGeom prst="rect">
                          <a:avLst/>
                        </a:prstGeom>
                        <a:solidFill>
                          <a:srgbClr val="37536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60" name="Rectangle 599">
                          <a:extLst>
                            <a:ext uri="{FF2B5EF4-FFF2-40B4-BE49-F238E27FC236}">
                              <a16:creationId xmlns:a16="http://schemas.microsoft.com/office/drawing/2014/main" id="{DE7550B5-937D-427D-A242-A30E0E313213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4097196" y="4460031"/>
                          <a:ext cx="1464138" cy="61079"/>
                        </a:xfrm>
                        <a:prstGeom prst="rect">
                          <a:avLst/>
                        </a:prstGeom>
                        <a:solidFill>
                          <a:srgbClr val="B6CDD2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750" name="Gruppierung 2229">
                        <a:extLst>
                          <a:ext uri="{FF2B5EF4-FFF2-40B4-BE49-F238E27FC236}">
                            <a16:creationId xmlns:a16="http://schemas.microsoft.com/office/drawing/2014/main" id="{60EBB25F-1738-4FF7-9024-04824907DF48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156592" y="2404924"/>
                        <a:ext cx="961321" cy="412807"/>
                        <a:chOff x="4179306" y="4659911"/>
                        <a:chExt cx="1274738" cy="547390"/>
                      </a:xfrm>
                    </p:grpSpPr>
                    <p:grpSp>
                      <p:nvGrpSpPr>
                        <p:cNvPr id="1751" name="Gruppierung 2230">
                          <a:extLst>
                            <a:ext uri="{FF2B5EF4-FFF2-40B4-BE49-F238E27FC236}">
                              <a16:creationId xmlns:a16="http://schemas.microsoft.com/office/drawing/2014/main" id="{BE05493F-EC3A-4FB1-89B7-1CB86D4553A9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112631" y="4659911"/>
                          <a:ext cx="341413" cy="204909"/>
                          <a:chOff x="5066775" y="4887798"/>
                          <a:chExt cx="441309" cy="264864"/>
                        </a:xfrm>
                      </p:grpSpPr>
                      <p:sp>
                        <p:nvSpPr>
                          <p:cNvPr id="1755" name="Rectangle 1156">
                            <a:extLst>
                              <a:ext uri="{FF2B5EF4-FFF2-40B4-BE49-F238E27FC236}">
                                <a16:creationId xmlns:a16="http://schemas.microsoft.com/office/drawing/2014/main" id="{64B2D694-B2E7-4AD0-9BD8-4A21F88D8A7E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66775" y="4887798"/>
                            <a:ext cx="441309" cy="264864"/>
                          </a:xfrm>
                          <a:prstGeom prst="rect">
                            <a:avLst/>
                          </a:prstGeom>
                          <a:solidFill>
                            <a:srgbClr val="FDFCF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756" name="Rectangle 1157">
                            <a:extLst>
                              <a:ext uri="{FF2B5EF4-FFF2-40B4-BE49-F238E27FC236}">
                                <a16:creationId xmlns:a16="http://schemas.microsoft.com/office/drawing/2014/main" id="{FF80B988-C948-4766-989F-6EC0173B0983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092234" y="4913265"/>
                            <a:ext cx="393218" cy="213928"/>
                          </a:xfrm>
                          <a:prstGeom prst="rect">
                            <a:avLst/>
                          </a:prstGeom>
                          <a:solidFill>
                            <a:srgbClr val="C6E3ED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757" name="Freeform 1158">
                            <a:extLst>
                              <a:ext uri="{FF2B5EF4-FFF2-40B4-BE49-F238E27FC236}">
                                <a16:creationId xmlns:a16="http://schemas.microsoft.com/office/drawing/2014/main" id="{84FE8629-ECA0-42AA-9940-0D273F6FDA18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092236" y="4913265"/>
                            <a:ext cx="393218" cy="213928"/>
                          </a:xfrm>
                          <a:custGeom>
                            <a:avLst/>
                            <a:gdLst>
                              <a:gd name="T0" fmla="*/ 0 w 139"/>
                              <a:gd name="T1" fmla="*/ 84 h 84"/>
                              <a:gd name="T2" fmla="*/ 139 w 139"/>
                              <a:gd name="T3" fmla="*/ 0 h 84"/>
                              <a:gd name="T4" fmla="*/ 0 w 139"/>
                              <a:gd name="T5" fmla="*/ 0 h 84"/>
                              <a:gd name="T6" fmla="*/ 0 w 139"/>
                              <a:gd name="T7" fmla="*/ 84 h 8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139" h="84">
                                <a:moveTo>
                                  <a:pt x="0" y="84"/>
                                </a:moveTo>
                                <a:lnTo>
                                  <a:pt x="139" y="0"/>
                                </a:lnTo>
                                <a:lnTo>
                                  <a:pt x="0" y="0"/>
                                </a:lnTo>
                                <a:lnTo>
                                  <a:pt x="0" y="84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DCEEF4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pic>
                      <p:nvPicPr>
                        <p:cNvPr id="1752" name="Bild 2231">
                          <a:extLst>
                            <a:ext uri="{FF2B5EF4-FFF2-40B4-BE49-F238E27FC236}">
                              <a16:creationId xmlns:a16="http://schemas.microsoft.com/office/drawing/2014/main" id="{0C66C927-D5A8-424D-84B4-A037C0A662EE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8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397176" y="4913501"/>
                          <a:ext cx="618854" cy="293800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753" name="Bild 2232">
                          <a:extLst>
                            <a:ext uri="{FF2B5EF4-FFF2-40B4-BE49-F238E27FC236}">
                              <a16:creationId xmlns:a16="http://schemas.microsoft.com/office/drawing/2014/main" id="{100CC3D5-617B-402B-8512-7148DA720B9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89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4179306" y="4742350"/>
                          <a:ext cx="133735" cy="458322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754" name="Bild 2233">
                          <a:extLst>
                            <a:ext uri="{FF2B5EF4-FFF2-40B4-BE49-F238E27FC236}">
                              <a16:creationId xmlns:a16="http://schemas.microsoft.com/office/drawing/2014/main" id="{33016D6E-978F-4F69-BCBA-3AE0DF82893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5148352" y="4917883"/>
                          <a:ext cx="277699" cy="286487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907" name="Gruppieren 1381">
                    <a:extLst>
                      <a:ext uri="{FF2B5EF4-FFF2-40B4-BE49-F238E27FC236}">
                        <a16:creationId xmlns:a16="http://schemas.microsoft.com/office/drawing/2014/main" id="{9ABDA665-8695-4402-9AB5-8ADC2B3AD616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327803" y="2180446"/>
                    <a:ext cx="598410" cy="1867764"/>
                    <a:chOff x="5102309" y="2180446"/>
                    <a:chExt cx="598410" cy="1867764"/>
                  </a:xfrm>
                </p:grpSpPr>
                <p:grpSp>
                  <p:nvGrpSpPr>
                    <p:cNvPr id="1343" name="Gruppieren 1538">
                      <a:extLst>
                        <a:ext uri="{FF2B5EF4-FFF2-40B4-BE49-F238E27FC236}">
                          <a16:creationId xmlns:a16="http://schemas.microsoft.com/office/drawing/2014/main" id="{8E1B9847-DABB-4734-AEE4-900EE4034308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428" y="2822990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1720" name="Gruppieren 1593">
                        <a:extLst>
                          <a:ext uri="{FF2B5EF4-FFF2-40B4-BE49-F238E27FC236}">
                            <a16:creationId xmlns:a16="http://schemas.microsoft.com/office/drawing/2014/main" id="{90A23E33-6721-42E9-97C7-019981E7E32F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1743" name="Rectangle 998">
                          <a:extLst>
                            <a:ext uri="{FF2B5EF4-FFF2-40B4-BE49-F238E27FC236}">
                              <a16:creationId xmlns:a16="http://schemas.microsoft.com/office/drawing/2014/main" id="{48FCE7AA-EC03-47A7-B3C7-25044CEC2EF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44" name="Rectangle 965">
                          <a:extLst>
                            <a:ext uri="{FF2B5EF4-FFF2-40B4-BE49-F238E27FC236}">
                              <a16:creationId xmlns:a16="http://schemas.microsoft.com/office/drawing/2014/main" id="{31FBEC92-9EFF-4672-BB71-0336D7A36D67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45" name="Rectangle 1166">
                          <a:extLst>
                            <a:ext uri="{FF2B5EF4-FFF2-40B4-BE49-F238E27FC236}">
                              <a16:creationId xmlns:a16="http://schemas.microsoft.com/office/drawing/2014/main" id="{F2705FEB-EA46-4217-96B3-E4CF2B55DEEC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721" name="Gruppieren 1594">
                        <a:extLst>
                          <a:ext uri="{FF2B5EF4-FFF2-40B4-BE49-F238E27FC236}">
                            <a16:creationId xmlns:a16="http://schemas.microsoft.com/office/drawing/2014/main" id="{093DD10C-C35D-4C4F-9E00-8DDD7F0DB5FF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1722" name="Gruppieren 1595">
                          <a:extLst>
                            <a:ext uri="{FF2B5EF4-FFF2-40B4-BE49-F238E27FC236}">
                              <a16:creationId xmlns:a16="http://schemas.microsoft.com/office/drawing/2014/main" id="{5928F074-4B4A-498C-A7CC-9826F2778CFC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1734" name="Gruppieren 1607">
                            <a:extLst>
                              <a:ext uri="{FF2B5EF4-FFF2-40B4-BE49-F238E27FC236}">
                                <a16:creationId xmlns:a16="http://schemas.microsoft.com/office/drawing/2014/main" id="{AD0CFFFD-F8B4-4151-996F-A1AF2CB9AD95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1740" name="Rectangle 1156">
                              <a:extLst>
                                <a:ext uri="{FF2B5EF4-FFF2-40B4-BE49-F238E27FC236}">
                                  <a16:creationId xmlns:a16="http://schemas.microsoft.com/office/drawing/2014/main" id="{29291F90-AE13-402B-943D-B77152C9958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741" name="Rectangle 1157">
                              <a:extLst>
                                <a:ext uri="{FF2B5EF4-FFF2-40B4-BE49-F238E27FC236}">
                                  <a16:creationId xmlns:a16="http://schemas.microsoft.com/office/drawing/2014/main" id="{50D63590-9ACF-4F6F-8544-F874082BDF5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5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742" name="Freeform 1158">
                              <a:extLst>
                                <a:ext uri="{FF2B5EF4-FFF2-40B4-BE49-F238E27FC236}">
                                  <a16:creationId xmlns:a16="http://schemas.microsoft.com/office/drawing/2014/main" id="{F7613CC9-D8A7-4BAF-9E1E-0E5B4FEC9BAB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735" name="Gruppieren 1608">
                            <a:extLst>
                              <a:ext uri="{FF2B5EF4-FFF2-40B4-BE49-F238E27FC236}">
                                <a16:creationId xmlns:a16="http://schemas.microsoft.com/office/drawing/2014/main" id="{BE322BE9-88FC-430B-8644-09BE5666FB38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1736" name="Gruppieren 1609">
                              <a:extLst>
                                <a:ext uri="{FF2B5EF4-FFF2-40B4-BE49-F238E27FC236}">
                                  <a16:creationId xmlns:a16="http://schemas.microsoft.com/office/drawing/2014/main" id="{08A2D8A0-BA1B-4701-A6D8-E2A02C7BFD98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1738" name="Grafik 1611" descr="Waschbecken">
                                <a:extLst>
                                  <a:ext uri="{FF2B5EF4-FFF2-40B4-BE49-F238E27FC236}">
                                    <a16:creationId xmlns:a16="http://schemas.microsoft.com/office/drawing/2014/main" id="{47774736-CFE2-4474-95B6-B48B7C46A552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91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92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1739" name="Rechteck 1612">
                                <a:extLst>
                                  <a:ext uri="{FF2B5EF4-FFF2-40B4-BE49-F238E27FC236}">
                                    <a16:creationId xmlns:a16="http://schemas.microsoft.com/office/drawing/2014/main" id="{12270526-55FC-4B83-AB9A-1C05F569196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737" name="Rechteck 1610">
                              <a:extLst>
                                <a:ext uri="{FF2B5EF4-FFF2-40B4-BE49-F238E27FC236}">
                                  <a16:creationId xmlns:a16="http://schemas.microsoft.com/office/drawing/2014/main" id="{9C4E33F0-8262-4DB2-A01A-AC490262CEDC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723" name="Gruppieren 1596">
                          <a:extLst>
                            <a:ext uri="{FF2B5EF4-FFF2-40B4-BE49-F238E27FC236}">
                              <a16:creationId xmlns:a16="http://schemas.microsoft.com/office/drawing/2014/main" id="{D8412435-D2F0-43CD-A585-65FD8314130E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1724" name="Gruppieren 1597">
                            <a:extLst>
                              <a:ext uri="{FF2B5EF4-FFF2-40B4-BE49-F238E27FC236}">
                                <a16:creationId xmlns:a16="http://schemas.microsoft.com/office/drawing/2014/main" id="{86A1803D-CEF7-422E-B67E-4046E4ABBB71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1732" name="Grafik 1605" descr="Handtuch">
                              <a:extLst>
                                <a:ext uri="{FF2B5EF4-FFF2-40B4-BE49-F238E27FC236}">
                                  <a16:creationId xmlns:a16="http://schemas.microsoft.com/office/drawing/2014/main" id="{7C94286B-E076-4D98-818F-A4ECE0E03C03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4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1733" name="Grafik 1606" descr="Handtuch">
                              <a:extLst>
                                <a:ext uri="{FF2B5EF4-FFF2-40B4-BE49-F238E27FC236}">
                                  <a16:creationId xmlns:a16="http://schemas.microsoft.com/office/drawing/2014/main" id="{C8EFF55A-476B-4B75-A51A-5A7115E0FF49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5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6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1725" name="Gruppieren 1598">
                            <a:extLst>
                              <a:ext uri="{FF2B5EF4-FFF2-40B4-BE49-F238E27FC236}">
                                <a16:creationId xmlns:a16="http://schemas.microsoft.com/office/drawing/2014/main" id="{5E7579F8-4823-4CA0-8F3F-AC1871918719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1730" name="Grafik 1603" descr="Dusche">
                              <a:extLst>
                                <a:ext uri="{FF2B5EF4-FFF2-40B4-BE49-F238E27FC236}">
                                  <a16:creationId xmlns:a16="http://schemas.microsoft.com/office/drawing/2014/main" id="{BDDE85C5-5FA3-4F22-8FAF-5149A61E0292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7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8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731" name="Rechteck 1604">
                              <a:extLst>
                                <a:ext uri="{FF2B5EF4-FFF2-40B4-BE49-F238E27FC236}">
                                  <a16:creationId xmlns:a16="http://schemas.microsoft.com/office/drawing/2014/main" id="{66EADCB4-A25B-4CCE-8C88-A384CEB5E0C5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1726" name="Rechteck 1599">
                            <a:extLst>
                              <a:ext uri="{FF2B5EF4-FFF2-40B4-BE49-F238E27FC236}">
                                <a16:creationId xmlns:a16="http://schemas.microsoft.com/office/drawing/2014/main" id="{652AF98B-7A40-4F38-9CA0-2CF4FFF4D11B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727" name="Gruppieren 1600">
                            <a:extLst>
                              <a:ext uri="{FF2B5EF4-FFF2-40B4-BE49-F238E27FC236}">
                                <a16:creationId xmlns:a16="http://schemas.microsoft.com/office/drawing/2014/main" id="{A88E761B-62DF-4EE2-82C3-2C6A72B6E427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1728" name="Grafik 1601" descr="Gummiente">
                              <a:extLst>
                                <a:ext uri="{FF2B5EF4-FFF2-40B4-BE49-F238E27FC236}">
                                  <a16:creationId xmlns:a16="http://schemas.microsoft.com/office/drawing/2014/main" id="{734AF705-D1D7-4F9D-93C6-96CABC363F9D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9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100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729" name="Ellipse 1602">
                              <a:extLst>
                                <a:ext uri="{FF2B5EF4-FFF2-40B4-BE49-F238E27FC236}">
                                  <a16:creationId xmlns:a16="http://schemas.microsoft.com/office/drawing/2014/main" id="{3F949155-C5C4-4DD3-90FD-7C661962E303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grpSp>
                  <p:nvGrpSpPr>
                    <p:cNvPr id="1344" name="Gruppieren 1539">
                      <a:extLst>
                        <a:ext uri="{FF2B5EF4-FFF2-40B4-BE49-F238E27FC236}">
                          <a16:creationId xmlns:a16="http://schemas.microsoft.com/office/drawing/2014/main" id="{90A0AC8D-1BC8-494D-BBB2-0F5E4930BA9A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428" y="2180446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1372" name="Gruppieren 1567">
                        <a:extLst>
                          <a:ext uri="{FF2B5EF4-FFF2-40B4-BE49-F238E27FC236}">
                            <a16:creationId xmlns:a16="http://schemas.microsoft.com/office/drawing/2014/main" id="{F09B645C-6308-4B88-988A-124736DE8B1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1717" name="Rectangle 998">
                          <a:extLst>
                            <a:ext uri="{FF2B5EF4-FFF2-40B4-BE49-F238E27FC236}">
                              <a16:creationId xmlns:a16="http://schemas.microsoft.com/office/drawing/2014/main" id="{230CB4DD-2B24-4088-8A85-2C2E1359661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18" name="Rectangle 965">
                          <a:extLst>
                            <a:ext uri="{FF2B5EF4-FFF2-40B4-BE49-F238E27FC236}">
                              <a16:creationId xmlns:a16="http://schemas.microsoft.com/office/drawing/2014/main" id="{54006E5B-96CB-4831-924C-6776914CC8E8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719" name="Rectangle 1166">
                          <a:extLst>
                            <a:ext uri="{FF2B5EF4-FFF2-40B4-BE49-F238E27FC236}">
                              <a16:creationId xmlns:a16="http://schemas.microsoft.com/office/drawing/2014/main" id="{A2FDF7F9-70F3-48FA-A478-B779989FDEE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373" name="Gruppieren 1568">
                        <a:extLst>
                          <a:ext uri="{FF2B5EF4-FFF2-40B4-BE49-F238E27FC236}">
                            <a16:creationId xmlns:a16="http://schemas.microsoft.com/office/drawing/2014/main" id="{B4C001C5-8D01-430B-A994-422BDEF50833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1374" name="Gruppieren 1569">
                          <a:extLst>
                            <a:ext uri="{FF2B5EF4-FFF2-40B4-BE49-F238E27FC236}">
                              <a16:creationId xmlns:a16="http://schemas.microsoft.com/office/drawing/2014/main" id="{4B310ECF-63D6-4942-9AE9-8D89612C84AC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1708" name="Gruppieren 1581">
                            <a:extLst>
                              <a:ext uri="{FF2B5EF4-FFF2-40B4-BE49-F238E27FC236}">
                                <a16:creationId xmlns:a16="http://schemas.microsoft.com/office/drawing/2014/main" id="{58DDBBCC-2173-488C-A1FE-C24F463AF005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1714" name="Rectangle 1156">
                              <a:extLst>
                                <a:ext uri="{FF2B5EF4-FFF2-40B4-BE49-F238E27FC236}">
                                  <a16:creationId xmlns:a16="http://schemas.microsoft.com/office/drawing/2014/main" id="{B51C76A9-3CC2-46D2-8938-936F0B8DA37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715" name="Rectangle 1157">
                              <a:extLst>
                                <a:ext uri="{FF2B5EF4-FFF2-40B4-BE49-F238E27FC236}">
                                  <a16:creationId xmlns:a16="http://schemas.microsoft.com/office/drawing/2014/main" id="{1056F095-6208-47A5-8191-3DFD30D3F75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2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716" name="Freeform 1158">
                              <a:extLst>
                                <a:ext uri="{FF2B5EF4-FFF2-40B4-BE49-F238E27FC236}">
                                  <a16:creationId xmlns:a16="http://schemas.microsoft.com/office/drawing/2014/main" id="{43339CDF-C048-4E1F-A2A3-8294624E9A2A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709" name="Gruppieren 1582">
                            <a:extLst>
                              <a:ext uri="{FF2B5EF4-FFF2-40B4-BE49-F238E27FC236}">
                                <a16:creationId xmlns:a16="http://schemas.microsoft.com/office/drawing/2014/main" id="{4531B7AA-FCF9-427F-BE32-31C4178EEC61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1710" name="Gruppieren 1583">
                              <a:extLst>
                                <a:ext uri="{FF2B5EF4-FFF2-40B4-BE49-F238E27FC236}">
                                  <a16:creationId xmlns:a16="http://schemas.microsoft.com/office/drawing/2014/main" id="{7B140CD4-1F27-4BD1-B491-B2C039E2145D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1712" name="Grafik 1585" descr="Waschbecken">
                                <a:extLst>
                                  <a:ext uri="{FF2B5EF4-FFF2-40B4-BE49-F238E27FC236}">
                                    <a16:creationId xmlns:a16="http://schemas.microsoft.com/office/drawing/2014/main" id="{C41652E6-C08A-448E-B97A-750CE5A4046B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91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92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1713" name="Rechteck 1586">
                                <a:extLst>
                                  <a:ext uri="{FF2B5EF4-FFF2-40B4-BE49-F238E27FC236}">
                                    <a16:creationId xmlns:a16="http://schemas.microsoft.com/office/drawing/2014/main" id="{1A338DBF-7919-4861-9BDE-79E4FD4326F9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711" name="Rechteck 1584">
                              <a:extLst>
                                <a:ext uri="{FF2B5EF4-FFF2-40B4-BE49-F238E27FC236}">
                                  <a16:creationId xmlns:a16="http://schemas.microsoft.com/office/drawing/2014/main" id="{FA52A2ED-98D6-4C98-8174-0E90BED8AC74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375" name="Gruppieren 1570">
                          <a:extLst>
                            <a:ext uri="{FF2B5EF4-FFF2-40B4-BE49-F238E27FC236}">
                              <a16:creationId xmlns:a16="http://schemas.microsoft.com/office/drawing/2014/main" id="{80481638-E0A2-4F90-9EC7-EF63B11C8EF6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1376" name="Gruppieren 1571">
                            <a:extLst>
                              <a:ext uri="{FF2B5EF4-FFF2-40B4-BE49-F238E27FC236}">
                                <a16:creationId xmlns:a16="http://schemas.microsoft.com/office/drawing/2014/main" id="{6AC8FFE8-9363-4241-9BE9-B183043F5BA0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1706" name="Grafik 1579" descr="Handtuch">
                              <a:extLst>
                                <a:ext uri="{FF2B5EF4-FFF2-40B4-BE49-F238E27FC236}">
                                  <a16:creationId xmlns:a16="http://schemas.microsoft.com/office/drawing/2014/main" id="{04044FF4-FBE5-42EE-8343-742B57827F39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4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1707" name="Grafik 1580" descr="Handtuch">
                              <a:extLst>
                                <a:ext uri="{FF2B5EF4-FFF2-40B4-BE49-F238E27FC236}">
                                  <a16:creationId xmlns:a16="http://schemas.microsoft.com/office/drawing/2014/main" id="{7D69F082-3999-4890-874D-F5F60BA90681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5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6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1377" name="Gruppieren 1572">
                            <a:extLst>
                              <a:ext uri="{FF2B5EF4-FFF2-40B4-BE49-F238E27FC236}">
                                <a16:creationId xmlns:a16="http://schemas.microsoft.com/office/drawing/2014/main" id="{D87EDEBF-AA56-4ED9-B5F2-BBCDF3227D71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1704" name="Grafik 1577" descr="Dusche">
                              <a:extLst>
                                <a:ext uri="{FF2B5EF4-FFF2-40B4-BE49-F238E27FC236}">
                                  <a16:creationId xmlns:a16="http://schemas.microsoft.com/office/drawing/2014/main" id="{E9BBE6A6-D143-4318-B36C-5A8F01754EC4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7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8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705" name="Rechteck 1578">
                              <a:extLst>
                                <a:ext uri="{FF2B5EF4-FFF2-40B4-BE49-F238E27FC236}">
                                  <a16:creationId xmlns:a16="http://schemas.microsoft.com/office/drawing/2014/main" id="{9F885C32-6ED6-48BF-BC58-93E8EE30DE73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1378" name="Rechteck 1573">
                            <a:extLst>
                              <a:ext uri="{FF2B5EF4-FFF2-40B4-BE49-F238E27FC236}">
                                <a16:creationId xmlns:a16="http://schemas.microsoft.com/office/drawing/2014/main" id="{0D962D28-CC6B-4810-ADF1-3CCFFA2623E9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384" name="Gruppieren 1574">
                            <a:extLst>
                              <a:ext uri="{FF2B5EF4-FFF2-40B4-BE49-F238E27FC236}">
                                <a16:creationId xmlns:a16="http://schemas.microsoft.com/office/drawing/2014/main" id="{9853AAF3-CAF2-4EE6-AF0A-C30DFCE10828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1436" name="Grafik 1575" descr="Gummiente">
                              <a:extLst>
                                <a:ext uri="{FF2B5EF4-FFF2-40B4-BE49-F238E27FC236}">
                                  <a16:creationId xmlns:a16="http://schemas.microsoft.com/office/drawing/2014/main" id="{F182FC5B-D184-4406-A285-3B9F29A9E618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9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100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489" name="Ellipse 1576">
                              <a:extLst>
                                <a:ext uri="{FF2B5EF4-FFF2-40B4-BE49-F238E27FC236}">
                                  <a16:creationId xmlns:a16="http://schemas.microsoft.com/office/drawing/2014/main" id="{A0FBC290-2F70-419C-999F-D992F04B019A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grpSp>
                  <p:nvGrpSpPr>
                    <p:cNvPr id="1345" name="Gruppieren 1540">
                      <a:extLst>
                        <a:ext uri="{FF2B5EF4-FFF2-40B4-BE49-F238E27FC236}">
                          <a16:creationId xmlns:a16="http://schemas.microsoft.com/office/drawing/2014/main" id="{1740C2BA-16C4-4112-9E35-AF0F95EE0AF2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102309" y="3456345"/>
                      <a:ext cx="598291" cy="591865"/>
                      <a:chOff x="5097112" y="2900135"/>
                      <a:chExt cx="598291" cy="591865"/>
                    </a:xfrm>
                  </p:grpSpPr>
                  <p:grpSp>
                    <p:nvGrpSpPr>
                      <p:cNvPr id="1346" name="Gruppieren 1541">
                        <a:extLst>
                          <a:ext uri="{FF2B5EF4-FFF2-40B4-BE49-F238E27FC236}">
                            <a16:creationId xmlns:a16="http://schemas.microsoft.com/office/drawing/2014/main" id="{82E50B83-3966-420D-B6AE-8634E0A600CA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33" y="2900135"/>
                        <a:ext cx="598270" cy="591865"/>
                        <a:chOff x="5097133" y="2255980"/>
                        <a:chExt cx="598270" cy="591865"/>
                      </a:xfrm>
                    </p:grpSpPr>
                    <p:sp>
                      <p:nvSpPr>
                        <p:cNvPr id="1369" name="Rectangle 998">
                          <a:extLst>
                            <a:ext uri="{FF2B5EF4-FFF2-40B4-BE49-F238E27FC236}">
                              <a16:creationId xmlns:a16="http://schemas.microsoft.com/office/drawing/2014/main" id="{31E59EDE-81C4-4533-825C-85D687949C3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133" y="2255980"/>
                          <a:ext cx="598270" cy="75373"/>
                        </a:xfrm>
                        <a:prstGeom prst="rect">
                          <a:avLst/>
                        </a:prstGeom>
                        <a:solidFill>
                          <a:schemeClr val="accent5"/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70" name="Rectangle 965">
                          <a:extLst>
                            <a:ext uri="{FF2B5EF4-FFF2-40B4-BE49-F238E27FC236}">
                              <a16:creationId xmlns:a16="http://schemas.microsoft.com/office/drawing/2014/main" id="{498AFE00-C754-46EF-855B-A5A1D628A6CF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299460"/>
                          <a:ext cx="597803" cy="524572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71" name="Rectangle 1166">
                          <a:extLst>
                            <a:ext uri="{FF2B5EF4-FFF2-40B4-BE49-F238E27FC236}">
                              <a16:creationId xmlns:a16="http://schemas.microsoft.com/office/drawing/2014/main" id="{3D4145C6-0F1D-49AB-B726-4C0374E0382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5097600" y="2822645"/>
                          <a:ext cx="597600" cy="25200"/>
                        </a:xfrm>
                        <a:prstGeom prst="rect">
                          <a:avLst/>
                        </a:prstGeom>
                        <a:solidFill>
                          <a:schemeClr val="accent5">
                            <a:lumMod val="50000"/>
                          </a:schemeClr>
                        </a:solidFill>
                        <a:ln>
                          <a:noFill/>
                        </a:ln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347" name="Gruppieren 1542">
                        <a:extLst>
                          <a:ext uri="{FF2B5EF4-FFF2-40B4-BE49-F238E27FC236}">
                            <a16:creationId xmlns:a16="http://schemas.microsoft.com/office/drawing/2014/main" id="{CD20BD3D-F88D-40F1-AF95-44F1296D5099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097112" y="2999343"/>
                        <a:ext cx="583662" cy="478800"/>
                        <a:chOff x="5097112" y="2350427"/>
                        <a:chExt cx="583662" cy="474649"/>
                      </a:xfrm>
                    </p:grpSpPr>
                    <p:grpSp>
                      <p:nvGrpSpPr>
                        <p:cNvPr id="1348" name="Gruppieren 1543">
                          <a:extLst>
                            <a:ext uri="{FF2B5EF4-FFF2-40B4-BE49-F238E27FC236}">
                              <a16:creationId xmlns:a16="http://schemas.microsoft.com/office/drawing/2014/main" id="{67B26322-FE27-425D-87AF-4AE7CF0F85E8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472859" y="2385949"/>
                          <a:ext cx="207915" cy="430535"/>
                          <a:chOff x="5472859" y="2385949"/>
                          <a:chExt cx="207915" cy="430535"/>
                        </a:xfrm>
                      </p:grpSpPr>
                      <p:grpSp>
                        <p:nvGrpSpPr>
                          <p:cNvPr id="1360" name="Gruppieren 1555">
                            <a:extLst>
                              <a:ext uri="{FF2B5EF4-FFF2-40B4-BE49-F238E27FC236}">
                                <a16:creationId xmlns:a16="http://schemas.microsoft.com/office/drawing/2014/main" id="{3DC702EF-5DA3-4305-ABDE-8087D7D5F24F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90961" y="2385949"/>
                            <a:ext cx="169841" cy="199632"/>
                            <a:chOff x="3607142" y="4213233"/>
                            <a:chExt cx="162596" cy="192971"/>
                          </a:xfrm>
                        </p:grpSpPr>
                        <p:sp>
                          <p:nvSpPr>
                            <p:cNvPr id="1366" name="Rectangle 1156">
                              <a:extLst>
                                <a:ext uri="{FF2B5EF4-FFF2-40B4-BE49-F238E27FC236}">
                                  <a16:creationId xmlns:a16="http://schemas.microsoft.com/office/drawing/2014/main" id="{DD5EAC99-5885-459F-88D6-BBE000E26A83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07142" y="4213233"/>
                              <a:ext cx="162596" cy="192971"/>
                            </a:xfrm>
                            <a:prstGeom prst="rect">
                              <a:avLst/>
                            </a:prstGeom>
                            <a:solidFill>
                              <a:srgbClr val="FDFCFB"/>
                            </a:solidFill>
                            <a:ln>
                              <a:noFill/>
                            </a:ln>
                            <a:effectLst>
                              <a:outerShdw blurRad="12700" dist="12700" dir="2700000" algn="tl" rotWithShape="0">
                                <a:prstClr val="black">
                                  <a:alpha val="30000"/>
                                </a:prstClr>
                              </a:outerShdw>
                            </a:effec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367" name="Rectangle 1157">
                              <a:extLst>
                                <a:ext uri="{FF2B5EF4-FFF2-40B4-BE49-F238E27FC236}">
                                  <a16:creationId xmlns:a16="http://schemas.microsoft.com/office/drawing/2014/main" id="{75D4B613-928F-4340-B860-3C4DB5DB479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622905" y="4226992"/>
                              <a:ext cx="132443" cy="164395"/>
                            </a:xfrm>
                            <a:prstGeom prst="rect">
                              <a:avLst/>
                            </a:prstGeom>
                            <a:solidFill>
                              <a:srgbClr val="F8B328">
                                <a:alpha val="50000"/>
                              </a:srgbClr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368" name="Freeform 1158">
                              <a:extLst>
                                <a:ext uri="{FF2B5EF4-FFF2-40B4-BE49-F238E27FC236}">
                                  <a16:creationId xmlns:a16="http://schemas.microsoft.com/office/drawing/2014/main" id="{79E83979-5748-47C1-AE40-C516D75DD858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3621418" y="4226803"/>
                              <a:ext cx="132443" cy="164395"/>
                            </a:xfrm>
                            <a:custGeom>
                              <a:avLst/>
                              <a:gdLst>
                                <a:gd name="T0" fmla="*/ 0 w 139"/>
                                <a:gd name="T1" fmla="*/ 84 h 84"/>
                                <a:gd name="T2" fmla="*/ 139 w 139"/>
                                <a:gd name="T3" fmla="*/ 0 h 84"/>
                                <a:gd name="T4" fmla="*/ 0 w 139"/>
                                <a:gd name="T5" fmla="*/ 0 h 84"/>
                                <a:gd name="T6" fmla="*/ 0 w 139"/>
                                <a:gd name="T7" fmla="*/ 84 h 8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</a:cxnLst>
                              <a:rect l="0" t="0" r="r" b="b"/>
                              <a:pathLst>
                                <a:path w="139" h="84">
                                  <a:moveTo>
                                    <a:pt x="0" y="84"/>
                                  </a:moveTo>
                                  <a:lnTo>
                                    <a:pt x="139" y="0"/>
                                  </a:lnTo>
                                  <a:lnTo>
                                    <a:pt x="0" y="0"/>
                                  </a:lnTo>
                                  <a:lnTo>
                                    <a:pt x="0" y="84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EF8DE">
                                <a:alpha val="58824"/>
                              </a:srgb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361" name="Gruppieren 1556">
                            <a:extLst>
                              <a:ext uri="{FF2B5EF4-FFF2-40B4-BE49-F238E27FC236}">
                                <a16:creationId xmlns:a16="http://schemas.microsoft.com/office/drawing/2014/main" id="{A89E7695-F539-498A-8494-E3F63A72559A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472859" y="2533250"/>
                            <a:ext cx="207915" cy="283234"/>
                            <a:chOff x="5472859" y="2540393"/>
                            <a:chExt cx="207915" cy="283234"/>
                          </a:xfrm>
                        </p:grpSpPr>
                        <p:grpSp>
                          <p:nvGrpSpPr>
                            <p:cNvPr id="1362" name="Gruppieren 1557">
                              <a:extLst>
                                <a:ext uri="{FF2B5EF4-FFF2-40B4-BE49-F238E27FC236}">
                                  <a16:creationId xmlns:a16="http://schemas.microsoft.com/office/drawing/2014/main" id="{E610B393-7A40-45ED-81AB-82EFA5F43D98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5472859" y="2540393"/>
                              <a:ext cx="207915" cy="283234"/>
                              <a:chOff x="5465239" y="2540393"/>
                              <a:chExt cx="207915" cy="283234"/>
                            </a:xfrm>
                          </p:grpSpPr>
                          <p:pic>
                            <p:nvPicPr>
                              <p:cNvPr id="1364" name="Grafik 1559" descr="Waschbecken">
                                <a:extLst>
                                  <a:ext uri="{FF2B5EF4-FFF2-40B4-BE49-F238E27FC236}">
                                    <a16:creationId xmlns:a16="http://schemas.microsoft.com/office/drawing/2014/main" id="{BD404F78-A93D-4B2B-B226-1FCE97155BA9}"/>
                                  </a:ext>
                                </a:extLst>
                              </p:cNvPr>
                              <p:cNvPicPr>
                                <a:picLocks noChangeAspect="1"/>
                              </p:cNvPicPr>
                              <p:nvPr/>
                            </p:nvPicPr>
                            <p:blipFill>
                              <a:blip r:embed="rId91" cstate="print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  <a:ext uri="{96DAC541-7B7A-43D3-8B79-37D633B846F1}">
                                    <asvg:svgBlip xmlns:asvg="http://schemas.microsoft.com/office/drawing/2016/SVG/main" r:embed="rId92"/>
                                  </a:ext>
                                </a:extLst>
                              </a:blip>
                              <a:stretch>
                                <a:fillRect/>
                              </a:stretch>
                            </p:blipFill>
                            <p:spPr bwMode="gray">
                              <a:xfrm>
                                <a:off x="5465239" y="2540393"/>
                                <a:ext cx="207915" cy="177985"/>
                              </a:xfrm>
                              <a:prstGeom prst="rect">
                                <a:avLst/>
                              </a:prstGeom>
                            </p:spPr>
                          </p:pic>
                          <p:sp>
                            <p:nvSpPr>
                              <p:cNvPr id="1365" name="Rechteck 1560">
                                <a:extLst>
                                  <a:ext uri="{FF2B5EF4-FFF2-40B4-BE49-F238E27FC236}">
                                    <a16:creationId xmlns:a16="http://schemas.microsoft.com/office/drawing/2014/main" id="{0EF5B44A-E0DA-47BE-8A76-D410BE60930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5551904" y="2683463"/>
                                <a:ext cx="36000" cy="140164"/>
                              </a:xfrm>
                              <a:prstGeom prst="rect">
                                <a:avLst/>
                              </a:prstGeom>
                              <a:solidFill>
                                <a:schemeClr val="accent5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363" name="Rechteck 1558">
                              <a:extLst>
                                <a:ext uri="{FF2B5EF4-FFF2-40B4-BE49-F238E27FC236}">
                                  <a16:creationId xmlns:a16="http://schemas.microsoft.com/office/drawing/2014/main" id="{0DD33855-FE1E-4F34-95A9-C2DCD1A173D4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565856" y="2695647"/>
                              <a:ext cx="10800" cy="126000"/>
                            </a:xfrm>
                            <a:prstGeom prst="rect">
                              <a:avLst/>
                            </a:prstGeom>
                            <a:solidFill>
                              <a:schemeClr val="accent5">
                                <a:lumMod val="20000"/>
                                <a:lumOff val="80000"/>
                                <a:alpha val="7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349" name="Gruppieren 1544">
                          <a:extLst>
                            <a:ext uri="{FF2B5EF4-FFF2-40B4-BE49-F238E27FC236}">
                              <a16:creationId xmlns:a16="http://schemas.microsoft.com/office/drawing/2014/main" id="{D78EBE45-4381-412D-8720-D46042F7F027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097112" y="2350427"/>
                          <a:ext cx="314672" cy="474649"/>
                          <a:chOff x="5097112" y="2355189"/>
                          <a:chExt cx="314672" cy="474649"/>
                        </a:xfrm>
                      </p:grpSpPr>
                      <p:grpSp>
                        <p:nvGrpSpPr>
                          <p:cNvPr id="1350" name="Gruppieren 1545">
                            <a:extLst>
                              <a:ext uri="{FF2B5EF4-FFF2-40B4-BE49-F238E27FC236}">
                                <a16:creationId xmlns:a16="http://schemas.microsoft.com/office/drawing/2014/main" id="{B97B8371-3693-479D-8E73-D8464389F797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219747" y="2518236"/>
                            <a:ext cx="192037" cy="203142"/>
                            <a:chOff x="5219747" y="2522998"/>
                            <a:chExt cx="192037" cy="203142"/>
                          </a:xfrm>
                        </p:grpSpPr>
                        <p:pic>
                          <p:nvPicPr>
                            <p:cNvPr id="1358" name="Grafik 1553" descr="Handtuch">
                              <a:extLst>
                                <a:ext uri="{FF2B5EF4-FFF2-40B4-BE49-F238E27FC236}">
                                  <a16:creationId xmlns:a16="http://schemas.microsoft.com/office/drawing/2014/main" id="{CABB6F4B-4ED5-4320-B08D-8384BA88A2FC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4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19747" y="252299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1359" name="Grafik 1554" descr="Handtuch">
                              <a:extLst>
                                <a:ext uri="{FF2B5EF4-FFF2-40B4-BE49-F238E27FC236}">
                                  <a16:creationId xmlns:a16="http://schemas.microsoft.com/office/drawing/2014/main" id="{0AC8831B-4F62-4B28-AA21-371D2AE839FF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5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6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225616" y="2531608"/>
                              <a:ext cx="186168" cy="194532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grpSp>
                        <p:nvGrpSpPr>
                          <p:cNvPr id="1351" name="Gruppieren 1546">
                            <a:extLst>
                              <a:ext uri="{FF2B5EF4-FFF2-40B4-BE49-F238E27FC236}">
                                <a16:creationId xmlns:a16="http://schemas.microsoft.com/office/drawing/2014/main" id="{9735818C-F9B6-4C29-B67B-6ED607A69C77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097112" y="2355189"/>
                            <a:ext cx="162000" cy="466700"/>
                            <a:chOff x="5097132" y="2354158"/>
                            <a:chExt cx="146123" cy="466700"/>
                          </a:xfrm>
                          <a:solidFill>
                            <a:schemeClr val="accent5">
                              <a:lumMod val="75000"/>
                            </a:schemeClr>
                          </a:solidFill>
                        </p:grpSpPr>
                        <p:pic>
                          <p:nvPicPr>
                            <p:cNvPr id="1356" name="Grafik 1551" descr="Dusche">
                              <a:extLst>
                                <a:ext uri="{FF2B5EF4-FFF2-40B4-BE49-F238E27FC236}">
                                  <a16:creationId xmlns:a16="http://schemas.microsoft.com/office/drawing/2014/main" id="{E047CB5B-7EFF-4AB5-887C-018227576129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7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98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097132" y="2354158"/>
                              <a:ext cx="146123" cy="112393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357" name="Rechteck 1552">
                              <a:extLst>
                                <a:ext uri="{FF2B5EF4-FFF2-40B4-BE49-F238E27FC236}">
                                  <a16:creationId xmlns:a16="http://schemas.microsoft.com/office/drawing/2014/main" id="{042FD9CD-6E85-42D0-9C66-0A283C19123A}"/>
                                </a:ext>
                              </a:extLst>
                            </p:cNvPr>
                            <p:cNvSpPr/>
                            <p:nvPr/>
                          </p:nvSpPr>
                          <p:spPr bwMode="gray">
                            <a:xfrm>
                              <a:off x="5120024" y="2424858"/>
                              <a:ext cx="10800" cy="396000"/>
                            </a:xfrm>
                            <a:prstGeom prst="rect">
                              <a:avLst/>
                            </a:pr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1352" name="Rechteck 1547">
                            <a:extLst>
                              <a:ext uri="{FF2B5EF4-FFF2-40B4-BE49-F238E27FC236}">
                                <a16:creationId xmlns:a16="http://schemas.microsoft.com/office/drawing/2014/main" id="{E13BD90D-87EA-4773-9C3B-EB3915424F6D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5097133" y="2802853"/>
                            <a:ext cx="306000" cy="18000"/>
                          </a:xfrm>
                          <a:prstGeom prst="rect">
                            <a:avLst/>
                          </a:prstGeom>
                          <a:solidFill>
                            <a:schemeClr val="bg1"/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353" name="Gruppieren 1548">
                            <a:extLst>
                              <a:ext uri="{FF2B5EF4-FFF2-40B4-BE49-F238E27FC236}">
                                <a16:creationId xmlns:a16="http://schemas.microsoft.com/office/drawing/2014/main" id="{36BC9638-17AC-4074-8F51-F9BAA5D0405F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147688" y="2685838"/>
                            <a:ext cx="120776" cy="144000"/>
                            <a:chOff x="5147688" y="2690600"/>
                            <a:chExt cx="120776" cy="144000"/>
                          </a:xfrm>
                        </p:grpSpPr>
                        <p:pic>
                          <p:nvPicPr>
                            <p:cNvPr id="1354" name="Grafik 1549" descr="Gummiente">
                              <a:extLst>
                                <a:ext uri="{FF2B5EF4-FFF2-40B4-BE49-F238E27FC236}">
                                  <a16:creationId xmlns:a16="http://schemas.microsoft.com/office/drawing/2014/main" id="{F161CF0E-9DF8-497C-9C1F-FFB1D407508F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99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96DAC541-7B7A-43D3-8B79-37D633B846F1}">
                                  <asvg:svgBlip xmlns:asvg="http://schemas.microsoft.com/office/drawing/2016/SVG/main" r:embed="rId100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 bwMode="gray">
                            <a:xfrm>
                              <a:off x="5147688" y="2690600"/>
                              <a:ext cx="120776" cy="144000"/>
                            </a:xfrm>
                            <a:prstGeom prst="rect">
                              <a:avLst/>
                            </a:prstGeom>
                          </p:spPr>
                        </p:pic>
                        <p:sp>
                          <p:nvSpPr>
                            <p:cNvPr id="1355" name="Ellipse 1550">
                              <a:extLst>
                                <a:ext uri="{FF2B5EF4-FFF2-40B4-BE49-F238E27FC236}">
                                  <a16:creationId xmlns:a16="http://schemas.microsoft.com/office/drawing/2014/main" id="{622B24D4-115E-43B2-8859-79522168FF94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227990" y="2734284"/>
                              <a:ext cx="10800" cy="10800"/>
                            </a:xfrm>
                            <a:prstGeom prst="ellipse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5">
                                <a:shade val="50000"/>
                              </a:schemeClr>
                            </a:lnRef>
                            <a:fillRef idx="1">
                              <a:schemeClr val="accent5"/>
                            </a:fillRef>
                            <a:effectRef idx="0">
                              <a:schemeClr val="accent5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chemeClr val="tx1"/>
                                </a:solidFill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</p:grpSp>
              <p:grpSp>
                <p:nvGrpSpPr>
                  <p:cNvPr id="908" name="Gruppieren 1382">
                    <a:extLst>
                      <a:ext uri="{FF2B5EF4-FFF2-40B4-BE49-F238E27FC236}">
                        <a16:creationId xmlns:a16="http://schemas.microsoft.com/office/drawing/2014/main" id="{41B4BFF8-766E-4526-84EE-D160804651EF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164010" y="2178889"/>
                    <a:ext cx="1105710" cy="1868361"/>
                    <a:chOff x="1938516" y="2178889"/>
                    <a:chExt cx="1105710" cy="1868361"/>
                  </a:xfrm>
                </p:grpSpPr>
                <p:grpSp>
                  <p:nvGrpSpPr>
                    <p:cNvPr id="1311" name="Gruppieren 1506">
                      <a:extLst>
                        <a:ext uri="{FF2B5EF4-FFF2-40B4-BE49-F238E27FC236}">
                          <a16:creationId xmlns:a16="http://schemas.microsoft.com/office/drawing/2014/main" id="{75313C08-34B8-4C28-9672-573F7C584176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8516" y="3456836"/>
                      <a:ext cx="1105200" cy="590414"/>
                      <a:chOff x="1933200" y="3532651"/>
                      <a:chExt cx="1105200" cy="590414"/>
                    </a:xfrm>
                  </p:grpSpPr>
                  <p:grpSp>
                    <p:nvGrpSpPr>
                      <p:cNvPr id="1333" name="Gruppieren 1528">
                        <a:extLst>
                          <a:ext uri="{FF2B5EF4-FFF2-40B4-BE49-F238E27FC236}">
                            <a16:creationId xmlns:a16="http://schemas.microsoft.com/office/drawing/2014/main" id="{2D79F992-F6BD-4FBC-9AD2-EC1DBA52AE2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3200" y="3532651"/>
                        <a:ext cx="1105200" cy="590414"/>
                        <a:chOff x="1933200" y="3532651"/>
                        <a:chExt cx="1105200" cy="590414"/>
                      </a:xfrm>
                    </p:grpSpPr>
                    <p:sp>
                      <p:nvSpPr>
                        <p:cNvPr id="1340" name="Rectangle 744">
                          <a:extLst>
                            <a:ext uri="{FF2B5EF4-FFF2-40B4-BE49-F238E27FC236}">
                              <a16:creationId xmlns:a16="http://schemas.microsoft.com/office/drawing/2014/main" id="{CFED68EE-A1A8-4814-9CBF-E5D6DF43F2FF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71688"/>
                          <a:ext cx="1105200" cy="526397"/>
                        </a:xfrm>
                        <a:prstGeom prst="rect">
                          <a:avLst/>
                        </a:prstGeom>
                        <a:solidFill>
                          <a:srgbClr val="99C57D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41" name="Rectangle 746">
                          <a:extLst>
                            <a:ext uri="{FF2B5EF4-FFF2-40B4-BE49-F238E27FC236}">
                              <a16:creationId xmlns:a16="http://schemas.microsoft.com/office/drawing/2014/main" id="{FF6393BA-6902-41F2-B472-F3775E77B56F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32651"/>
                          <a:ext cx="1105200" cy="46062"/>
                        </a:xfrm>
                        <a:prstGeom prst="rect">
                          <a:avLst/>
                        </a:prstGeom>
                        <a:solidFill>
                          <a:srgbClr val="5D7A5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42" name="Rectangle 747">
                          <a:extLst>
                            <a:ext uri="{FF2B5EF4-FFF2-40B4-BE49-F238E27FC236}">
                              <a16:creationId xmlns:a16="http://schemas.microsoft.com/office/drawing/2014/main" id="{22940E18-5120-47D8-AC80-E9D079D17AF7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4094758"/>
                          <a:ext cx="1105200" cy="28307"/>
                        </a:xfrm>
                        <a:prstGeom prst="rect">
                          <a:avLst/>
                        </a:prstGeom>
                        <a:solidFill>
                          <a:srgbClr val="4D633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334" name="Gruppieren 1529">
                        <a:extLst>
                          <a:ext uri="{FF2B5EF4-FFF2-40B4-BE49-F238E27FC236}">
                            <a16:creationId xmlns:a16="http://schemas.microsoft.com/office/drawing/2014/main" id="{5E4B2CAC-0450-4230-9C34-A75BB66CE9E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3892" y="3694713"/>
                        <a:ext cx="1049573" cy="40104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1335" name="Bild 35">
                          <a:extLst>
                            <a:ext uri="{FF2B5EF4-FFF2-40B4-BE49-F238E27FC236}">
                              <a16:creationId xmlns:a16="http://schemas.microsoft.com/office/drawing/2014/main" id="{994EC26E-8AB4-41B7-A848-02728D69222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36" name="Bild 37">
                          <a:extLst>
                            <a:ext uri="{FF2B5EF4-FFF2-40B4-BE49-F238E27FC236}">
                              <a16:creationId xmlns:a16="http://schemas.microsoft.com/office/drawing/2014/main" id="{A2B5C79F-5BD8-46B4-A9A8-F49C781456D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37" name="Bild 38">
                          <a:extLst>
                            <a:ext uri="{FF2B5EF4-FFF2-40B4-BE49-F238E27FC236}">
                              <a16:creationId xmlns:a16="http://schemas.microsoft.com/office/drawing/2014/main" id="{F9395596-054B-47F7-A580-E7DF098FB71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38" name="Bild 41">
                          <a:extLst>
                            <a:ext uri="{FF2B5EF4-FFF2-40B4-BE49-F238E27FC236}">
                              <a16:creationId xmlns:a16="http://schemas.microsoft.com/office/drawing/2014/main" id="{FCD8CC98-1984-49CC-B5C1-8E5D6D660CC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39" name="Bild 2175">
                          <a:extLst>
                            <a:ext uri="{FF2B5EF4-FFF2-40B4-BE49-F238E27FC236}">
                              <a16:creationId xmlns:a16="http://schemas.microsoft.com/office/drawing/2014/main" id="{D2B06761-194A-45C7-BEB9-DFA9F85B0F57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312" name="Gruppieren 1507">
                      <a:extLst>
                        <a:ext uri="{FF2B5EF4-FFF2-40B4-BE49-F238E27FC236}">
                          <a16:creationId xmlns:a16="http://schemas.microsoft.com/office/drawing/2014/main" id="{99814C4B-B935-41E5-960A-80212E89F4A8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9026" y="2178889"/>
                      <a:ext cx="1105200" cy="590414"/>
                      <a:chOff x="1933200" y="3532651"/>
                      <a:chExt cx="1105200" cy="590414"/>
                    </a:xfrm>
                  </p:grpSpPr>
                  <p:grpSp>
                    <p:nvGrpSpPr>
                      <p:cNvPr id="1323" name="Gruppieren 1518">
                        <a:extLst>
                          <a:ext uri="{FF2B5EF4-FFF2-40B4-BE49-F238E27FC236}">
                            <a16:creationId xmlns:a16="http://schemas.microsoft.com/office/drawing/2014/main" id="{52A5A615-A157-47D0-84A6-AC766EBF6663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3200" y="3532651"/>
                        <a:ext cx="1105200" cy="590414"/>
                        <a:chOff x="1933200" y="3532651"/>
                        <a:chExt cx="1105200" cy="590414"/>
                      </a:xfrm>
                    </p:grpSpPr>
                    <p:sp>
                      <p:nvSpPr>
                        <p:cNvPr id="1330" name="Rectangle 744">
                          <a:extLst>
                            <a:ext uri="{FF2B5EF4-FFF2-40B4-BE49-F238E27FC236}">
                              <a16:creationId xmlns:a16="http://schemas.microsoft.com/office/drawing/2014/main" id="{B8936D1F-3D36-481A-B436-F91A4CB341D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71688"/>
                          <a:ext cx="1105200" cy="526397"/>
                        </a:xfrm>
                        <a:prstGeom prst="rect">
                          <a:avLst/>
                        </a:prstGeom>
                        <a:solidFill>
                          <a:srgbClr val="99C57D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31" name="Rectangle 746">
                          <a:extLst>
                            <a:ext uri="{FF2B5EF4-FFF2-40B4-BE49-F238E27FC236}">
                              <a16:creationId xmlns:a16="http://schemas.microsoft.com/office/drawing/2014/main" id="{DB2451E5-006B-4B30-89D0-88E84868794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3532651"/>
                          <a:ext cx="1105200" cy="46062"/>
                        </a:xfrm>
                        <a:prstGeom prst="rect">
                          <a:avLst/>
                        </a:prstGeom>
                        <a:solidFill>
                          <a:srgbClr val="5D7A55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332" name="Rectangle 747">
                          <a:extLst>
                            <a:ext uri="{FF2B5EF4-FFF2-40B4-BE49-F238E27FC236}">
                              <a16:creationId xmlns:a16="http://schemas.microsoft.com/office/drawing/2014/main" id="{A458A26F-D2AC-4C21-BF54-32C002AA2B60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33200" y="4094758"/>
                          <a:ext cx="1105200" cy="28307"/>
                        </a:xfrm>
                        <a:prstGeom prst="rect">
                          <a:avLst/>
                        </a:prstGeom>
                        <a:solidFill>
                          <a:srgbClr val="4D633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324" name="Gruppieren 1519">
                        <a:extLst>
                          <a:ext uri="{FF2B5EF4-FFF2-40B4-BE49-F238E27FC236}">
                            <a16:creationId xmlns:a16="http://schemas.microsoft.com/office/drawing/2014/main" id="{6F96F4FE-040B-4B97-AD2B-F3AFE7A4F606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3892" y="3694713"/>
                        <a:ext cx="1049573" cy="40104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1325" name="Bild 35">
                          <a:extLst>
                            <a:ext uri="{FF2B5EF4-FFF2-40B4-BE49-F238E27FC236}">
                              <a16:creationId xmlns:a16="http://schemas.microsoft.com/office/drawing/2014/main" id="{1E60D00D-97FA-4E86-A448-0F32A1F1689F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6" name="Bild 37">
                          <a:extLst>
                            <a:ext uri="{FF2B5EF4-FFF2-40B4-BE49-F238E27FC236}">
                              <a16:creationId xmlns:a16="http://schemas.microsoft.com/office/drawing/2014/main" id="{2011C3FE-DD10-4E4C-8E56-B82A599379F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7" name="Bild 38">
                          <a:extLst>
                            <a:ext uri="{FF2B5EF4-FFF2-40B4-BE49-F238E27FC236}">
                              <a16:creationId xmlns:a16="http://schemas.microsoft.com/office/drawing/2014/main" id="{F4957AFE-2047-406F-AB5A-D6D4D08CE3F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8" name="Bild 41">
                          <a:extLst>
                            <a:ext uri="{FF2B5EF4-FFF2-40B4-BE49-F238E27FC236}">
                              <a16:creationId xmlns:a16="http://schemas.microsoft.com/office/drawing/2014/main" id="{75BB21C8-B455-4D02-8BFF-8BD10ECAC59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9" name="Bild 2175">
                          <a:extLst>
                            <a:ext uri="{FF2B5EF4-FFF2-40B4-BE49-F238E27FC236}">
                              <a16:creationId xmlns:a16="http://schemas.microsoft.com/office/drawing/2014/main" id="{B0CC3723-E394-48CD-B31E-9FF8887EEFA1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  <p:grpSp>
                  <p:nvGrpSpPr>
                    <p:cNvPr id="1313" name="Gruppieren 1508">
                      <a:extLst>
                        <a:ext uri="{FF2B5EF4-FFF2-40B4-BE49-F238E27FC236}">
                          <a16:creationId xmlns:a16="http://schemas.microsoft.com/office/drawing/2014/main" id="{61993E2C-20F8-4097-A7C9-E045B053D5C3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9026" y="2820855"/>
                      <a:ext cx="1105200" cy="590400"/>
                      <a:chOff x="1933710" y="2898000"/>
                      <a:chExt cx="1105200" cy="590400"/>
                    </a:xfrm>
                  </p:grpSpPr>
                  <p:sp>
                    <p:nvSpPr>
                      <p:cNvPr id="1314" name="Rectangle 747">
                        <a:extLst>
                          <a:ext uri="{FF2B5EF4-FFF2-40B4-BE49-F238E27FC236}">
                            <a16:creationId xmlns:a16="http://schemas.microsoft.com/office/drawing/2014/main" id="{028E827B-65DD-4399-A4C5-9A4B22ECD148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3460094"/>
                        <a:ext cx="1105200" cy="28306"/>
                      </a:xfrm>
                      <a:prstGeom prst="rect">
                        <a:avLst/>
                      </a:prstGeom>
                      <a:solidFill>
                        <a:srgbClr val="4D633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315" name="Rectangle 744">
                        <a:extLst>
                          <a:ext uri="{FF2B5EF4-FFF2-40B4-BE49-F238E27FC236}">
                            <a16:creationId xmlns:a16="http://schemas.microsoft.com/office/drawing/2014/main" id="{4CAF9072-A2C4-41AD-81EC-C6B82D3D048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2937036"/>
                        <a:ext cx="1105200" cy="526385"/>
                      </a:xfrm>
                      <a:prstGeom prst="rect">
                        <a:avLst/>
                      </a:prstGeom>
                      <a:solidFill>
                        <a:srgbClr val="99C57D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316" name="Rectangle 746">
                        <a:extLst>
                          <a:ext uri="{FF2B5EF4-FFF2-40B4-BE49-F238E27FC236}">
                            <a16:creationId xmlns:a16="http://schemas.microsoft.com/office/drawing/2014/main" id="{BCEAF968-A0EF-42F6-8146-35F4FE1091E7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3710" y="2898000"/>
                        <a:ext cx="1105200" cy="46061"/>
                      </a:xfrm>
                      <a:prstGeom prst="rect">
                        <a:avLst/>
                      </a:prstGeom>
                      <a:solidFill>
                        <a:srgbClr val="5D7A55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1317" name="Gruppieren 1512">
                        <a:extLst>
                          <a:ext uri="{FF2B5EF4-FFF2-40B4-BE49-F238E27FC236}">
                            <a16:creationId xmlns:a16="http://schemas.microsoft.com/office/drawing/2014/main" id="{D7A68960-4C9F-4D6D-A32D-04AE7193EAF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54402" y="3060058"/>
                        <a:ext cx="1049573" cy="401036"/>
                        <a:chOff x="1953892" y="3694713"/>
                        <a:chExt cx="1049573" cy="401046"/>
                      </a:xfrm>
                    </p:grpSpPr>
                    <p:pic>
                      <p:nvPicPr>
                        <p:cNvPr id="1318" name="Bild 35">
                          <a:extLst>
                            <a:ext uri="{FF2B5EF4-FFF2-40B4-BE49-F238E27FC236}">
                              <a16:creationId xmlns:a16="http://schemas.microsoft.com/office/drawing/2014/main" id="{143B06F3-80C6-4BF8-AB13-53DB8BE7928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1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190627" y="3914966"/>
                          <a:ext cx="367416" cy="18079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19" name="Bild 37">
                          <a:extLst>
                            <a:ext uri="{FF2B5EF4-FFF2-40B4-BE49-F238E27FC236}">
                              <a16:creationId xmlns:a16="http://schemas.microsoft.com/office/drawing/2014/main" id="{0F5D4D75-E51A-4B30-8748-97F05E6BEB7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457328" y="3694713"/>
                          <a:ext cx="189909" cy="400383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0" name="Bild 38">
                          <a:extLst>
                            <a:ext uri="{FF2B5EF4-FFF2-40B4-BE49-F238E27FC236}">
                              <a16:creationId xmlns:a16="http://schemas.microsoft.com/office/drawing/2014/main" id="{8D784575-4C6F-4B35-B790-9E658EE349F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89560" y="3767562"/>
                          <a:ext cx="308953" cy="144908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1" name="Bild 41">
                          <a:extLst>
                            <a:ext uri="{FF2B5EF4-FFF2-40B4-BE49-F238E27FC236}">
                              <a16:creationId xmlns:a16="http://schemas.microsoft.com/office/drawing/2014/main" id="{9323415F-221F-49C4-9488-53232CCC5DCD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2690066" y="3961927"/>
                          <a:ext cx="313399" cy="130891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1322" name="Bild 2175">
                          <a:extLst>
                            <a:ext uri="{FF2B5EF4-FFF2-40B4-BE49-F238E27FC236}">
                              <a16:creationId xmlns:a16="http://schemas.microsoft.com/office/drawing/2014/main" id="{270A950C-7595-4568-9CDA-72E36BAD5402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9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 bwMode="gray">
                        <a:xfrm>
                          <a:off x="1953892" y="3874600"/>
                          <a:ext cx="209422" cy="216050"/>
                        </a:xfrm>
                        <a:prstGeom prst="rect">
                          <a:avLst/>
                        </a:prstGeom>
                      </p:spPr>
                    </p:pic>
                  </p:grpSp>
                </p:grpSp>
              </p:grpSp>
              <p:grpSp>
                <p:nvGrpSpPr>
                  <p:cNvPr id="909" name="Gruppieren 1492">
                    <a:extLst>
                      <a:ext uri="{FF2B5EF4-FFF2-40B4-BE49-F238E27FC236}">
                        <a16:creationId xmlns:a16="http://schemas.microsoft.com/office/drawing/2014/main" id="{DE7C3C44-8670-4480-8CFD-FA8E664AA91A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5869" y="4096743"/>
                    <a:ext cx="626401" cy="540000"/>
                    <a:chOff x="5745599" y="3570939"/>
                    <a:chExt cx="626401" cy="551652"/>
                  </a:xfrm>
                </p:grpSpPr>
                <p:sp>
                  <p:nvSpPr>
                    <p:cNvPr id="1309" name="Rectangle 965">
                      <a:extLst>
                        <a:ext uri="{FF2B5EF4-FFF2-40B4-BE49-F238E27FC236}">
                          <a16:creationId xmlns:a16="http://schemas.microsoft.com/office/drawing/2014/main" id="{97F7CD42-F07B-42FD-81BF-046C4C8FF2A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310" name="Rectangle 1166">
                      <a:extLst>
                        <a:ext uri="{FF2B5EF4-FFF2-40B4-BE49-F238E27FC236}">
                          <a16:creationId xmlns:a16="http://schemas.microsoft.com/office/drawing/2014/main" id="{19621D58-8F19-4AC6-9CAD-8A90ED5F621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910" name="Gruppieren 1489">
                    <a:extLst>
                      <a:ext uri="{FF2B5EF4-FFF2-40B4-BE49-F238E27FC236}">
                        <a16:creationId xmlns:a16="http://schemas.microsoft.com/office/drawing/2014/main" id="{AF1CFBD4-91E7-427F-B812-9DEEAA149FE2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016292" y="4203209"/>
                    <a:ext cx="189405" cy="409375"/>
                    <a:chOff x="5785963" y="3682543"/>
                    <a:chExt cx="189405" cy="418208"/>
                  </a:xfrm>
                </p:grpSpPr>
                <p:sp>
                  <p:nvSpPr>
                    <p:cNvPr id="1307" name="Rechteck 1490">
                      <a:extLst>
                        <a:ext uri="{FF2B5EF4-FFF2-40B4-BE49-F238E27FC236}">
                          <a16:creationId xmlns:a16="http://schemas.microsoft.com/office/drawing/2014/main" id="{172C4165-DC89-4795-A013-F395D540650A}"/>
                        </a:ext>
                      </a:extLst>
                    </p:cNvPr>
                    <p:cNvSpPr/>
                    <p:nvPr/>
                  </p:nvSpPr>
                  <p:spPr bwMode="gray">
                    <a:xfrm>
                      <a:off x="5785963" y="3682543"/>
                      <a:ext cx="189405" cy="418208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308" name="Ellipse 1491">
                      <a:extLst>
                        <a:ext uri="{FF2B5EF4-FFF2-40B4-BE49-F238E27FC236}">
                          <a16:creationId xmlns:a16="http://schemas.microsoft.com/office/drawing/2014/main" id="{9D2F494A-C512-4534-AC58-8927D962D3E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5802514" y="3888608"/>
                      <a:ext cx="25200" cy="25200"/>
                    </a:xfrm>
                    <a:prstGeom prst="ellipse">
                      <a:avLst/>
                    </a:prstGeom>
                    <a:solidFill>
                      <a:schemeClr val="bg1">
                        <a:lumMod val="95000"/>
                      </a:schemeClr>
                    </a:solidFill>
                    <a:ln w="6350"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911" name="Gruppieren 1436">
                    <a:extLst>
                      <a:ext uri="{FF2B5EF4-FFF2-40B4-BE49-F238E27FC236}">
                        <a16:creationId xmlns:a16="http://schemas.microsoft.com/office/drawing/2014/main" id="{C80A0F63-0808-4F87-A47A-C8EB6F20DB5B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197" y="2822400"/>
                    <a:ext cx="626401" cy="590991"/>
                    <a:chOff x="5745387" y="2822400"/>
                    <a:chExt cx="626401" cy="590991"/>
                  </a:xfrm>
                </p:grpSpPr>
                <p:grpSp>
                  <p:nvGrpSpPr>
                    <p:cNvPr id="1286" name="Gruppieren 1467">
                      <a:extLst>
                        <a:ext uri="{FF2B5EF4-FFF2-40B4-BE49-F238E27FC236}">
                          <a16:creationId xmlns:a16="http://schemas.microsoft.com/office/drawing/2014/main" id="{58533792-08D5-4022-87BD-D615A707C5F2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387" y="2822400"/>
                      <a:ext cx="626401" cy="590991"/>
                      <a:chOff x="5745540" y="3532060"/>
                      <a:chExt cx="626401" cy="590991"/>
                    </a:xfrm>
                  </p:grpSpPr>
                  <p:grpSp>
                    <p:nvGrpSpPr>
                      <p:cNvPr id="1288" name="Gruppieren 1469">
                        <a:extLst>
                          <a:ext uri="{FF2B5EF4-FFF2-40B4-BE49-F238E27FC236}">
                            <a16:creationId xmlns:a16="http://schemas.microsoft.com/office/drawing/2014/main" id="{6D1EBF50-2D1E-4D55-9FC8-105F6A75BF53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45540" y="3532060"/>
                        <a:ext cx="626401" cy="590991"/>
                        <a:chOff x="5745599" y="3531600"/>
                        <a:chExt cx="626401" cy="590991"/>
                      </a:xfrm>
                    </p:grpSpPr>
                    <p:grpSp>
                      <p:nvGrpSpPr>
                        <p:cNvPr id="1292" name="Gruppieren 1473">
                          <a:extLst>
                            <a:ext uri="{FF2B5EF4-FFF2-40B4-BE49-F238E27FC236}">
                              <a16:creationId xmlns:a16="http://schemas.microsoft.com/office/drawing/2014/main" id="{B5504492-C73C-478A-9587-652595C1C78A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745599" y="3531600"/>
                          <a:ext cx="626401" cy="590991"/>
                          <a:chOff x="5745599" y="3531600"/>
                          <a:chExt cx="626401" cy="590991"/>
                        </a:xfrm>
                      </p:grpSpPr>
                      <p:sp>
                        <p:nvSpPr>
                          <p:cNvPr id="1304" name="Rectangle 998">
                            <a:extLst>
                              <a:ext uri="{FF2B5EF4-FFF2-40B4-BE49-F238E27FC236}">
                                <a16:creationId xmlns:a16="http://schemas.microsoft.com/office/drawing/2014/main" id="{D5D14CD4-0160-4BF7-96B9-9036EECDBB02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31600"/>
                            <a:ext cx="626400" cy="50474"/>
                          </a:xfrm>
                          <a:prstGeom prst="rect">
                            <a:avLst/>
                          </a:prstGeom>
                          <a:solidFill>
                            <a:srgbClr val="E4E5E8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5" name="Rectangle 965">
                            <a:extLst>
                              <a:ext uri="{FF2B5EF4-FFF2-40B4-BE49-F238E27FC236}">
                                <a16:creationId xmlns:a16="http://schemas.microsoft.com/office/drawing/2014/main" id="{9472750F-7B21-45A5-89B1-660F10535116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70939"/>
                            <a:ext cx="626400" cy="532193"/>
                          </a:xfrm>
                          <a:prstGeom prst="rect">
                            <a:avLst/>
                          </a:prstGeom>
                          <a:solidFill>
                            <a:srgbClr val="B2B2B2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6" name="Rectangle 1166">
                            <a:extLst>
                              <a:ext uri="{FF2B5EF4-FFF2-40B4-BE49-F238E27FC236}">
                                <a16:creationId xmlns:a16="http://schemas.microsoft.com/office/drawing/2014/main" id="{8D03EB7A-D8BD-4D5A-9E37-95545AB53B7F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599" y="4097391"/>
                            <a:ext cx="626400" cy="252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lumMod val="25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293" name="Gruppieren 1474">
                          <a:extLst>
                            <a:ext uri="{FF2B5EF4-FFF2-40B4-BE49-F238E27FC236}">
                              <a16:creationId xmlns:a16="http://schemas.microsoft.com/office/drawing/2014/main" id="{D14CBADC-FCB8-4175-99B3-AB9F9F8C140D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6025342" y="3572207"/>
                          <a:ext cx="326590" cy="525600"/>
                          <a:chOff x="6034866" y="3676578"/>
                          <a:chExt cx="326590" cy="418176"/>
                        </a:xfrm>
                      </p:grpSpPr>
                      <p:sp>
                        <p:nvSpPr>
                          <p:cNvPr id="1294" name="Rechteck 1475">
                            <a:extLst>
                              <a:ext uri="{FF2B5EF4-FFF2-40B4-BE49-F238E27FC236}">
                                <a16:creationId xmlns:a16="http://schemas.microsoft.com/office/drawing/2014/main" id="{FBB87ABB-E0E8-49A4-8844-0C6DA2539DE2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70" y="406235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95" name="Rechteck 1476">
                            <a:extLst>
                              <a:ext uri="{FF2B5EF4-FFF2-40B4-BE49-F238E27FC236}">
                                <a16:creationId xmlns:a16="http://schemas.microsoft.com/office/drawing/2014/main" id="{CD4BE34B-31F3-4EAF-B701-3F91E4CF277D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32" y="401949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96" name="Rechteck 1477">
                            <a:extLst>
                              <a:ext uri="{FF2B5EF4-FFF2-40B4-BE49-F238E27FC236}">
                                <a16:creationId xmlns:a16="http://schemas.microsoft.com/office/drawing/2014/main" id="{CDFEF400-27C0-46A0-AE4F-030776EBB020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97662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97" name="Rechteck 1478">
                            <a:extLst>
                              <a:ext uri="{FF2B5EF4-FFF2-40B4-BE49-F238E27FC236}">
                                <a16:creationId xmlns:a16="http://schemas.microsoft.com/office/drawing/2014/main" id="{8A3A9752-487C-4320-A816-43EB44469DDB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56" y="393376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98" name="Rechteck 1479">
                            <a:extLst>
                              <a:ext uri="{FF2B5EF4-FFF2-40B4-BE49-F238E27FC236}">
                                <a16:creationId xmlns:a16="http://schemas.microsoft.com/office/drawing/2014/main" id="{76B3A074-A8E9-4313-96C2-FD82D2161BE4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89089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99" name="Rechteck 1480">
                            <a:extLst>
                              <a:ext uri="{FF2B5EF4-FFF2-40B4-BE49-F238E27FC236}">
                                <a16:creationId xmlns:a16="http://schemas.microsoft.com/office/drawing/2014/main" id="{C4FD0DFC-81D4-4867-83F8-5518131B8D0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9" y="384803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0" name="Rechteck 1481">
                            <a:extLst>
                              <a:ext uri="{FF2B5EF4-FFF2-40B4-BE49-F238E27FC236}">
                                <a16:creationId xmlns:a16="http://schemas.microsoft.com/office/drawing/2014/main" id="{02354B7C-935C-46C6-B8E8-B263921F8048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66" y="380517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1" name="Rechteck 1482">
                            <a:extLst>
                              <a:ext uri="{FF2B5EF4-FFF2-40B4-BE49-F238E27FC236}">
                                <a16:creationId xmlns:a16="http://schemas.microsoft.com/office/drawing/2014/main" id="{4876C6CE-5CE0-4F88-BAE9-09946814308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1" y="376230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2" name="Rechteck 1483">
                            <a:extLst>
                              <a:ext uri="{FF2B5EF4-FFF2-40B4-BE49-F238E27FC236}">
                                <a16:creationId xmlns:a16="http://schemas.microsoft.com/office/drawing/2014/main" id="{CAB4173B-22A5-41CA-A8D3-4E316D4B9725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2973" y="371944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303" name="Rechteck 1484">
                            <a:extLst>
                              <a:ext uri="{FF2B5EF4-FFF2-40B4-BE49-F238E27FC236}">
                                <a16:creationId xmlns:a16="http://schemas.microsoft.com/office/drawing/2014/main" id="{DB2A35E2-CA6B-4836-AABF-EE3AE39C87E9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48" y="367657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1289" name="Gruppieren 1470">
                        <a:extLst>
                          <a:ext uri="{FF2B5EF4-FFF2-40B4-BE49-F238E27FC236}">
                            <a16:creationId xmlns:a16="http://schemas.microsoft.com/office/drawing/2014/main" id="{B0DB7EA6-127F-4ADC-A017-9CBD5FA97237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85963" y="3680162"/>
                        <a:ext cx="189405" cy="418208"/>
                        <a:chOff x="5785963" y="3682543"/>
                        <a:chExt cx="189405" cy="418208"/>
                      </a:xfrm>
                    </p:grpSpPr>
                    <p:sp>
                      <p:nvSpPr>
                        <p:cNvPr id="1290" name="Rechteck 1471">
                          <a:extLst>
                            <a:ext uri="{FF2B5EF4-FFF2-40B4-BE49-F238E27FC236}">
                              <a16:creationId xmlns:a16="http://schemas.microsoft.com/office/drawing/2014/main" id="{BCBAFCCC-6EED-4D41-8442-C6BE7D398340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5785963" y="3682543"/>
                          <a:ext cx="189405" cy="418208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91" name="Ellipse 1472">
                          <a:extLst>
                            <a:ext uri="{FF2B5EF4-FFF2-40B4-BE49-F238E27FC236}">
                              <a16:creationId xmlns:a16="http://schemas.microsoft.com/office/drawing/2014/main" id="{495DCF8E-A1A3-4189-A6A6-E3EE23FBCA70}"/>
                            </a:ext>
                          </a:extLst>
                        </p:cNvPr>
                        <p:cNvSpPr>
                          <a:spLocks noChangeAspect="1"/>
                        </p:cNvSpPr>
                        <p:nvPr/>
                      </p:nvSpPr>
                      <p:spPr bwMode="gray">
                        <a:xfrm>
                          <a:off x="5802514" y="3888608"/>
                          <a:ext cx="25200" cy="2520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2">
                              <a:lumMod val="50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pic>
                  <p:nvPicPr>
                    <p:cNvPr id="1287" name="Grafik 1468" descr="Mann">
                      <a:extLst>
                        <a:ext uri="{FF2B5EF4-FFF2-40B4-BE49-F238E27FC236}">
                          <a16:creationId xmlns:a16="http://schemas.microsoft.com/office/drawing/2014/main" id="{1007AEE3-4AF6-413B-8E2D-7C9E0AE493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06"/>
                        </a:ext>
                      </a:extLst>
                    </a:blip>
                    <a:stretch>
                      <a:fillRect/>
                    </a:stretch>
                  </p:blipFill>
                  <p:spPr bwMode="gray">
                    <a:xfrm>
                      <a:off x="5807736" y="3034526"/>
                      <a:ext cx="364117" cy="364117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912" name="Gruppieren 1437">
                    <a:extLst>
                      <a:ext uri="{FF2B5EF4-FFF2-40B4-BE49-F238E27FC236}">
                        <a16:creationId xmlns:a16="http://schemas.microsoft.com/office/drawing/2014/main" id="{C3F3C48D-AD72-44CF-9F86-FACC6082003A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410" y="2178836"/>
                    <a:ext cx="626401" cy="590991"/>
                    <a:chOff x="5745600" y="2253600"/>
                    <a:chExt cx="626401" cy="590991"/>
                  </a:xfrm>
                </p:grpSpPr>
                <p:grpSp>
                  <p:nvGrpSpPr>
                    <p:cNvPr id="1279" name="Gruppieren 1460">
                      <a:extLst>
                        <a:ext uri="{FF2B5EF4-FFF2-40B4-BE49-F238E27FC236}">
                          <a16:creationId xmlns:a16="http://schemas.microsoft.com/office/drawing/2014/main" id="{6210A737-3573-4790-BA9B-16CC9AAEE34B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600" y="2253600"/>
                      <a:ext cx="626401" cy="590991"/>
                      <a:chOff x="5745599" y="3531600"/>
                      <a:chExt cx="626401" cy="590991"/>
                    </a:xfrm>
                  </p:grpSpPr>
                  <p:sp>
                    <p:nvSpPr>
                      <p:cNvPr id="1283" name="Rectangle 998">
                        <a:extLst>
                          <a:ext uri="{FF2B5EF4-FFF2-40B4-BE49-F238E27FC236}">
                            <a16:creationId xmlns:a16="http://schemas.microsoft.com/office/drawing/2014/main" id="{507B7A84-D777-45BD-B5C7-DA6049F0768C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600" y="3531600"/>
                        <a:ext cx="626400" cy="50474"/>
                      </a:xfrm>
                      <a:prstGeom prst="rect">
                        <a:avLst/>
                      </a:prstGeom>
                      <a:solidFill>
                        <a:srgbClr val="E4E5E8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284" name="Rectangle 965">
                        <a:extLst>
                          <a:ext uri="{FF2B5EF4-FFF2-40B4-BE49-F238E27FC236}">
                            <a16:creationId xmlns:a16="http://schemas.microsoft.com/office/drawing/2014/main" id="{33121483-9478-4213-98D3-789D2AE98B3E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600" y="3570939"/>
                        <a:ext cx="626400" cy="532193"/>
                      </a:xfrm>
                      <a:prstGeom prst="rect">
                        <a:avLst/>
                      </a:prstGeom>
                      <a:solidFill>
                        <a:srgbClr val="B2B2B2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285" name="Rectangle 1166">
                        <a:extLst>
                          <a:ext uri="{FF2B5EF4-FFF2-40B4-BE49-F238E27FC236}">
                            <a16:creationId xmlns:a16="http://schemas.microsoft.com/office/drawing/2014/main" id="{9FD08F75-0489-4CD5-8B9A-FCD70085E7E5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5745599" y="4097391"/>
                        <a:ext cx="626400" cy="25200"/>
                      </a:xfrm>
                      <a:prstGeom prst="rect">
                        <a:avLst/>
                      </a:prstGeom>
                      <a:solidFill>
                        <a:schemeClr val="bg2">
                          <a:lumMod val="25000"/>
                        </a:scheme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  <p:grpSp>
                  <p:nvGrpSpPr>
                    <p:cNvPr id="1280" name="Gruppieren 1461">
                      <a:extLst>
                        <a:ext uri="{FF2B5EF4-FFF2-40B4-BE49-F238E27FC236}">
                          <a16:creationId xmlns:a16="http://schemas.microsoft.com/office/drawing/2014/main" id="{2BC618F4-CCF8-4BC6-B8DF-1760E7CF7C9A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86023" y="2401702"/>
                      <a:ext cx="189405" cy="418208"/>
                      <a:chOff x="5785963" y="3682543"/>
                      <a:chExt cx="189405" cy="418208"/>
                    </a:xfrm>
                  </p:grpSpPr>
                  <p:sp>
                    <p:nvSpPr>
                      <p:cNvPr id="1281" name="Rechteck 1462">
                        <a:extLst>
                          <a:ext uri="{FF2B5EF4-FFF2-40B4-BE49-F238E27FC236}">
                            <a16:creationId xmlns:a16="http://schemas.microsoft.com/office/drawing/2014/main" id="{D482844D-A6EA-4C71-BA15-B22B5D2CDE21}"/>
                          </a:ext>
                        </a:extLst>
                      </p:cNvPr>
                      <p:cNvSpPr/>
                      <p:nvPr/>
                    </p:nvSpPr>
                    <p:spPr bwMode="gray">
                      <a:xfrm>
                        <a:off x="5785963" y="3682543"/>
                        <a:ext cx="189405" cy="4182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282" name="Ellipse 1463">
                        <a:extLst>
                          <a:ext uri="{FF2B5EF4-FFF2-40B4-BE49-F238E27FC236}">
                            <a16:creationId xmlns:a16="http://schemas.microsoft.com/office/drawing/2014/main" id="{9AED857B-7480-4E9B-A6D6-FC077F58162C}"/>
                          </a:ext>
                        </a:extLst>
                      </p:cNvPr>
                      <p:cNvSpPr>
                        <a:spLocks noChangeAspect="1"/>
                      </p:cNvSpPr>
                      <p:nvPr/>
                    </p:nvSpPr>
                    <p:spPr bwMode="gray">
                      <a:xfrm>
                        <a:off x="5802514" y="3888608"/>
                        <a:ext cx="25200" cy="25200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</a:schemeClr>
                      </a:solidFill>
                      <a:ln w="6350">
                        <a:solidFill>
                          <a:schemeClr val="bg2">
                            <a:lumMod val="5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</p:grpSp>
              <p:grpSp>
                <p:nvGrpSpPr>
                  <p:cNvPr id="913" name="Gruppieren 1438">
                    <a:extLst>
                      <a:ext uri="{FF2B5EF4-FFF2-40B4-BE49-F238E27FC236}">
                        <a16:creationId xmlns:a16="http://schemas.microsoft.com/office/drawing/2014/main" id="{7F1E9647-E1BA-47A4-A9CB-BBFC3C2450A6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4976350" y="3457296"/>
                    <a:ext cx="626401" cy="590991"/>
                    <a:chOff x="5745540" y="3457296"/>
                    <a:chExt cx="626401" cy="590991"/>
                  </a:xfrm>
                </p:grpSpPr>
                <p:grpSp>
                  <p:nvGrpSpPr>
                    <p:cNvPr id="1258" name="Gruppieren 1439">
                      <a:extLst>
                        <a:ext uri="{FF2B5EF4-FFF2-40B4-BE49-F238E27FC236}">
                          <a16:creationId xmlns:a16="http://schemas.microsoft.com/office/drawing/2014/main" id="{51F1BB08-E6D2-4BED-9407-99C5A709927F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5745540" y="3457296"/>
                      <a:ext cx="626401" cy="590991"/>
                      <a:chOff x="5745540" y="3532060"/>
                      <a:chExt cx="626401" cy="590991"/>
                    </a:xfrm>
                  </p:grpSpPr>
                  <p:grpSp>
                    <p:nvGrpSpPr>
                      <p:cNvPr id="1260" name="Gruppieren 1441">
                        <a:extLst>
                          <a:ext uri="{FF2B5EF4-FFF2-40B4-BE49-F238E27FC236}">
                            <a16:creationId xmlns:a16="http://schemas.microsoft.com/office/drawing/2014/main" id="{35CED654-933F-4C70-BC34-A1B4993C880C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45540" y="3532060"/>
                        <a:ext cx="626401" cy="590991"/>
                        <a:chOff x="5745599" y="3531600"/>
                        <a:chExt cx="626401" cy="590991"/>
                      </a:xfrm>
                    </p:grpSpPr>
                    <p:grpSp>
                      <p:nvGrpSpPr>
                        <p:cNvPr id="1264" name="Gruppieren 1445">
                          <a:extLst>
                            <a:ext uri="{FF2B5EF4-FFF2-40B4-BE49-F238E27FC236}">
                              <a16:creationId xmlns:a16="http://schemas.microsoft.com/office/drawing/2014/main" id="{E3B16367-103A-4D52-8CD9-E5195A059712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745599" y="3531600"/>
                          <a:ext cx="626401" cy="590991"/>
                          <a:chOff x="5745599" y="3531600"/>
                          <a:chExt cx="626401" cy="590991"/>
                        </a:xfrm>
                      </p:grpSpPr>
                      <p:sp>
                        <p:nvSpPr>
                          <p:cNvPr id="1276" name="Rectangle 998">
                            <a:extLst>
                              <a:ext uri="{FF2B5EF4-FFF2-40B4-BE49-F238E27FC236}">
                                <a16:creationId xmlns:a16="http://schemas.microsoft.com/office/drawing/2014/main" id="{CD1AB19E-E364-4FA8-B2C8-F8119C23FA82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31600"/>
                            <a:ext cx="626400" cy="50474"/>
                          </a:xfrm>
                          <a:prstGeom prst="rect">
                            <a:avLst/>
                          </a:prstGeom>
                          <a:solidFill>
                            <a:srgbClr val="E4E5E8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7" name="Rectangle 965">
                            <a:extLst>
                              <a:ext uri="{FF2B5EF4-FFF2-40B4-BE49-F238E27FC236}">
                                <a16:creationId xmlns:a16="http://schemas.microsoft.com/office/drawing/2014/main" id="{1F89307C-B93C-4F8D-87BE-67E057E925DC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600" y="3570939"/>
                            <a:ext cx="626400" cy="532193"/>
                          </a:xfrm>
                          <a:prstGeom prst="rect">
                            <a:avLst/>
                          </a:prstGeom>
                          <a:solidFill>
                            <a:srgbClr val="B2B2B2"/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8" name="Rectangle 1166">
                            <a:extLst>
                              <a:ext uri="{FF2B5EF4-FFF2-40B4-BE49-F238E27FC236}">
                                <a16:creationId xmlns:a16="http://schemas.microsoft.com/office/drawing/2014/main" id="{CBDAF1E6-0CDB-4CD1-958F-91FC9FB76162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5745599" y="4097391"/>
                            <a:ext cx="626400" cy="25200"/>
                          </a:xfrm>
                          <a:prstGeom prst="rect">
                            <a:avLst/>
                          </a:prstGeom>
                          <a:solidFill>
                            <a:schemeClr val="bg2">
                              <a:lumMod val="25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265" name="Gruppieren 1446">
                          <a:extLst>
                            <a:ext uri="{FF2B5EF4-FFF2-40B4-BE49-F238E27FC236}">
                              <a16:creationId xmlns:a16="http://schemas.microsoft.com/office/drawing/2014/main" id="{0C215051-A804-4C45-804E-EB4EFF47D5D8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6025342" y="3572207"/>
                          <a:ext cx="326590" cy="525600"/>
                          <a:chOff x="6034866" y="3676578"/>
                          <a:chExt cx="326590" cy="418176"/>
                        </a:xfrm>
                      </p:grpSpPr>
                      <p:sp>
                        <p:nvSpPr>
                          <p:cNvPr id="1266" name="Rechteck 1447">
                            <a:extLst>
                              <a:ext uri="{FF2B5EF4-FFF2-40B4-BE49-F238E27FC236}">
                                <a16:creationId xmlns:a16="http://schemas.microsoft.com/office/drawing/2014/main" id="{7E58566A-4806-4A94-BF16-D3E09379E09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70" y="406235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67" name="Rechteck 1448">
                            <a:extLst>
                              <a:ext uri="{FF2B5EF4-FFF2-40B4-BE49-F238E27FC236}">
                                <a16:creationId xmlns:a16="http://schemas.microsoft.com/office/drawing/2014/main" id="{D0F76956-80AC-46C8-A77A-FBF9873AD19F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32" y="401949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68" name="Rechteck 1449">
                            <a:extLst>
                              <a:ext uri="{FF2B5EF4-FFF2-40B4-BE49-F238E27FC236}">
                                <a16:creationId xmlns:a16="http://schemas.microsoft.com/office/drawing/2014/main" id="{E86379A1-7C59-4852-9BB3-8C23D87DDA0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97662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69" name="Rechteck 1450">
                            <a:extLst>
                              <a:ext uri="{FF2B5EF4-FFF2-40B4-BE49-F238E27FC236}">
                                <a16:creationId xmlns:a16="http://schemas.microsoft.com/office/drawing/2014/main" id="{F1017255-0FAB-4779-B579-EC36116FF89C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56" y="393376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0" name="Rechteck 1451">
                            <a:extLst>
                              <a:ext uri="{FF2B5EF4-FFF2-40B4-BE49-F238E27FC236}">
                                <a16:creationId xmlns:a16="http://schemas.microsoft.com/office/drawing/2014/main" id="{78500464-3102-4F8E-876B-8DB33E16A009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0594" y="389089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1" name="Rechteck 1452">
                            <a:extLst>
                              <a:ext uri="{FF2B5EF4-FFF2-40B4-BE49-F238E27FC236}">
                                <a16:creationId xmlns:a16="http://schemas.microsoft.com/office/drawing/2014/main" id="{292EA024-FB1D-4185-A45A-FF3D83C7CCD9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9" y="3848034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2" name="Rechteck 1453">
                            <a:extLst>
                              <a:ext uri="{FF2B5EF4-FFF2-40B4-BE49-F238E27FC236}">
                                <a16:creationId xmlns:a16="http://schemas.microsoft.com/office/drawing/2014/main" id="{D2E9862B-FD64-46DD-AE1F-3B053CEF8B5A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34866" y="3805170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3" name="Rechteck 1454">
                            <a:extLst>
                              <a:ext uri="{FF2B5EF4-FFF2-40B4-BE49-F238E27FC236}">
                                <a16:creationId xmlns:a16="http://schemas.microsoft.com/office/drawing/2014/main" id="{C60135A4-B424-4FE8-B482-91579B3E958E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077721" y="3762306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4" name="Rechteck 1455">
                            <a:extLst>
                              <a:ext uri="{FF2B5EF4-FFF2-40B4-BE49-F238E27FC236}">
                                <a16:creationId xmlns:a16="http://schemas.microsoft.com/office/drawing/2014/main" id="{E10F61B9-E42A-4EC0-A42A-E0CB1319AC4F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22973" y="3719442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75" name="Rechteck 1456">
                            <a:extLst>
                              <a:ext uri="{FF2B5EF4-FFF2-40B4-BE49-F238E27FC236}">
                                <a16:creationId xmlns:a16="http://schemas.microsoft.com/office/drawing/2014/main" id="{8E18E87A-609D-4ACF-B1FD-DDAA5A18CD64}"/>
                              </a:ext>
                            </a:extLst>
                          </p:cNvPr>
                          <p:cNvSpPr>
                            <a:spLocks noChangeAspect="1"/>
                          </p:cNvSpPr>
                          <p:nvPr/>
                        </p:nvSpPr>
                        <p:spPr bwMode="gray">
                          <a:xfrm>
                            <a:off x="6163448" y="3676578"/>
                            <a:ext cx="198000" cy="3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  <a:alpha val="8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1261" name="Gruppieren 1442">
                        <a:extLst>
                          <a:ext uri="{FF2B5EF4-FFF2-40B4-BE49-F238E27FC236}">
                            <a16:creationId xmlns:a16="http://schemas.microsoft.com/office/drawing/2014/main" id="{234197BF-6E56-4F89-A81D-CFC7A0CD4F7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785963" y="3680162"/>
                        <a:ext cx="189405" cy="418208"/>
                        <a:chOff x="5785963" y="3682543"/>
                        <a:chExt cx="189405" cy="418208"/>
                      </a:xfrm>
                    </p:grpSpPr>
                    <p:sp>
                      <p:nvSpPr>
                        <p:cNvPr id="1262" name="Rechteck 1443">
                          <a:extLst>
                            <a:ext uri="{FF2B5EF4-FFF2-40B4-BE49-F238E27FC236}">
                              <a16:creationId xmlns:a16="http://schemas.microsoft.com/office/drawing/2014/main" id="{4294B412-6471-4E66-B2B4-84E51839E37B}"/>
                            </a:ext>
                          </a:extLst>
                        </p:cNvPr>
                        <p:cNvSpPr/>
                        <p:nvPr/>
                      </p:nvSpPr>
                      <p:spPr bwMode="gray">
                        <a:xfrm>
                          <a:off x="5785963" y="3682543"/>
                          <a:ext cx="189405" cy="418208"/>
                        </a:xfrm>
                        <a:prstGeom prst="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63" name="Ellipse 1444">
                          <a:extLst>
                            <a:ext uri="{FF2B5EF4-FFF2-40B4-BE49-F238E27FC236}">
                              <a16:creationId xmlns:a16="http://schemas.microsoft.com/office/drawing/2014/main" id="{258A3D1A-19E7-42D2-AF8C-03AD656BB7B8}"/>
                            </a:ext>
                          </a:extLst>
                        </p:cNvPr>
                        <p:cNvSpPr>
                          <a:spLocks noChangeAspect="1"/>
                        </p:cNvSpPr>
                        <p:nvPr/>
                      </p:nvSpPr>
                      <p:spPr bwMode="gray">
                        <a:xfrm>
                          <a:off x="5802514" y="3888608"/>
                          <a:ext cx="25200" cy="25200"/>
                        </a:xfrm>
                        <a:prstGeom prst="ellipse">
                          <a:avLst/>
                        </a:pr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2">
                              <a:lumMod val="50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pic>
                  <p:nvPicPr>
                    <p:cNvPr id="1259" name="Grafik 1440" descr="Frau">
                      <a:extLst>
                        <a:ext uri="{FF2B5EF4-FFF2-40B4-BE49-F238E27FC236}">
                          <a16:creationId xmlns:a16="http://schemas.microsoft.com/office/drawing/2014/main" id="{4783C967-21CC-4EB9-A29C-4751A32E1B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0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108"/>
                        </a:ext>
                      </a:extLst>
                    </a:blip>
                    <a:stretch>
                      <a:fillRect/>
                    </a:stretch>
                  </p:blipFill>
                  <p:spPr bwMode="gray">
                    <a:xfrm>
                      <a:off x="5981732" y="3674230"/>
                      <a:ext cx="360000" cy="360000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914" name="Gruppieren 1384">
                    <a:extLst>
                      <a:ext uri="{FF2B5EF4-FFF2-40B4-BE49-F238E27FC236}">
                        <a16:creationId xmlns:a16="http://schemas.microsoft.com/office/drawing/2014/main" id="{1E975491-3FCB-494C-8CE6-F23C1AF2F6E1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164010" y="4092913"/>
                    <a:ext cx="1105804" cy="540000"/>
                    <a:chOff x="1933200" y="4090532"/>
                    <a:chExt cx="1105804" cy="540000"/>
                  </a:xfrm>
                </p:grpSpPr>
                <p:grpSp>
                  <p:nvGrpSpPr>
                    <p:cNvPr id="1214" name="Gruppieren 1391">
                      <a:extLst>
                        <a:ext uri="{FF2B5EF4-FFF2-40B4-BE49-F238E27FC236}">
                          <a16:creationId xmlns:a16="http://schemas.microsoft.com/office/drawing/2014/main" id="{25597501-F56F-4BE6-A8C9-3FDE8BD735C0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3200" y="4090532"/>
                      <a:ext cx="1105804" cy="540000"/>
                      <a:chOff x="1930364" y="4170823"/>
                      <a:chExt cx="1105804" cy="555764"/>
                    </a:xfrm>
                  </p:grpSpPr>
                  <p:sp>
                    <p:nvSpPr>
                      <p:cNvPr id="1255" name="Rectangle 682">
                        <a:extLst>
                          <a:ext uri="{FF2B5EF4-FFF2-40B4-BE49-F238E27FC236}">
                            <a16:creationId xmlns:a16="http://schemas.microsoft.com/office/drawing/2014/main" id="{79A771E8-849A-4A52-BA8D-0F653A13F97A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170823"/>
                        <a:ext cx="1105804" cy="529578"/>
                      </a:xfrm>
                      <a:prstGeom prst="rect">
                        <a:avLst/>
                      </a:prstGeom>
                      <a:solidFill>
                        <a:srgbClr val="6E7D8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256" name="Rectangle 690">
                        <a:extLst>
                          <a:ext uri="{FF2B5EF4-FFF2-40B4-BE49-F238E27FC236}">
                            <a16:creationId xmlns:a16="http://schemas.microsoft.com/office/drawing/2014/main" id="{0C09E128-BCFA-413F-8BDE-CDFECC0D7224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699172"/>
                        <a:ext cx="1105804" cy="27415"/>
                      </a:xfrm>
                      <a:prstGeom prst="rect">
                        <a:avLst/>
                      </a:pr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sp>
                    <p:nvSpPr>
                      <p:cNvPr id="1257" name="Rectangle 690">
                        <a:extLst>
                          <a:ext uri="{FF2B5EF4-FFF2-40B4-BE49-F238E27FC236}">
                            <a16:creationId xmlns:a16="http://schemas.microsoft.com/office/drawing/2014/main" id="{BE562235-20B2-4BC0-93B3-3D3BF8332B03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gray">
                      <a:xfrm>
                        <a:off x="1930364" y="4174356"/>
                        <a:ext cx="1105804" cy="27415"/>
                      </a:xfrm>
                      <a:prstGeom prst="rect">
                        <a:avLst/>
                      </a:prstGeom>
                      <a:solidFill>
                        <a:srgbClr val="535E6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</p:grpSp>
                <p:grpSp>
                  <p:nvGrpSpPr>
                    <p:cNvPr id="1215" name="Gruppieren 1392">
                      <a:extLst>
                        <a:ext uri="{FF2B5EF4-FFF2-40B4-BE49-F238E27FC236}">
                          <a16:creationId xmlns:a16="http://schemas.microsoft.com/office/drawing/2014/main" id="{4632BA17-88FD-4978-B25A-08730BAD5DAE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933200" y="4101587"/>
                      <a:ext cx="1105200" cy="503777"/>
                      <a:chOff x="1930364" y="4197010"/>
                      <a:chExt cx="1111598" cy="503777"/>
                    </a:xfrm>
                  </p:grpSpPr>
                  <p:grpSp>
                    <p:nvGrpSpPr>
                      <p:cNvPr id="1216" name="Gruppierung 3">
                        <a:extLst>
                          <a:ext uri="{FF2B5EF4-FFF2-40B4-BE49-F238E27FC236}">
                            <a16:creationId xmlns:a16="http://schemas.microsoft.com/office/drawing/2014/main" id="{2B8824C8-F33D-4323-A917-AEFEAFD17F93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035993" y="4533075"/>
                        <a:ext cx="189802" cy="167712"/>
                        <a:chOff x="1912608" y="6157531"/>
                        <a:chExt cx="325324" cy="264866"/>
                      </a:xfrm>
                    </p:grpSpPr>
                    <p:sp>
                      <p:nvSpPr>
                        <p:cNvPr id="1248" name="Rectangle 683">
                          <a:extLst>
                            <a:ext uri="{FF2B5EF4-FFF2-40B4-BE49-F238E27FC236}">
                              <a16:creationId xmlns:a16="http://schemas.microsoft.com/office/drawing/2014/main" id="{5D93CD5E-D8EC-4862-AEF8-ADDAA5815662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77673" y="6379101"/>
                          <a:ext cx="124471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9" name="Rectangle 684">
                          <a:extLst>
                            <a:ext uri="{FF2B5EF4-FFF2-40B4-BE49-F238E27FC236}">
                              <a16:creationId xmlns:a16="http://schemas.microsoft.com/office/drawing/2014/main" id="{069EC722-B700-4C41-9E3C-3F5D699430B7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77673" y="6267043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50" name="Rectangle 685">
                          <a:extLst>
                            <a:ext uri="{FF2B5EF4-FFF2-40B4-BE49-F238E27FC236}">
                              <a16:creationId xmlns:a16="http://schemas.microsoft.com/office/drawing/2014/main" id="{7DF15878-83E8-479D-8C51-2E2A9B63E44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116289" y="6267043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51" name="Rectangle 686">
                          <a:extLst>
                            <a:ext uri="{FF2B5EF4-FFF2-40B4-BE49-F238E27FC236}">
                              <a16:creationId xmlns:a16="http://schemas.microsoft.com/office/drawing/2014/main" id="{29348FA1-F836-43AC-8802-9F904096750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048396" y="6323071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52" name="Rectangle 687">
                          <a:extLst>
                            <a:ext uri="{FF2B5EF4-FFF2-40B4-BE49-F238E27FC236}">
                              <a16:creationId xmlns:a16="http://schemas.microsoft.com/office/drawing/2014/main" id="{A5F3E4B8-A30E-4369-8C8B-E4F870F4DF54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048396" y="6211013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53" name="Rectangle 688">
                          <a:extLst>
                            <a:ext uri="{FF2B5EF4-FFF2-40B4-BE49-F238E27FC236}">
                              <a16:creationId xmlns:a16="http://schemas.microsoft.com/office/drawing/2014/main" id="{11BC23EE-328A-4654-B0CC-D28CD2129DA8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80501" y="6157531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54" name="Rectangle 689">
                          <a:extLst>
                            <a:ext uri="{FF2B5EF4-FFF2-40B4-BE49-F238E27FC236}">
                              <a16:creationId xmlns:a16="http://schemas.microsoft.com/office/drawing/2014/main" id="{91F0895E-C975-4E69-995B-8C382134A37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1912608" y="6323071"/>
                          <a:ext cx="124471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217" name="Gruppierung 2">
                        <a:extLst>
                          <a:ext uri="{FF2B5EF4-FFF2-40B4-BE49-F238E27FC236}">
                            <a16:creationId xmlns:a16="http://schemas.microsoft.com/office/drawing/2014/main" id="{75B9A0E2-2A50-4540-A5F0-1AFA63BC03EF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793552" y="4281508"/>
                        <a:ext cx="191453" cy="167712"/>
                        <a:chOff x="3211074" y="5760234"/>
                        <a:chExt cx="328153" cy="264866"/>
                      </a:xfrm>
                    </p:grpSpPr>
                    <p:sp>
                      <p:nvSpPr>
                        <p:cNvPr id="1241" name="Rectangle 717">
                          <a:extLst>
                            <a:ext uri="{FF2B5EF4-FFF2-40B4-BE49-F238E27FC236}">
                              <a16:creationId xmlns:a16="http://schemas.microsoft.com/office/drawing/2014/main" id="{EA781F79-275B-4CBF-BFA6-B7A7319BD2A9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9691" y="5760234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2" name="Rectangle 718">
                          <a:extLst>
                            <a:ext uri="{FF2B5EF4-FFF2-40B4-BE49-F238E27FC236}">
                              <a16:creationId xmlns:a16="http://schemas.microsoft.com/office/drawing/2014/main" id="{A7E7B9BF-E4F3-4D8C-BFFB-1BA84A08676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9691" y="5872292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3" name="Rectangle 719">
                          <a:extLst>
                            <a:ext uri="{FF2B5EF4-FFF2-40B4-BE49-F238E27FC236}">
                              <a16:creationId xmlns:a16="http://schemas.microsoft.com/office/drawing/2014/main" id="{6F72EE88-A16F-4C02-A33B-377060A32751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11074" y="5872292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4" name="Rectangle 720">
                          <a:extLst>
                            <a:ext uri="{FF2B5EF4-FFF2-40B4-BE49-F238E27FC236}">
                              <a16:creationId xmlns:a16="http://schemas.microsoft.com/office/drawing/2014/main" id="{29783E64-C5A1-43BF-83A8-BB8EB527090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81798" y="5816264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5" name="Rectangle 721">
                          <a:extLst>
                            <a:ext uri="{FF2B5EF4-FFF2-40B4-BE49-F238E27FC236}">
                              <a16:creationId xmlns:a16="http://schemas.microsoft.com/office/drawing/2014/main" id="{6016D14A-043C-4445-891B-68D141DA80D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281798" y="5928322"/>
                          <a:ext cx="121643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6" name="Rectangle 722">
                          <a:extLst>
                            <a:ext uri="{FF2B5EF4-FFF2-40B4-BE49-F238E27FC236}">
                              <a16:creationId xmlns:a16="http://schemas.microsoft.com/office/drawing/2014/main" id="{87894062-A8E7-4C6B-9CF1-19EC779540BE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346861" y="5981804"/>
                          <a:ext cx="121643" cy="43296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47" name="Rectangle 723">
                          <a:extLst>
                            <a:ext uri="{FF2B5EF4-FFF2-40B4-BE49-F238E27FC236}">
                              <a16:creationId xmlns:a16="http://schemas.microsoft.com/office/drawing/2014/main" id="{5B939E5A-FFC2-44BE-91E3-3561042E444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414756" y="5816264"/>
                          <a:ext cx="124471" cy="45842"/>
                        </a:xfrm>
                        <a:prstGeom prst="rect">
                          <a:avLst/>
                        </a:prstGeom>
                        <a:solidFill>
                          <a:srgbClr val="8592A1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grpSp>
                    <p:nvGrpSpPr>
                      <p:cNvPr id="1218" name="Gruppierung 32">
                        <a:extLst>
                          <a:ext uri="{FF2B5EF4-FFF2-40B4-BE49-F238E27FC236}">
                            <a16:creationId xmlns:a16="http://schemas.microsoft.com/office/drawing/2014/main" id="{512F72B5-14FE-44D9-90D6-5FD12B28A2A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0364" y="4197010"/>
                        <a:ext cx="696490" cy="390405"/>
                        <a:chOff x="1731558" y="5523385"/>
                        <a:chExt cx="1193795" cy="730924"/>
                      </a:xfrm>
                    </p:grpSpPr>
                    <p:sp>
                      <p:nvSpPr>
                        <p:cNvPr id="1229" name="Freeform 695">
                          <a:extLst>
                            <a:ext uri="{FF2B5EF4-FFF2-40B4-BE49-F238E27FC236}">
                              <a16:creationId xmlns:a16="http://schemas.microsoft.com/office/drawing/2014/main" id="{776B1611-2AF8-4461-8BF9-9E33EECA73E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1731558" y="5907947"/>
                          <a:ext cx="1193795" cy="25468"/>
                        </a:xfrm>
                        <a:custGeom>
                          <a:avLst/>
                          <a:gdLst>
                            <a:gd name="T0" fmla="*/ 0 w 422"/>
                            <a:gd name="T1" fmla="*/ 1 h 10"/>
                            <a:gd name="T2" fmla="*/ 0 w 422"/>
                            <a:gd name="T3" fmla="*/ 10 h 10"/>
                            <a:gd name="T4" fmla="*/ 422 w 422"/>
                            <a:gd name="T5" fmla="*/ 10 h 10"/>
                            <a:gd name="T6" fmla="*/ 422 w 422"/>
                            <a:gd name="T7" fmla="*/ 0 h 10"/>
                            <a:gd name="T8" fmla="*/ 0 w 422"/>
                            <a:gd name="T9" fmla="*/ 1 h 1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</a:cxnLst>
                          <a:rect l="0" t="0" r="r" b="b"/>
                          <a:pathLst>
                            <a:path w="422" h="10">
                              <a:moveTo>
                                <a:pt x="0" y="1"/>
                              </a:moveTo>
                              <a:lnTo>
                                <a:pt x="0" y="10"/>
                              </a:lnTo>
                              <a:lnTo>
                                <a:pt x="422" y="10"/>
                              </a:lnTo>
                              <a:lnTo>
                                <a:pt x="422" y="0"/>
                              </a:lnTo>
                              <a:lnTo>
                                <a:pt x="0" y="1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30" name="Freeform 691">
                          <a:extLst>
                            <a:ext uri="{FF2B5EF4-FFF2-40B4-BE49-F238E27FC236}">
                              <a16:creationId xmlns:a16="http://schemas.microsoft.com/office/drawing/2014/main" id="{91880A2F-A906-40F4-A42C-A3F03E8D39F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215301" y="5920681"/>
                          <a:ext cx="248943" cy="333628"/>
                        </a:xfrm>
                        <a:custGeom>
                          <a:avLst/>
                          <a:gdLst>
                            <a:gd name="T0" fmla="*/ 11 w 109"/>
                            <a:gd name="T1" fmla="*/ 141 h 162"/>
                            <a:gd name="T2" fmla="*/ 11 w 109"/>
                            <a:gd name="T3" fmla="*/ 0 h 162"/>
                            <a:gd name="T4" fmla="*/ 0 w 109"/>
                            <a:gd name="T5" fmla="*/ 0 h 162"/>
                            <a:gd name="T6" fmla="*/ 0 w 109"/>
                            <a:gd name="T7" fmla="*/ 141 h 162"/>
                            <a:gd name="T8" fmla="*/ 21 w 109"/>
                            <a:gd name="T9" fmla="*/ 162 h 162"/>
                            <a:gd name="T10" fmla="*/ 109 w 109"/>
                            <a:gd name="T11" fmla="*/ 162 h 162"/>
                            <a:gd name="T12" fmla="*/ 109 w 109"/>
                            <a:gd name="T13" fmla="*/ 151 h 162"/>
                            <a:gd name="T14" fmla="*/ 21 w 109"/>
                            <a:gd name="T15" fmla="*/ 151 h 162"/>
                            <a:gd name="T16" fmla="*/ 11 w 109"/>
                            <a:gd name="T17" fmla="*/ 141 h 1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109" h="162">
                              <a:moveTo>
                                <a:pt x="11" y="141"/>
                              </a:move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141"/>
                                <a:pt x="0" y="141"/>
                                <a:pt x="0" y="141"/>
                              </a:cubicBezTo>
                              <a:cubicBezTo>
                                <a:pt x="0" y="153"/>
                                <a:pt x="9" y="162"/>
                                <a:pt x="21" y="162"/>
                              </a:cubicBezTo>
                              <a:cubicBezTo>
                                <a:pt x="109" y="162"/>
                                <a:pt x="109" y="162"/>
                                <a:pt x="109" y="162"/>
                              </a:cubicBezTo>
                              <a:cubicBezTo>
                                <a:pt x="109" y="151"/>
                                <a:pt x="109" y="151"/>
                                <a:pt x="109" y="151"/>
                              </a:cubicBezTo>
                              <a:cubicBezTo>
                                <a:pt x="21" y="151"/>
                                <a:pt x="21" y="151"/>
                                <a:pt x="21" y="151"/>
                              </a:cubicBezTo>
                              <a:cubicBezTo>
                                <a:pt x="16" y="151"/>
                                <a:pt x="11" y="146"/>
                                <a:pt x="11" y="14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31" name="Freeform 692">
                          <a:extLst>
                            <a:ext uri="{FF2B5EF4-FFF2-40B4-BE49-F238E27FC236}">
                              <a16:creationId xmlns:a16="http://schemas.microsoft.com/office/drawing/2014/main" id="{7C438EFD-C773-441D-9B57-5AE6832D84E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365234" y="5523385"/>
                          <a:ext cx="127302" cy="669802"/>
                        </a:xfrm>
                        <a:custGeom>
                          <a:avLst/>
                          <a:gdLst>
                            <a:gd name="T0" fmla="*/ 11 w 56"/>
                            <a:gd name="T1" fmla="*/ 304 h 325"/>
                            <a:gd name="T2" fmla="*/ 11 w 56"/>
                            <a:gd name="T3" fmla="*/ 0 h 325"/>
                            <a:gd name="T4" fmla="*/ 0 w 56"/>
                            <a:gd name="T5" fmla="*/ 0 h 325"/>
                            <a:gd name="T6" fmla="*/ 0 w 56"/>
                            <a:gd name="T7" fmla="*/ 304 h 325"/>
                            <a:gd name="T8" fmla="*/ 21 w 56"/>
                            <a:gd name="T9" fmla="*/ 325 h 325"/>
                            <a:gd name="T10" fmla="*/ 56 w 56"/>
                            <a:gd name="T11" fmla="*/ 325 h 325"/>
                            <a:gd name="T12" fmla="*/ 56 w 56"/>
                            <a:gd name="T13" fmla="*/ 314 h 325"/>
                            <a:gd name="T14" fmla="*/ 21 w 56"/>
                            <a:gd name="T15" fmla="*/ 314 h 325"/>
                            <a:gd name="T16" fmla="*/ 11 w 56"/>
                            <a:gd name="T17" fmla="*/ 304 h 3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56" h="325">
                              <a:moveTo>
                                <a:pt x="11" y="304"/>
                              </a:moveTo>
                              <a:cubicBezTo>
                                <a:pt x="11" y="0"/>
                                <a:pt x="11" y="0"/>
                                <a:pt x="11" y="0"/>
                              </a:cubicBez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304"/>
                                <a:pt x="0" y="304"/>
                                <a:pt x="0" y="304"/>
                              </a:cubicBezTo>
                              <a:cubicBezTo>
                                <a:pt x="0" y="315"/>
                                <a:pt x="9" y="325"/>
                                <a:pt x="21" y="325"/>
                              </a:cubicBezTo>
                              <a:cubicBezTo>
                                <a:pt x="56" y="325"/>
                                <a:pt x="56" y="325"/>
                                <a:pt x="56" y="325"/>
                              </a:cubicBezTo>
                              <a:cubicBezTo>
                                <a:pt x="56" y="314"/>
                                <a:pt x="56" y="314"/>
                                <a:pt x="56" y="314"/>
                              </a:cubicBezTo>
                              <a:cubicBezTo>
                                <a:pt x="21" y="314"/>
                                <a:pt x="21" y="314"/>
                                <a:pt x="21" y="314"/>
                              </a:cubicBezTo>
                              <a:cubicBezTo>
                                <a:pt x="16" y="314"/>
                                <a:pt x="11" y="309"/>
                                <a:pt x="11" y="304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grpSp>
                      <p:nvGrpSpPr>
                        <p:cNvPr id="1232" name="Gruppierung 31">
                          <a:extLst>
                            <a:ext uri="{FF2B5EF4-FFF2-40B4-BE49-F238E27FC236}">
                              <a16:creationId xmlns:a16="http://schemas.microsoft.com/office/drawing/2014/main" id="{95C692F8-E146-45DE-8E6B-C23182E1B33A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704702" y="5836638"/>
                          <a:ext cx="73548" cy="96778"/>
                          <a:chOff x="2704702" y="5836638"/>
                          <a:chExt cx="73548" cy="96778"/>
                        </a:xfrm>
                      </p:grpSpPr>
                      <p:sp>
                        <p:nvSpPr>
                          <p:cNvPr id="1238" name="Freeform 714">
                            <a:extLst>
                              <a:ext uri="{FF2B5EF4-FFF2-40B4-BE49-F238E27FC236}">
                                <a16:creationId xmlns:a16="http://schemas.microsoft.com/office/drawing/2014/main" id="{CF556491-E2E1-4AE7-A79F-8806C07FFA60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2707530" y="5841732"/>
                            <a:ext cx="16973" cy="91684"/>
                          </a:xfrm>
                          <a:custGeom>
                            <a:avLst/>
                            <a:gdLst>
                              <a:gd name="T0" fmla="*/ 4 w 8"/>
                              <a:gd name="T1" fmla="*/ 0 h 44"/>
                              <a:gd name="T2" fmla="*/ 0 w 8"/>
                              <a:gd name="T3" fmla="*/ 4 h 44"/>
                              <a:gd name="T4" fmla="*/ 0 w 8"/>
                              <a:gd name="T5" fmla="*/ 40 h 44"/>
                              <a:gd name="T6" fmla="*/ 4 w 8"/>
                              <a:gd name="T7" fmla="*/ 44 h 44"/>
                              <a:gd name="T8" fmla="*/ 8 w 8"/>
                              <a:gd name="T9" fmla="*/ 40 h 44"/>
                              <a:gd name="T10" fmla="*/ 8 w 8"/>
                              <a:gd name="T11" fmla="*/ 4 h 44"/>
                              <a:gd name="T12" fmla="*/ 4 w 8"/>
                              <a:gd name="T13" fmla="*/ 0 h 44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</a:cxnLst>
                            <a:rect l="0" t="0" r="r" b="b"/>
                            <a:pathLst>
                              <a:path w="8" h="44">
                                <a:moveTo>
                                  <a:pt x="4" y="0"/>
                                </a:moveTo>
                                <a:cubicBezTo>
                                  <a:pt x="2" y="0"/>
                                  <a:pt x="0" y="2"/>
                                  <a:pt x="0" y="4"/>
                                </a:cubicBezTo>
                                <a:cubicBezTo>
                                  <a:pt x="0" y="40"/>
                                  <a:pt x="0" y="40"/>
                                  <a:pt x="0" y="40"/>
                                </a:cubicBezTo>
                                <a:cubicBezTo>
                                  <a:pt x="0" y="42"/>
                                  <a:pt x="2" y="44"/>
                                  <a:pt x="4" y="44"/>
                                </a:cubicBezTo>
                                <a:cubicBezTo>
                                  <a:pt x="6" y="44"/>
                                  <a:pt x="8" y="42"/>
                                  <a:pt x="8" y="40"/>
                                </a:cubicBezTo>
                                <a:cubicBezTo>
                                  <a:pt x="8" y="4"/>
                                  <a:pt x="8" y="4"/>
                                  <a:pt x="8" y="4"/>
                                </a:cubicBezTo>
                                <a:cubicBezTo>
                                  <a:pt x="8" y="2"/>
                                  <a:pt x="6" y="0"/>
                                  <a:pt x="4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535E6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39" name="Freeform 715">
                            <a:extLst>
                              <a:ext uri="{FF2B5EF4-FFF2-40B4-BE49-F238E27FC236}">
                                <a16:creationId xmlns:a16="http://schemas.microsoft.com/office/drawing/2014/main" id="{C7C63A71-06AD-431A-B437-2565907F3E48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2716015" y="5839186"/>
                            <a:ext cx="62235" cy="15281"/>
                          </a:xfrm>
                          <a:custGeom>
                            <a:avLst/>
                            <a:gdLst>
                              <a:gd name="T0" fmla="*/ 23 w 27"/>
                              <a:gd name="T1" fmla="*/ 0 h 8"/>
                              <a:gd name="T2" fmla="*/ 5 w 27"/>
                              <a:gd name="T3" fmla="*/ 0 h 8"/>
                              <a:gd name="T4" fmla="*/ 0 w 27"/>
                              <a:gd name="T5" fmla="*/ 4 h 8"/>
                              <a:gd name="T6" fmla="*/ 5 w 27"/>
                              <a:gd name="T7" fmla="*/ 8 h 8"/>
                              <a:gd name="T8" fmla="*/ 23 w 27"/>
                              <a:gd name="T9" fmla="*/ 8 h 8"/>
                              <a:gd name="T10" fmla="*/ 27 w 27"/>
                              <a:gd name="T11" fmla="*/ 4 h 8"/>
                              <a:gd name="T12" fmla="*/ 23 w 27"/>
                              <a:gd name="T13" fmla="*/ 0 h 8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</a:cxnLst>
                            <a:rect l="0" t="0" r="r" b="b"/>
                            <a:pathLst>
                              <a:path w="27" h="8">
                                <a:moveTo>
                                  <a:pt x="23" y="0"/>
                                </a:moveTo>
                                <a:cubicBezTo>
                                  <a:pt x="5" y="0"/>
                                  <a:pt x="5" y="0"/>
                                  <a:pt x="5" y="0"/>
                                </a:cubicBezTo>
                                <a:cubicBezTo>
                                  <a:pt x="2" y="0"/>
                                  <a:pt x="0" y="2"/>
                                  <a:pt x="0" y="4"/>
                                </a:cubicBezTo>
                                <a:cubicBezTo>
                                  <a:pt x="0" y="6"/>
                                  <a:pt x="2" y="8"/>
                                  <a:pt x="5" y="8"/>
                                </a:cubicBezTo>
                                <a:cubicBezTo>
                                  <a:pt x="23" y="8"/>
                                  <a:pt x="23" y="8"/>
                                  <a:pt x="23" y="8"/>
                                </a:cubicBezTo>
                                <a:cubicBezTo>
                                  <a:pt x="25" y="8"/>
                                  <a:pt x="27" y="6"/>
                                  <a:pt x="27" y="4"/>
                                </a:cubicBezTo>
                                <a:cubicBezTo>
                                  <a:pt x="27" y="2"/>
                                  <a:pt x="25" y="0"/>
                                  <a:pt x="23" y="0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535E6B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1240" name="Oval 716">
                            <a:extLst>
                              <a:ext uri="{FF2B5EF4-FFF2-40B4-BE49-F238E27FC236}">
                                <a16:creationId xmlns:a16="http://schemas.microsoft.com/office/drawing/2014/main" id="{3703D850-9A1B-46FD-B909-BE1F4D0C3D77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2704702" y="5836638"/>
                            <a:ext cx="22632" cy="20375"/>
                          </a:xfrm>
                          <a:prstGeom prst="ellipse">
                            <a:avLst/>
                          </a:prstGeom>
                          <a:solidFill>
                            <a:srgbClr val="C2C8D0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1233" name="Gruppierung 25">
                          <a:extLst>
                            <a:ext uri="{FF2B5EF4-FFF2-40B4-BE49-F238E27FC236}">
                              <a16:creationId xmlns:a16="http://schemas.microsoft.com/office/drawing/2014/main" id="{65DA31FC-7655-4A7E-8D69-CAB3EC3370EF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098666" y="5907947"/>
                          <a:ext cx="74201" cy="96778"/>
                          <a:chOff x="2098666" y="5907947"/>
                          <a:chExt cx="74201" cy="96778"/>
                        </a:xfrm>
                      </p:grpSpPr>
                      <p:grpSp>
                        <p:nvGrpSpPr>
                          <p:cNvPr id="1234" name="Gruppierung 21">
                            <a:extLst>
                              <a:ext uri="{FF2B5EF4-FFF2-40B4-BE49-F238E27FC236}">
                                <a16:creationId xmlns:a16="http://schemas.microsoft.com/office/drawing/2014/main" id="{CD450925-0206-4D8B-A28C-05D428D21D27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2098666" y="5907947"/>
                            <a:ext cx="67895" cy="94231"/>
                            <a:chOff x="2099316" y="5907947"/>
                            <a:chExt cx="67895" cy="94231"/>
                          </a:xfrm>
                        </p:grpSpPr>
                        <p:sp>
                          <p:nvSpPr>
                            <p:cNvPr id="1236" name="Freeform 711">
                              <a:extLst>
                                <a:ext uri="{FF2B5EF4-FFF2-40B4-BE49-F238E27FC236}">
                                  <a16:creationId xmlns:a16="http://schemas.microsoft.com/office/drawing/2014/main" id="{F6A89B7E-6DD9-4F82-BBD8-B8283B7D5757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2153066" y="5907947"/>
                              <a:ext cx="14145" cy="91684"/>
                            </a:xfrm>
                            <a:custGeom>
                              <a:avLst/>
                              <a:gdLst>
                                <a:gd name="T0" fmla="*/ 4 w 7"/>
                                <a:gd name="T1" fmla="*/ 0 h 44"/>
                                <a:gd name="T2" fmla="*/ 0 w 7"/>
                                <a:gd name="T3" fmla="*/ 4 h 44"/>
                                <a:gd name="T4" fmla="*/ 0 w 7"/>
                                <a:gd name="T5" fmla="*/ 40 h 44"/>
                                <a:gd name="T6" fmla="*/ 4 w 7"/>
                                <a:gd name="T7" fmla="*/ 44 h 44"/>
                                <a:gd name="T8" fmla="*/ 7 w 7"/>
                                <a:gd name="T9" fmla="*/ 40 h 44"/>
                                <a:gd name="T10" fmla="*/ 7 w 7"/>
                                <a:gd name="T11" fmla="*/ 4 h 44"/>
                                <a:gd name="T12" fmla="*/ 4 w 7"/>
                                <a:gd name="T13" fmla="*/ 0 h 4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</a:cxnLst>
                              <a:rect l="0" t="0" r="r" b="b"/>
                              <a:pathLst>
                                <a:path w="7" h="44">
                                  <a:moveTo>
                                    <a:pt x="4" y="0"/>
                                  </a:moveTo>
                                  <a:cubicBezTo>
                                    <a:pt x="2" y="0"/>
                                    <a:pt x="0" y="2"/>
                                    <a:pt x="0" y="4"/>
                                  </a:cubicBezTo>
                                  <a:cubicBezTo>
                                    <a:pt x="0" y="40"/>
                                    <a:pt x="0" y="40"/>
                                    <a:pt x="0" y="40"/>
                                  </a:cubicBezTo>
                                  <a:cubicBezTo>
                                    <a:pt x="0" y="42"/>
                                    <a:pt x="2" y="44"/>
                                    <a:pt x="4" y="44"/>
                                  </a:cubicBezTo>
                                  <a:cubicBezTo>
                                    <a:pt x="6" y="44"/>
                                    <a:pt x="7" y="42"/>
                                    <a:pt x="7" y="40"/>
                                  </a:cubicBezTo>
                                  <a:cubicBezTo>
                                    <a:pt x="7" y="4"/>
                                    <a:pt x="7" y="4"/>
                                    <a:pt x="7" y="4"/>
                                  </a:cubicBezTo>
                                  <a:cubicBezTo>
                                    <a:pt x="7" y="2"/>
                                    <a:pt x="6" y="0"/>
                                    <a:pt x="4" y="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535E6B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237" name="Freeform 712">
                              <a:extLst>
                                <a:ext uri="{FF2B5EF4-FFF2-40B4-BE49-F238E27FC236}">
                                  <a16:creationId xmlns:a16="http://schemas.microsoft.com/office/drawing/2014/main" id="{FA13E4CB-9225-4424-936D-5D9DBE4F8141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2099316" y="5986897"/>
                              <a:ext cx="59407" cy="15281"/>
                            </a:xfrm>
                            <a:custGeom>
                              <a:avLst/>
                              <a:gdLst>
                                <a:gd name="T0" fmla="*/ 22 w 26"/>
                                <a:gd name="T1" fmla="*/ 0 h 8"/>
                                <a:gd name="T2" fmla="*/ 4 w 26"/>
                                <a:gd name="T3" fmla="*/ 0 h 8"/>
                                <a:gd name="T4" fmla="*/ 0 w 26"/>
                                <a:gd name="T5" fmla="*/ 4 h 8"/>
                                <a:gd name="T6" fmla="*/ 4 w 26"/>
                                <a:gd name="T7" fmla="*/ 8 h 8"/>
                                <a:gd name="T8" fmla="*/ 22 w 26"/>
                                <a:gd name="T9" fmla="*/ 8 h 8"/>
                                <a:gd name="T10" fmla="*/ 26 w 26"/>
                                <a:gd name="T11" fmla="*/ 4 h 8"/>
                                <a:gd name="T12" fmla="*/ 22 w 26"/>
                                <a:gd name="T13" fmla="*/ 0 h 8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</a:cxnLst>
                              <a:rect l="0" t="0" r="r" b="b"/>
                              <a:pathLst>
                                <a:path w="26" h="8">
                                  <a:moveTo>
                                    <a:pt x="22" y="0"/>
                                  </a:moveTo>
                                  <a:cubicBezTo>
                                    <a:pt x="4" y="0"/>
                                    <a:pt x="4" y="0"/>
                                    <a:pt x="4" y="0"/>
                                  </a:cubicBezTo>
                                  <a:cubicBezTo>
                                    <a:pt x="2" y="0"/>
                                    <a:pt x="0" y="2"/>
                                    <a:pt x="0" y="4"/>
                                  </a:cubicBezTo>
                                  <a:cubicBezTo>
                                    <a:pt x="0" y="6"/>
                                    <a:pt x="2" y="8"/>
                                    <a:pt x="4" y="8"/>
                                  </a:cubicBezTo>
                                  <a:cubicBezTo>
                                    <a:pt x="22" y="8"/>
                                    <a:pt x="22" y="8"/>
                                    <a:pt x="22" y="8"/>
                                  </a:cubicBezTo>
                                  <a:cubicBezTo>
                                    <a:pt x="24" y="8"/>
                                    <a:pt x="26" y="6"/>
                                    <a:pt x="26" y="4"/>
                                  </a:cubicBezTo>
                                  <a:cubicBezTo>
                                    <a:pt x="26" y="2"/>
                                    <a:pt x="24" y="0"/>
                                    <a:pt x="22" y="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535E6B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1235" name="Oval 713">
                            <a:extLst>
                              <a:ext uri="{FF2B5EF4-FFF2-40B4-BE49-F238E27FC236}">
                                <a16:creationId xmlns:a16="http://schemas.microsoft.com/office/drawing/2014/main" id="{BF32B191-CC09-4E23-AEB2-B426FC3D2BCF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2147407" y="5984350"/>
                            <a:ext cx="25460" cy="20375"/>
                          </a:xfrm>
                          <a:prstGeom prst="ellipse">
                            <a:avLst/>
                          </a:prstGeom>
                          <a:solidFill>
                            <a:srgbClr val="C2C8D0"/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1219" name="Gruppierung 30">
                        <a:extLst>
                          <a:ext uri="{FF2B5EF4-FFF2-40B4-BE49-F238E27FC236}">
                            <a16:creationId xmlns:a16="http://schemas.microsoft.com/office/drawing/2014/main" id="{A93178AC-ABBE-473B-BF99-40F8E3B3CAEA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932198" y="4227997"/>
                        <a:ext cx="1109764" cy="258145"/>
                        <a:chOff x="1731558" y="5564134"/>
                        <a:chExt cx="1895364" cy="466058"/>
                      </a:xfrm>
                    </p:grpSpPr>
                    <p:sp>
                      <p:nvSpPr>
                        <p:cNvPr id="1223" name="Freeform 693">
                          <a:extLst>
                            <a:ext uri="{FF2B5EF4-FFF2-40B4-BE49-F238E27FC236}">
                              <a16:creationId xmlns:a16="http://schemas.microsoft.com/office/drawing/2014/main" id="{2B31471A-580E-46E2-BCDB-AA57112DB51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1731558" y="5564134"/>
                          <a:ext cx="1323925" cy="185914"/>
                        </a:xfrm>
                        <a:custGeom>
                          <a:avLst/>
                          <a:gdLst>
                            <a:gd name="T0" fmla="*/ 561 w 579"/>
                            <a:gd name="T1" fmla="*/ 45 h 90"/>
                            <a:gd name="T2" fmla="*/ 0 w 579"/>
                            <a:gd name="T3" fmla="*/ 0 h 90"/>
                            <a:gd name="T4" fmla="*/ 0 w 579"/>
                            <a:gd name="T5" fmla="*/ 12 h 90"/>
                            <a:gd name="T6" fmla="*/ 560 w 579"/>
                            <a:gd name="T7" fmla="*/ 56 h 90"/>
                            <a:gd name="T8" fmla="*/ 568 w 579"/>
                            <a:gd name="T9" fmla="*/ 65 h 90"/>
                            <a:gd name="T10" fmla="*/ 568 w 579"/>
                            <a:gd name="T11" fmla="*/ 90 h 90"/>
                            <a:gd name="T12" fmla="*/ 579 w 579"/>
                            <a:gd name="T13" fmla="*/ 90 h 90"/>
                            <a:gd name="T14" fmla="*/ 579 w 579"/>
                            <a:gd name="T15" fmla="*/ 65 h 90"/>
                            <a:gd name="T16" fmla="*/ 561 w 579"/>
                            <a:gd name="T17" fmla="*/ 45 h 9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579" h="90">
                              <a:moveTo>
                                <a:pt x="561" y="45"/>
                              </a:moveTo>
                              <a:cubicBezTo>
                                <a:pt x="0" y="0"/>
                                <a:pt x="0" y="0"/>
                                <a:pt x="0" y="0"/>
                              </a:cubicBezTo>
                              <a:cubicBezTo>
                                <a:pt x="0" y="12"/>
                                <a:pt x="0" y="12"/>
                                <a:pt x="0" y="12"/>
                              </a:cubicBezTo>
                              <a:cubicBezTo>
                                <a:pt x="560" y="56"/>
                                <a:pt x="560" y="56"/>
                                <a:pt x="560" y="56"/>
                              </a:cubicBezTo>
                              <a:cubicBezTo>
                                <a:pt x="564" y="57"/>
                                <a:pt x="568" y="60"/>
                                <a:pt x="568" y="65"/>
                              </a:cubicBezTo>
                              <a:cubicBezTo>
                                <a:pt x="568" y="90"/>
                                <a:pt x="568" y="90"/>
                                <a:pt x="568" y="90"/>
                              </a:cubicBezTo>
                              <a:cubicBezTo>
                                <a:pt x="579" y="90"/>
                                <a:pt x="579" y="90"/>
                                <a:pt x="579" y="90"/>
                              </a:cubicBezTo>
                              <a:cubicBezTo>
                                <a:pt x="579" y="65"/>
                                <a:pt x="579" y="65"/>
                                <a:pt x="579" y="65"/>
                              </a:cubicBezTo>
                              <a:cubicBezTo>
                                <a:pt x="579" y="55"/>
                                <a:pt x="571" y="46"/>
                                <a:pt x="561" y="45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BEC4CC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24" name="Rectangle 694">
                          <a:extLst>
                            <a:ext uri="{FF2B5EF4-FFF2-40B4-BE49-F238E27FC236}">
                              <a16:creationId xmlns:a16="http://schemas.microsoft.com/office/drawing/2014/main" id="{6101CE86-8C4B-4172-91D2-57A81FA8F8C6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030024" y="5719487"/>
                          <a:ext cx="25460" cy="30561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25" name="Freeform 696">
                          <a:extLst>
                            <a:ext uri="{FF2B5EF4-FFF2-40B4-BE49-F238E27FC236}">
                              <a16:creationId xmlns:a16="http://schemas.microsoft.com/office/drawing/2014/main" id="{05BD780F-3078-4ED3-BE2B-812AAC35B68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515164" y="5617616"/>
                          <a:ext cx="373414" cy="412576"/>
                        </a:xfrm>
                        <a:custGeom>
                          <a:avLst/>
                          <a:gdLst>
                            <a:gd name="T0" fmla="*/ 0 w 163"/>
                            <a:gd name="T1" fmla="*/ 39 h 200"/>
                            <a:gd name="T2" fmla="*/ 0 w 163"/>
                            <a:gd name="T3" fmla="*/ 200 h 200"/>
                            <a:gd name="T4" fmla="*/ 22 w 163"/>
                            <a:gd name="T5" fmla="*/ 200 h 200"/>
                            <a:gd name="T6" fmla="*/ 22 w 163"/>
                            <a:gd name="T7" fmla="*/ 39 h 200"/>
                            <a:gd name="T8" fmla="*/ 41 w 163"/>
                            <a:gd name="T9" fmla="*/ 22 h 200"/>
                            <a:gd name="T10" fmla="*/ 163 w 163"/>
                            <a:gd name="T11" fmla="*/ 22 h 200"/>
                            <a:gd name="T12" fmla="*/ 163 w 163"/>
                            <a:gd name="T13" fmla="*/ 0 h 200"/>
                            <a:gd name="T14" fmla="*/ 41 w 163"/>
                            <a:gd name="T15" fmla="*/ 0 h 200"/>
                            <a:gd name="T16" fmla="*/ 0 w 163"/>
                            <a:gd name="T17" fmla="*/ 39 h 20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163" h="200">
                              <a:moveTo>
                                <a:pt x="0" y="39"/>
                              </a:moveTo>
                              <a:cubicBezTo>
                                <a:pt x="0" y="200"/>
                                <a:pt x="0" y="200"/>
                                <a:pt x="0" y="200"/>
                              </a:cubicBezTo>
                              <a:cubicBezTo>
                                <a:pt x="22" y="200"/>
                                <a:pt x="22" y="200"/>
                                <a:pt x="22" y="200"/>
                              </a:cubicBezTo>
                              <a:cubicBezTo>
                                <a:pt x="22" y="39"/>
                                <a:pt x="22" y="39"/>
                                <a:pt x="22" y="39"/>
                              </a:cubicBezTo>
                              <a:cubicBezTo>
                                <a:pt x="22" y="30"/>
                                <a:pt x="31" y="22"/>
                                <a:pt x="41" y="22"/>
                              </a:cubicBezTo>
                              <a:cubicBezTo>
                                <a:pt x="163" y="22"/>
                                <a:pt x="163" y="22"/>
                                <a:pt x="163" y="22"/>
                              </a:cubicBezTo>
                              <a:cubicBezTo>
                                <a:pt x="163" y="0"/>
                                <a:pt x="163" y="0"/>
                                <a:pt x="163" y="0"/>
                              </a:cubicBezTo>
                              <a:cubicBezTo>
                                <a:pt x="41" y="0"/>
                                <a:pt x="41" y="0"/>
                                <a:pt x="41" y="0"/>
                              </a:cubicBezTo>
                              <a:cubicBezTo>
                                <a:pt x="18" y="0"/>
                                <a:pt x="0" y="17"/>
                                <a:pt x="0" y="3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EFF1F3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26" name="Freeform 697">
                          <a:extLst>
                            <a:ext uri="{FF2B5EF4-FFF2-40B4-BE49-F238E27FC236}">
                              <a16:creationId xmlns:a16="http://schemas.microsoft.com/office/drawing/2014/main" id="{91978C52-DCAB-49C7-A639-044B60FDD86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gray">
                        <a:xfrm>
                          <a:off x="2600032" y="5617616"/>
                          <a:ext cx="1026890" cy="407483"/>
                        </a:xfrm>
                        <a:custGeom>
                          <a:avLst/>
                          <a:gdLst>
                            <a:gd name="T0" fmla="*/ 0 w 450"/>
                            <a:gd name="T1" fmla="*/ 39 h 198"/>
                            <a:gd name="T2" fmla="*/ 0 w 450"/>
                            <a:gd name="T3" fmla="*/ 198 h 198"/>
                            <a:gd name="T4" fmla="*/ 23 w 450"/>
                            <a:gd name="T5" fmla="*/ 198 h 198"/>
                            <a:gd name="T6" fmla="*/ 23 w 450"/>
                            <a:gd name="T7" fmla="*/ 39 h 198"/>
                            <a:gd name="T8" fmla="*/ 41 w 450"/>
                            <a:gd name="T9" fmla="*/ 22 h 198"/>
                            <a:gd name="T10" fmla="*/ 450 w 450"/>
                            <a:gd name="T11" fmla="*/ 22 h 198"/>
                            <a:gd name="T12" fmla="*/ 450 w 450"/>
                            <a:gd name="T13" fmla="*/ 0 h 198"/>
                            <a:gd name="T14" fmla="*/ 41 w 450"/>
                            <a:gd name="T15" fmla="*/ 0 h 198"/>
                            <a:gd name="T16" fmla="*/ 0 w 450"/>
                            <a:gd name="T17" fmla="*/ 39 h 19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50" h="198">
                              <a:moveTo>
                                <a:pt x="0" y="39"/>
                              </a:moveTo>
                              <a:cubicBezTo>
                                <a:pt x="0" y="198"/>
                                <a:pt x="0" y="198"/>
                                <a:pt x="0" y="198"/>
                              </a:cubicBezTo>
                              <a:cubicBezTo>
                                <a:pt x="23" y="198"/>
                                <a:pt x="23" y="198"/>
                                <a:pt x="23" y="198"/>
                              </a:cubicBezTo>
                              <a:cubicBezTo>
                                <a:pt x="23" y="39"/>
                                <a:pt x="23" y="39"/>
                                <a:pt x="23" y="39"/>
                              </a:cubicBezTo>
                              <a:cubicBezTo>
                                <a:pt x="23" y="30"/>
                                <a:pt x="31" y="22"/>
                                <a:pt x="41" y="22"/>
                              </a:cubicBezTo>
                              <a:cubicBezTo>
                                <a:pt x="450" y="22"/>
                                <a:pt x="450" y="22"/>
                                <a:pt x="450" y="22"/>
                              </a:cubicBezTo>
                              <a:cubicBezTo>
                                <a:pt x="450" y="0"/>
                                <a:pt x="450" y="0"/>
                                <a:pt x="450" y="0"/>
                              </a:cubicBezTo>
                              <a:cubicBezTo>
                                <a:pt x="41" y="0"/>
                                <a:pt x="41" y="0"/>
                                <a:pt x="41" y="0"/>
                              </a:cubicBezTo>
                              <a:cubicBezTo>
                                <a:pt x="18" y="0"/>
                                <a:pt x="0" y="17"/>
                                <a:pt x="0" y="39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EFF1F3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27" name="Rectangle 698">
                          <a:extLst>
                            <a:ext uri="{FF2B5EF4-FFF2-40B4-BE49-F238E27FC236}">
                              <a16:creationId xmlns:a16="http://schemas.microsoft.com/office/drawing/2014/main" id="{AD23E06E-CB06-4A0D-979C-4CB67DD4763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600032" y="6004724"/>
                          <a:ext cx="53750" cy="20375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28" name="Rectangle 699">
                          <a:extLst>
                            <a:ext uri="{FF2B5EF4-FFF2-40B4-BE49-F238E27FC236}">
                              <a16:creationId xmlns:a16="http://schemas.microsoft.com/office/drawing/2014/main" id="{7F9ED76B-5C6D-4AF6-899B-C011B884318D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2515164" y="6004724"/>
                          <a:ext cx="50920" cy="20375"/>
                        </a:xfrm>
                        <a:prstGeom prst="rect">
                          <a:avLst/>
                        </a:prstGeom>
                        <a:solidFill>
                          <a:srgbClr val="535E6B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  <p:pic>
                    <p:nvPicPr>
                      <p:cNvPr id="1220" name="Bild 2098">
                        <a:extLst>
                          <a:ext uri="{FF2B5EF4-FFF2-40B4-BE49-F238E27FC236}">
                            <a16:creationId xmlns:a16="http://schemas.microsoft.com/office/drawing/2014/main" id="{BD50CDA6-A2D9-4036-B4FD-862A6B5F215F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09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622237" y="4316757"/>
                        <a:ext cx="144137" cy="382418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1221" name="Bild 2099">
                        <a:extLst>
                          <a:ext uri="{FF2B5EF4-FFF2-40B4-BE49-F238E27FC236}">
                            <a16:creationId xmlns:a16="http://schemas.microsoft.com/office/drawing/2014/main" id="{85115A31-9641-4D9F-BD32-F79D858F2BA7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10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352216" y="4479110"/>
                        <a:ext cx="141772" cy="22006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1222" name="Bild 2110">
                        <a:extLst>
                          <a:ext uri="{FF2B5EF4-FFF2-40B4-BE49-F238E27FC236}">
                            <a16:creationId xmlns:a16="http://schemas.microsoft.com/office/drawing/2014/main" id="{E07CFA6A-8AD6-4761-9394-19EC603F96BC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1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gray">
                      <a:xfrm>
                        <a:off x="2159466" y="4420981"/>
                        <a:ext cx="117777" cy="151607"/>
                      </a:xfrm>
                      <a:prstGeom prst="rect">
                        <a:avLst/>
                      </a:prstGeom>
                    </p:spPr>
                  </p:pic>
                </p:grpSp>
              </p:grpSp>
              <p:grpSp>
                <p:nvGrpSpPr>
                  <p:cNvPr id="915" name="Gruppieren 1385">
                    <a:extLst>
                      <a:ext uri="{FF2B5EF4-FFF2-40B4-BE49-F238E27FC236}">
                        <a16:creationId xmlns:a16="http://schemas.microsoft.com/office/drawing/2014/main" id="{27914BA5-6EE6-4680-9C29-16C8B76C57F3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975197" y="1633471"/>
                    <a:ext cx="4824002" cy="497224"/>
                    <a:chOff x="1749703" y="1633471"/>
                    <a:chExt cx="4824002" cy="497224"/>
                  </a:xfrm>
                </p:grpSpPr>
                <p:sp>
                  <p:nvSpPr>
                    <p:cNvPr id="1209" name="Rectangle 7">
                      <a:extLst>
                        <a:ext uri="{FF2B5EF4-FFF2-40B4-BE49-F238E27FC236}">
                          <a16:creationId xmlns:a16="http://schemas.microsoft.com/office/drawing/2014/main" id="{EFD008CB-F88B-4097-B5E0-CDCCDF3FC6D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820339" y="1633471"/>
                      <a:ext cx="251332" cy="36000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210" name="Rectangle 6">
                      <a:extLst>
                        <a:ext uri="{FF2B5EF4-FFF2-40B4-BE49-F238E27FC236}">
                          <a16:creationId xmlns:a16="http://schemas.microsoft.com/office/drawing/2014/main" id="{9E3D42AF-0A37-4956-AE46-3445B1CBF23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846466" y="1669194"/>
                      <a:ext cx="199086" cy="191675"/>
                    </a:xfrm>
                    <a:prstGeom prst="rect">
                      <a:avLst/>
                    </a:prstGeom>
                    <a:solidFill>
                      <a:srgbClr val="EEEBE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211" name="Freeform 19">
                      <a:extLst>
                        <a:ext uri="{FF2B5EF4-FFF2-40B4-BE49-F238E27FC236}">
                          <a16:creationId xmlns:a16="http://schemas.microsoft.com/office/drawing/2014/main" id="{FE348F8C-49E1-4BE4-8D4A-A8B18396B21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gray">
                    <a:xfrm>
                      <a:off x="1775742" y="1849192"/>
                      <a:ext cx="4781405" cy="261509"/>
                    </a:xfrm>
                    <a:custGeom>
                      <a:avLst/>
                      <a:gdLst>
                        <a:gd name="T0" fmla="*/ 38 w 1635"/>
                        <a:gd name="T1" fmla="*/ 0 h 176"/>
                        <a:gd name="T2" fmla="*/ 0 w 1635"/>
                        <a:gd name="T3" fmla="*/ 176 h 176"/>
                        <a:gd name="T4" fmla="*/ 1635 w 1635"/>
                        <a:gd name="T5" fmla="*/ 176 h 176"/>
                        <a:gd name="T6" fmla="*/ 1596 w 1635"/>
                        <a:gd name="T7" fmla="*/ 0 h 176"/>
                        <a:gd name="T8" fmla="*/ 38 w 1635"/>
                        <a:gd name="T9" fmla="*/ 0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35" h="176">
                          <a:moveTo>
                            <a:pt x="38" y="0"/>
                          </a:moveTo>
                          <a:lnTo>
                            <a:pt x="0" y="176"/>
                          </a:lnTo>
                          <a:lnTo>
                            <a:pt x="1635" y="176"/>
                          </a:lnTo>
                          <a:lnTo>
                            <a:pt x="1596" y="0"/>
                          </a:lnTo>
                          <a:lnTo>
                            <a:pt x="38" y="0"/>
                          </a:lnTo>
                          <a:close/>
                        </a:path>
                      </a:pathLst>
                    </a:custGeom>
                    <a:solidFill>
                      <a:srgbClr val="918184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212" name="Rectangle 592">
                      <a:extLst>
                        <a:ext uri="{FF2B5EF4-FFF2-40B4-BE49-F238E27FC236}">
                          <a16:creationId xmlns:a16="http://schemas.microsoft.com/office/drawing/2014/main" id="{9A97AFF4-6F79-429D-8829-23B82C2E4E1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1749703" y="2104021"/>
                      <a:ext cx="4824002" cy="26674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1213" name="Rectangle 593">
                      <a:extLst>
                        <a:ext uri="{FF2B5EF4-FFF2-40B4-BE49-F238E27FC236}">
                          <a16:creationId xmlns:a16="http://schemas.microsoft.com/office/drawing/2014/main" id="{8CB8B4CB-DE42-44DD-AE9F-3C225E93B17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1875154" y="1838016"/>
                      <a:ext cx="4576798" cy="32796"/>
                    </a:xfrm>
                    <a:prstGeom prst="rect">
                      <a:avLst/>
                    </a:prstGeom>
                    <a:solidFill>
                      <a:srgbClr val="75626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rPr>
                        <a:t> </a:t>
                      </a:r>
                    </a:p>
                  </p:txBody>
                </p:sp>
              </p:grpSp>
              <p:grpSp>
                <p:nvGrpSpPr>
                  <p:cNvPr id="916" name="Gruppieren 2359">
                    <a:extLst>
                      <a:ext uri="{FF2B5EF4-FFF2-40B4-BE49-F238E27FC236}">
                        <a16:creationId xmlns:a16="http://schemas.microsoft.com/office/drawing/2014/main" id="{0AC59A6A-7189-4575-BB91-4DA0FE6B0F1F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261268" y="2220322"/>
                    <a:ext cx="4293295" cy="1798614"/>
                    <a:chOff x="1811697" y="2220322"/>
                    <a:chExt cx="4293295" cy="1798614"/>
                  </a:xfrm>
                </p:grpSpPr>
                <p:grpSp>
                  <p:nvGrpSpPr>
                    <p:cNvPr id="936" name="Gruppieren 1880">
                      <a:extLst>
                        <a:ext uri="{FF2B5EF4-FFF2-40B4-BE49-F238E27FC236}">
                          <a16:creationId xmlns:a16="http://schemas.microsoft.com/office/drawing/2014/main" id="{ED670359-FC6A-473C-BB47-A43E98021A75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gray">
                    <a:xfrm>
                      <a:off x="5996992" y="2267381"/>
                      <a:ext cx="108000" cy="131219"/>
                      <a:chOff x="3323128" y="2881202"/>
                      <a:chExt cx="177780" cy="216000"/>
                    </a:xfrm>
                  </p:grpSpPr>
                  <p:sp>
                    <p:nvSpPr>
                      <p:cNvPr id="1205" name="Rectangle 342">
                        <a:extLst>
                          <a:ext uri="{FF2B5EF4-FFF2-40B4-BE49-F238E27FC236}">
                            <a16:creationId xmlns:a16="http://schemas.microsoft.com/office/drawing/2014/main" id="{75A37AB8-3933-4352-9F2C-DCB477B6D63F}"/>
                          </a:ext>
                        </a:extLst>
                      </p:cNvPr>
                      <p:cNvSpPr>
                        <a:spLocks noChangeAspect="1" noChangeArrowheads="1"/>
                      </p:cNvSpPr>
                      <p:nvPr/>
                    </p:nvSpPr>
                    <p:spPr bwMode="gray">
                      <a:xfrm>
                        <a:off x="3323128" y="2881202"/>
                        <a:ext cx="177780" cy="216000"/>
                      </a:xfrm>
                      <a:prstGeom prst="rect">
                        <a:avLst/>
                      </a:prstGeom>
                      <a:solidFill>
                        <a:schemeClr val="tx2">
                          <a:lumMod val="75000"/>
                        </a:schemeClr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6858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de-DE" sz="135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Lucida Sans Techem"/>
                          <a:ea typeface="+mn-ea"/>
                          <a:cs typeface="Calibri"/>
                        </a:endParaRPr>
                      </a:p>
                    </p:txBody>
                  </p:sp>
                  <p:grpSp>
                    <p:nvGrpSpPr>
                      <p:cNvPr id="1206" name="Gruppieren 1882">
                        <a:extLst>
                          <a:ext uri="{FF2B5EF4-FFF2-40B4-BE49-F238E27FC236}">
                            <a16:creationId xmlns:a16="http://schemas.microsoft.com/office/drawing/2014/main" id="{4F923A77-3250-4445-872A-DB9A8CBF34A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3337606" y="2883044"/>
                        <a:ext cx="160001" cy="194399"/>
                        <a:chOff x="3526369" y="2881204"/>
                        <a:chExt cx="160001" cy="194399"/>
                      </a:xfrm>
                    </p:grpSpPr>
                    <p:sp>
                      <p:nvSpPr>
                        <p:cNvPr id="1207" name="Rectangle 342">
                          <a:extLst>
                            <a:ext uri="{FF2B5EF4-FFF2-40B4-BE49-F238E27FC236}">
                              <a16:creationId xmlns:a16="http://schemas.microsoft.com/office/drawing/2014/main" id="{E01BB374-0097-4092-A6AA-D4A9276EB70B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526369" y="2881204"/>
                          <a:ext cx="160001" cy="194399"/>
                        </a:xfrm>
                        <a:prstGeom prst="rect">
                          <a:avLst/>
                        </a:prstGeom>
                        <a:solidFill>
                          <a:srgbClr val="F6F6F6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  <p:sp>
                      <p:nvSpPr>
                        <p:cNvPr id="1208" name="Rectangle 343">
                          <a:extLst>
                            <a:ext uri="{FF2B5EF4-FFF2-40B4-BE49-F238E27FC236}">
                              <a16:creationId xmlns:a16="http://schemas.microsoft.com/office/drawing/2014/main" id="{3868B301-5E5B-4E40-A40A-C5A4D9ACF9D7}"/>
                            </a:ext>
                          </a:extLst>
                        </p:cNvPr>
                        <p:cNvSpPr>
                          <a:spLocks noChangeArrowheads="1"/>
                        </p:cNvSpPr>
                        <p:nvPr/>
                      </p:nvSpPr>
                      <p:spPr bwMode="gray">
                        <a:xfrm>
                          <a:off x="3552735" y="2913337"/>
                          <a:ext cx="106667" cy="18514"/>
                        </a:xfrm>
                        <a:prstGeom prst="rect">
                          <a:avLst/>
                        </a:prstGeom>
                        <a:solidFill>
                          <a:srgbClr val="706F6F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1440" tIns="45720" rIns="91440" bIns="45720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pPr marL="0" marR="0" lvl="0" indent="0" algn="l" defTabSz="6858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de-DE" sz="1350" b="0" i="0" u="none" strike="noStrike" kern="1200" cap="none" spc="0" normalizeH="0" baseline="0" noProof="0" dirty="0">
                            <a:ln>
                              <a:noFill/>
                            </a:ln>
                            <a:effectLst/>
                            <a:uLnTx/>
                            <a:uFillTx/>
                            <a:latin typeface="Lucida Sans Techem"/>
                            <a:ea typeface="+mn-ea"/>
                            <a:cs typeface="Calibri"/>
                          </a:endParaRPr>
                        </a:p>
                      </p:txBody>
                    </p:sp>
                  </p:grpSp>
                </p:grpSp>
                <p:grpSp>
                  <p:nvGrpSpPr>
                    <p:cNvPr id="937" name="Gruppieren 2358">
                      <a:extLst>
                        <a:ext uri="{FF2B5EF4-FFF2-40B4-BE49-F238E27FC236}">
                          <a16:creationId xmlns:a16="http://schemas.microsoft.com/office/drawing/2014/main" id="{CD1C5430-798F-46BA-9328-A207AD9CC839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1811697" y="2220322"/>
                      <a:ext cx="4068686" cy="1798614"/>
                      <a:chOff x="1811697" y="2220322"/>
                      <a:chExt cx="4068686" cy="1798614"/>
                    </a:xfrm>
                  </p:grpSpPr>
                  <p:grpSp>
                    <p:nvGrpSpPr>
                      <p:cNvPr id="938" name="Gruppieren 2356">
                        <a:extLst>
                          <a:ext uri="{FF2B5EF4-FFF2-40B4-BE49-F238E27FC236}">
                            <a16:creationId xmlns:a16="http://schemas.microsoft.com/office/drawing/2014/main" id="{0C1812A1-451D-4D1B-ABA3-6D326B5377F5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4220125" y="2620688"/>
                        <a:ext cx="86977" cy="1323366"/>
                        <a:chOff x="4220125" y="2620688"/>
                        <a:chExt cx="86977" cy="1323366"/>
                      </a:xfrm>
                    </p:grpSpPr>
                    <p:grpSp>
                      <p:nvGrpSpPr>
                        <p:cNvPr id="1163" name="Gruppieren 1817">
                          <a:extLst>
                            <a:ext uri="{FF2B5EF4-FFF2-40B4-BE49-F238E27FC236}">
                              <a16:creationId xmlns:a16="http://schemas.microsoft.com/office/drawing/2014/main" id="{4605E46E-55DC-4843-AD03-B5160E2B9533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702" y="2620688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92" name="Gruppieren 1818">
                            <a:extLst>
                              <a:ext uri="{FF2B5EF4-FFF2-40B4-BE49-F238E27FC236}">
                                <a16:creationId xmlns:a16="http://schemas.microsoft.com/office/drawing/2014/main" id="{038DE6CA-43CC-4FB2-824D-AAC5D99EC067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99" name="Oval 468">
                              <a:extLst>
                                <a:ext uri="{FF2B5EF4-FFF2-40B4-BE49-F238E27FC236}">
                                  <a16:creationId xmlns:a16="http://schemas.microsoft.com/office/drawing/2014/main" id="{07C37D50-205B-48A6-A4F5-D302C7A3B76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200" name="Gruppieren 1826">
                              <a:extLst>
                                <a:ext uri="{FF2B5EF4-FFF2-40B4-BE49-F238E27FC236}">
                                  <a16:creationId xmlns:a16="http://schemas.microsoft.com/office/drawing/2014/main" id="{DB250A0D-FFCA-4B06-B833-E1C4858744B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201" name="Oval 472">
                                <a:extLst>
                                  <a:ext uri="{FF2B5EF4-FFF2-40B4-BE49-F238E27FC236}">
                                    <a16:creationId xmlns:a16="http://schemas.microsoft.com/office/drawing/2014/main" id="{3B664C50-612A-445C-8094-039386601D60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02" name="Freeform 473">
                                <a:extLst>
                                  <a:ext uri="{FF2B5EF4-FFF2-40B4-BE49-F238E27FC236}">
                                    <a16:creationId xmlns:a16="http://schemas.microsoft.com/office/drawing/2014/main" id="{DDD64FE1-6B53-4EC5-8D34-FBA6C2916CC2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03" name="Rectangle 474">
                                <a:extLst>
                                  <a:ext uri="{FF2B5EF4-FFF2-40B4-BE49-F238E27FC236}">
                                    <a16:creationId xmlns:a16="http://schemas.microsoft.com/office/drawing/2014/main" id="{DB3D9C22-0EC2-49D9-8972-9C4FCBAB4091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204" name="Rectangle 475">
                                <a:extLst>
                                  <a:ext uri="{FF2B5EF4-FFF2-40B4-BE49-F238E27FC236}">
                                    <a16:creationId xmlns:a16="http://schemas.microsoft.com/office/drawing/2014/main" id="{84A1F34C-EA73-4F34-8126-1FFC15C9EC6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93" name="Gruppieren 1819">
                            <a:extLst>
                              <a:ext uri="{FF2B5EF4-FFF2-40B4-BE49-F238E27FC236}">
                                <a16:creationId xmlns:a16="http://schemas.microsoft.com/office/drawing/2014/main" id="{077DD320-C0D5-4A1C-92F0-5F63198235B6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94" name="Oval 476">
                              <a:extLst>
                                <a:ext uri="{FF2B5EF4-FFF2-40B4-BE49-F238E27FC236}">
                                  <a16:creationId xmlns:a16="http://schemas.microsoft.com/office/drawing/2014/main" id="{022BEF8D-489D-4B01-AEC8-50960D0AC5B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95" name="Oval 480">
                              <a:extLst>
                                <a:ext uri="{FF2B5EF4-FFF2-40B4-BE49-F238E27FC236}">
                                  <a16:creationId xmlns:a16="http://schemas.microsoft.com/office/drawing/2014/main" id="{B04EAD4B-87A4-4099-B2C8-61B083EC726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96" name="Freeform 481">
                              <a:extLst>
                                <a:ext uri="{FF2B5EF4-FFF2-40B4-BE49-F238E27FC236}">
                                  <a16:creationId xmlns:a16="http://schemas.microsoft.com/office/drawing/2014/main" id="{AA98A7CD-604D-401D-8F3B-912A6640D447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97" name="Rectangle 482">
                              <a:extLst>
                                <a:ext uri="{FF2B5EF4-FFF2-40B4-BE49-F238E27FC236}">
                                  <a16:creationId xmlns:a16="http://schemas.microsoft.com/office/drawing/2014/main" id="{18A137D4-2EDD-4570-8AC5-07E5D46F510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98" name="Rectangle 483">
                              <a:extLst>
                                <a:ext uri="{FF2B5EF4-FFF2-40B4-BE49-F238E27FC236}">
                                  <a16:creationId xmlns:a16="http://schemas.microsoft.com/office/drawing/2014/main" id="{2B5C5E8C-3BE1-4E94-B762-E0456D1BA4D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64" name="Gruppieren 1831">
                          <a:extLst>
                            <a:ext uri="{FF2B5EF4-FFF2-40B4-BE49-F238E27FC236}">
                              <a16:creationId xmlns:a16="http://schemas.microsoft.com/office/drawing/2014/main" id="{3007F4D4-CF83-4673-8386-84F861691330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125" y="3266416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79" name="Gruppieren 1832">
                            <a:extLst>
                              <a:ext uri="{FF2B5EF4-FFF2-40B4-BE49-F238E27FC236}">
                                <a16:creationId xmlns:a16="http://schemas.microsoft.com/office/drawing/2014/main" id="{5C6CA95D-6372-4934-A862-7656BC468354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86" name="Oval 468">
                              <a:extLst>
                                <a:ext uri="{FF2B5EF4-FFF2-40B4-BE49-F238E27FC236}">
                                  <a16:creationId xmlns:a16="http://schemas.microsoft.com/office/drawing/2014/main" id="{05B327CE-7692-4E78-87E5-4253E4E9987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187" name="Gruppieren 1840">
                              <a:extLst>
                                <a:ext uri="{FF2B5EF4-FFF2-40B4-BE49-F238E27FC236}">
                                  <a16:creationId xmlns:a16="http://schemas.microsoft.com/office/drawing/2014/main" id="{10922884-0225-4064-9BB9-A4A27A7B4A30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188" name="Oval 472">
                                <a:extLst>
                                  <a:ext uri="{FF2B5EF4-FFF2-40B4-BE49-F238E27FC236}">
                                    <a16:creationId xmlns:a16="http://schemas.microsoft.com/office/drawing/2014/main" id="{5261B016-D0D1-4DC3-979B-A2D617DD93D7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89" name="Freeform 473">
                                <a:extLst>
                                  <a:ext uri="{FF2B5EF4-FFF2-40B4-BE49-F238E27FC236}">
                                    <a16:creationId xmlns:a16="http://schemas.microsoft.com/office/drawing/2014/main" id="{70344621-F921-4955-9A07-C18EE9C405B2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90" name="Rectangle 474">
                                <a:extLst>
                                  <a:ext uri="{FF2B5EF4-FFF2-40B4-BE49-F238E27FC236}">
                                    <a16:creationId xmlns:a16="http://schemas.microsoft.com/office/drawing/2014/main" id="{16956569-CF89-43EA-8759-D5A4B290C7E7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91" name="Rectangle 475">
                                <a:extLst>
                                  <a:ext uri="{FF2B5EF4-FFF2-40B4-BE49-F238E27FC236}">
                                    <a16:creationId xmlns:a16="http://schemas.microsoft.com/office/drawing/2014/main" id="{549E7864-627D-4205-9A17-44F01EC13AD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80" name="Gruppieren 1833">
                            <a:extLst>
                              <a:ext uri="{FF2B5EF4-FFF2-40B4-BE49-F238E27FC236}">
                                <a16:creationId xmlns:a16="http://schemas.microsoft.com/office/drawing/2014/main" id="{CBDE8EF2-06ED-46F9-8AA9-B16CACD23A3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81" name="Oval 476">
                              <a:extLst>
                                <a:ext uri="{FF2B5EF4-FFF2-40B4-BE49-F238E27FC236}">
                                  <a16:creationId xmlns:a16="http://schemas.microsoft.com/office/drawing/2014/main" id="{D5624899-8F59-4461-99D4-73A34A7C7A5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82" name="Oval 480">
                              <a:extLst>
                                <a:ext uri="{FF2B5EF4-FFF2-40B4-BE49-F238E27FC236}">
                                  <a16:creationId xmlns:a16="http://schemas.microsoft.com/office/drawing/2014/main" id="{E3C7A7E3-3BAD-48AB-9FA5-EC6E8191CA4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83" name="Freeform 481">
                              <a:extLst>
                                <a:ext uri="{FF2B5EF4-FFF2-40B4-BE49-F238E27FC236}">
                                  <a16:creationId xmlns:a16="http://schemas.microsoft.com/office/drawing/2014/main" id="{A83E0309-1268-4473-A938-C9A93E2B2946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84" name="Rectangle 482">
                              <a:extLst>
                                <a:ext uri="{FF2B5EF4-FFF2-40B4-BE49-F238E27FC236}">
                                  <a16:creationId xmlns:a16="http://schemas.microsoft.com/office/drawing/2014/main" id="{6CDE959B-3143-414B-BCB7-CC71DF9316E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85" name="Rectangle 483">
                              <a:extLst>
                                <a:ext uri="{FF2B5EF4-FFF2-40B4-BE49-F238E27FC236}">
                                  <a16:creationId xmlns:a16="http://schemas.microsoft.com/office/drawing/2014/main" id="{EC1EE605-FF87-4CE7-A625-8F829F0830B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65" name="Gruppieren 1845">
                          <a:extLst>
                            <a:ext uri="{FF2B5EF4-FFF2-40B4-BE49-F238E27FC236}">
                              <a16:creationId xmlns:a16="http://schemas.microsoft.com/office/drawing/2014/main" id="{2CED623E-109E-45C4-95CA-C70E0FB5E160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4220158" y="3902183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66" name="Gruppieren 1846">
                            <a:extLst>
                              <a:ext uri="{FF2B5EF4-FFF2-40B4-BE49-F238E27FC236}">
                                <a16:creationId xmlns:a16="http://schemas.microsoft.com/office/drawing/2014/main" id="{761C74E6-E41B-4110-BF33-944A84C29501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73" name="Oval 468">
                              <a:extLst>
                                <a:ext uri="{FF2B5EF4-FFF2-40B4-BE49-F238E27FC236}">
                                  <a16:creationId xmlns:a16="http://schemas.microsoft.com/office/drawing/2014/main" id="{ED394138-F6CD-4E0C-B973-5C90A762C56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174" name="Gruppieren 1854">
                              <a:extLst>
                                <a:ext uri="{FF2B5EF4-FFF2-40B4-BE49-F238E27FC236}">
                                  <a16:creationId xmlns:a16="http://schemas.microsoft.com/office/drawing/2014/main" id="{29C36860-EC1A-4260-BBDC-A0B61A2E41FC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175" name="Oval 472">
                                <a:extLst>
                                  <a:ext uri="{FF2B5EF4-FFF2-40B4-BE49-F238E27FC236}">
                                    <a16:creationId xmlns:a16="http://schemas.microsoft.com/office/drawing/2014/main" id="{2D5B9EFF-6E77-4C99-8A6B-FD56068ECC3E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76" name="Freeform 473">
                                <a:extLst>
                                  <a:ext uri="{FF2B5EF4-FFF2-40B4-BE49-F238E27FC236}">
                                    <a16:creationId xmlns:a16="http://schemas.microsoft.com/office/drawing/2014/main" id="{7E96B469-1A10-4B1C-B296-0992FE0F99F1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77" name="Rectangle 474">
                                <a:extLst>
                                  <a:ext uri="{FF2B5EF4-FFF2-40B4-BE49-F238E27FC236}">
                                    <a16:creationId xmlns:a16="http://schemas.microsoft.com/office/drawing/2014/main" id="{9D8CEFAD-E544-4909-A55E-56CCB54026C9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78" name="Rectangle 475">
                                <a:extLst>
                                  <a:ext uri="{FF2B5EF4-FFF2-40B4-BE49-F238E27FC236}">
                                    <a16:creationId xmlns:a16="http://schemas.microsoft.com/office/drawing/2014/main" id="{B85D30A9-CDD7-4C09-8040-CF1FA48B1CB1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67" name="Gruppieren 1847">
                            <a:extLst>
                              <a:ext uri="{FF2B5EF4-FFF2-40B4-BE49-F238E27FC236}">
                                <a16:creationId xmlns:a16="http://schemas.microsoft.com/office/drawing/2014/main" id="{E6B82E65-632D-489C-A812-C4C42C09DC20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68" name="Oval 476">
                              <a:extLst>
                                <a:ext uri="{FF2B5EF4-FFF2-40B4-BE49-F238E27FC236}">
                                  <a16:creationId xmlns:a16="http://schemas.microsoft.com/office/drawing/2014/main" id="{27E09469-3BA6-4378-B1E3-E3F0D2C042E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69" name="Oval 480">
                              <a:extLst>
                                <a:ext uri="{FF2B5EF4-FFF2-40B4-BE49-F238E27FC236}">
                                  <a16:creationId xmlns:a16="http://schemas.microsoft.com/office/drawing/2014/main" id="{0D3AE3EB-5A66-4A61-B3BF-1437A2F9B82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70" name="Freeform 481">
                              <a:extLst>
                                <a:ext uri="{FF2B5EF4-FFF2-40B4-BE49-F238E27FC236}">
                                  <a16:creationId xmlns:a16="http://schemas.microsoft.com/office/drawing/2014/main" id="{2B85DD88-BACC-449F-84DF-12F47A1DD8C5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71" name="Rectangle 482">
                              <a:extLst>
                                <a:ext uri="{FF2B5EF4-FFF2-40B4-BE49-F238E27FC236}">
                                  <a16:creationId xmlns:a16="http://schemas.microsoft.com/office/drawing/2014/main" id="{7A78E90F-0166-4704-B459-17EEDA5C151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72" name="Rectangle 483">
                              <a:extLst>
                                <a:ext uri="{FF2B5EF4-FFF2-40B4-BE49-F238E27FC236}">
                                  <a16:creationId xmlns:a16="http://schemas.microsoft.com/office/drawing/2014/main" id="{BA436E49-D74A-4852-A472-4540A70F332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939" name="Gruppieren 2357">
                        <a:extLst>
                          <a:ext uri="{FF2B5EF4-FFF2-40B4-BE49-F238E27FC236}">
                            <a16:creationId xmlns:a16="http://schemas.microsoft.com/office/drawing/2014/main" id="{85B33AB3-56CE-4167-B104-CC3B83164710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5380444" y="2599259"/>
                        <a:ext cx="86977" cy="1419677"/>
                        <a:chOff x="5380444" y="2599259"/>
                        <a:chExt cx="86977" cy="1419677"/>
                      </a:xfrm>
                    </p:grpSpPr>
                    <p:grpSp>
                      <p:nvGrpSpPr>
                        <p:cNvPr id="1100" name="Gruppieren 98">
                          <a:extLst>
                            <a:ext uri="{FF2B5EF4-FFF2-40B4-BE49-F238E27FC236}">
                              <a16:creationId xmlns:a16="http://schemas.microsoft.com/office/drawing/2014/main" id="{16E024FC-B693-4C48-9BEF-0A96F65C5497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1021" y="2599259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50" name="Gruppieren 1776">
                            <a:extLst>
                              <a:ext uri="{FF2B5EF4-FFF2-40B4-BE49-F238E27FC236}">
                                <a16:creationId xmlns:a16="http://schemas.microsoft.com/office/drawing/2014/main" id="{05F4E8C2-11F9-4F11-8C0A-E07A4DD186EF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57" name="Oval 468">
                              <a:extLst>
                                <a:ext uri="{FF2B5EF4-FFF2-40B4-BE49-F238E27FC236}">
                                  <a16:creationId xmlns:a16="http://schemas.microsoft.com/office/drawing/2014/main" id="{7A5EB5DD-C20D-4318-9793-C7ECA0A5F0D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158" name="Gruppieren 1784">
                              <a:extLst>
                                <a:ext uri="{FF2B5EF4-FFF2-40B4-BE49-F238E27FC236}">
                                  <a16:creationId xmlns:a16="http://schemas.microsoft.com/office/drawing/2014/main" id="{63A39274-A7D1-434D-98FB-0AC497B7D390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159" name="Oval 472">
                                <a:extLst>
                                  <a:ext uri="{FF2B5EF4-FFF2-40B4-BE49-F238E27FC236}">
                                    <a16:creationId xmlns:a16="http://schemas.microsoft.com/office/drawing/2014/main" id="{8F1023CC-7894-4BA9-9703-E22AE825CF3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60" name="Freeform 473">
                                <a:extLst>
                                  <a:ext uri="{FF2B5EF4-FFF2-40B4-BE49-F238E27FC236}">
                                    <a16:creationId xmlns:a16="http://schemas.microsoft.com/office/drawing/2014/main" id="{C5447E0E-34D3-4053-9E6A-B2D9C105153A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61" name="Rectangle 474">
                                <a:extLst>
                                  <a:ext uri="{FF2B5EF4-FFF2-40B4-BE49-F238E27FC236}">
                                    <a16:creationId xmlns:a16="http://schemas.microsoft.com/office/drawing/2014/main" id="{3578F5D0-24B3-4887-A0D7-B223A034503E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62" name="Rectangle 475">
                                <a:extLst>
                                  <a:ext uri="{FF2B5EF4-FFF2-40B4-BE49-F238E27FC236}">
                                    <a16:creationId xmlns:a16="http://schemas.microsoft.com/office/drawing/2014/main" id="{70A3AF9D-B250-42CC-992B-062313F6DA3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51" name="Gruppieren 1777">
                            <a:extLst>
                              <a:ext uri="{FF2B5EF4-FFF2-40B4-BE49-F238E27FC236}">
                                <a16:creationId xmlns:a16="http://schemas.microsoft.com/office/drawing/2014/main" id="{DD46A6F0-C24F-49C2-B5FC-2E74487F3901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52" name="Oval 476">
                              <a:extLst>
                                <a:ext uri="{FF2B5EF4-FFF2-40B4-BE49-F238E27FC236}">
                                  <a16:creationId xmlns:a16="http://schemas.microsoft.com/office/drawing/2014/main" id="{27423A6B-31E7-4B3C-929D-2C8DF8EB9933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53" name="Oval 480">
                              <a:extLst>
                                <a:ext uri="{FF2B5EF4-FFF2-40B4-BE49-F238E27FC236}">
                                  <a16:creationId xmlns:a16="http://schemas.microsoft.com/office/drawing/2014/main" id="{0C3E18E1-1B61-4CDD-A0F5-6348E7E8B4D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54" name="Freeform 481">
                              <a:extLst>
                                <a:ext uri="{FF2B5EF4-FFF2-40B4-BE49-F238E27FC236}">
                                  <a16:creationId xmlns:a16="http://schemas.microsoft.com/office/drawing/2014/main" id="{5F0C8E32-1ADE-4DEE-B86A-A04667540D36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55" name="Rectangle 482">
                              <a:extLst>
                                <a:ext uri="{FF2B5EF4-FFF2-40B4-BE49-F238E27FC236}">
                                  <a16:creationId xmlns:a16="http://schemas.microsoft.com/office/drawing/2014/main" id="{CD1F84FB-C351-4659-A01F-4152E9040F5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56" name="Rectangle 483">
                              <a:extLst>
                                <a:ext uri="{FF2B5EF4-FFF2-40B4-BE49-F238E27FC236}">
                                  <a16:creationId xmlns:a16="http://schemas.microsoft.com/office/drawing/2014/main" id="{DDE9F242-1DEF-497E-88F5-340FB09A963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01" name="Gruppieren 1789">
                          <a:extLst>
                            <a:ext uri="{FF2B5EF4-FFF2-40B4-BE49-F238E27FC236}">
                              <a16:creationId xmlns:a16="http://schemas.microsoft.com/office/drawing/2014/main" id="{C13A8496-74A8-4709-B62E-C055DAB43E72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0444" y="3244987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37" name="Gruppieren 1790">
                            <a:extLst>
                              <a:ext uri="{FF2B5EF4-FFF2-40B4-BE49-F238E27FC236}">
                                <a16:creationId xmlns:a16="http://schemas.microsoft.com/office/drawing/2014/main" id="{BF16851E-5D18-419C-8A54-AEAD22B6055F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44" name="Oval 468">
                              <a:extLst>
                                <a:ext uri="{FF2B5EF4-FFF2-40B4-BE49-F238E27FC236}">
                                  <a16:creationId xmlns:a16="http://schemas.microsoft.com/office/drawing/2014/main" id="{D40FDC97-C549-4D56-82CF-A989BA7393B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145" name="Gruppieren 1798">
                              <a:extLst>
                                <a:ext uri="{FF2B5EF4-FFF2-40B4-BE49-F238E27FC236}">
                                  <a16:creationId xmlns:a16="http://schemas.microsoft.com/office/drawing/2014/main" id="{6789BF7A-0A3F-4A2B-944E-465CD14B305E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146" name="Oval 472">
                                <a:extLst>
                                  <a:ext uri="{FF2B5EF4-FFF2-40B4-BE49-F238E27FC236}">
                                    <a16:creationId xmlns:a16="http://schemas.microsoft.com/office/drawing/2014/main" id="{CC1404CB-20F2-48EA-8BFF-307F7031F1B7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47" name="Freeform 473">
                                <a:extLst>
                                  <a:ext uri="{FF2B5EF4-FFF2-40B4-BE49-F238E27FC236}">
                                    <a16:creationId xmlns:a16="http://schemas.microsoft.com/office/drawing/2014/main" id="{14A104A8-6A27-41EC-B53A-45972827276A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48" name="Rectangle 474">
                                <a:extLst>
                                  <a:ext uri="{FF2B5EF4-FFF2-40B4-BE49-F238E27FC236}">
                                    <a16:creationId xmlns:a16="http://schemas.microsoft.com/office/drawing/2014/main" id="{4DF782BD-8456-4BBA-9E30-9589CB83A08E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49" name="Rectangle 475">
                                <a:extLst>
                                  <a:ext uri="{FF2B5EF4-FFF2-40B4-BE49-F238E27FC236}">
                                    <a16:creationId xmlns:a16="http://schemas.microsoft.com/office/drawing/2014/main" id="{A5978299-6F31-4A0B-8891-66BCB00D7CA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38" name="Gruppieren 1791">
                            <a:extLst>
                              <a:ext uri="{FF2B5EF4-FFF2-40B4-BE49-F238E27FC236}">
                                <a16:creationId xmlns:a16="http://schemas.microsoft.com/office/drawing/2014/main" id="{DD4E8334-3C2B-4580-84CB-319209BE0ED4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39" name="Oval 476">
                              <a:extLst>
                                <a:ext uri="{FF2B5EF4-FFF2-40B4-BE49-F238E27FC236}">
                                  <a16:creationId xmlns:a16="http://schemas.microsoft.com/office/drawing/2014/main" id="{1E764642-1298-46EF-A7F7-8E3256F80FB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40" name="Oval 480">
                              <a:extLst>
                                <a:ext uri="{FF2B5EF4-FFF2-40B4-BE49-F238E27FC236}">
                                  <a16:creationId xmlns:a16="http://schemas.microsoft.com/office/drawing/2014/main" id="{EE1F8C50-D762-4726-9414-4B09341437D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41" name="Freeform 481">
                              <a:extLst>
                                <a:ext uri="{FF2B5EF4-FFF2-40B4-BE49-F238E27FC236}">
                                  <a16:creationId xmlns:a16="http://schemas.microsoft.com/office/drawing/2014/main" id="{C8D1D696-3B89-45FF-8015-21048A51F22D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42" name="Rectangle 482">
                              <a:extLst>
                                <a:ext uri="{FF2B5EF4-FFF2-40B4-BE49-F238E27FC236}">
                                  <a16:creationId xmlns:a16="http://schemas.microsoft.com/office/drawing/2014/main" id="{0AB90310-642F-43AB-AE24-DCBD22B1AE6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43" name="Rectangle 483">
                              <a:extLst>
                                <a:ext uri="{FF2B5EF4-FFF2-40B4-BE49-F238E27FC236}">
                                  <a16:creationId xmlns:a16="http://schemas.microsoft.com/office/drawing/2014/main" id="{7B54E6F1-C0B6-41B0-92EF-6EF62F86AF4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02" name="Gruppieren 1803">
                          <a:extLst>
                            <a:ext uri="{FF2B5EF4-FFF2-40B4-BE49-F238E27FC236}">
                              <a16:creationId xmlns:a16="http://schemas.microsoft.com/office/drawing/2014/main" id="{D76A6E93-0317-4666-8AD7-97D8B96D23BD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5380477" y="3880754"/>
                          <a:ext cx="86400" cy="41871"/>
                          <a:chOff x="5383402" y="2620688"/>
                          <a:chExt cx="80476" cy="39000"/>
                        </a:xfrm>
                      </p:grpSpPr>
                      <p:grpSp>
                        <p:nvGrpSpPr>
                          <p:cNvPr id="1124" name="Gruppieren 1804">
                            <a:extLst>
                              <a:ext uri="{FF2B5EF4-FFF2-40B4-BE49-F238E27FC236}">
                                <a16:creationId xmlns:a16="http://schemas.microsoft.com/office/drawing/2014/main" id="{CA74201F-72BE-4B7A-A639-3A880B67A08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424878" y="2620688"/>
                            <a:ext cx="39000" cy="39000"/>
                            <a:chOff x="4319482" y="2899568"/>
                            <a:chExt cx="108000" cy="108000"/>
                          </a:xfrm>
                        </p:grpSpPr>
                        <p:sp>
                          <p:nvSpPr>
                            <p:cNvPr id="1131" name="Oval 468">
                              <a:extLst>
                                <a:ext uri="{FF2B5EF4-FFF2-40B4-BE49-F238E27FC236}">
                                  <a16:creationId xmlns:a16="http://schemas.microsoft.com/office/drawing/2014/main" id="{3D4B3820-288E-4491-91FC-A6BECB1624A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19482" y="289956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grpSp>
                          <p:nvGrpSpPr>
                            <p:cNvPr id="1132" name="Gruppieren 1812">
                              <a:extLst>
                                <a:ext uri="{FF2B5EF4-FFF2-40B4-BE49-F238E27FC236}">
                                  <a16:creationId xmlns:a16="http://schemas.microsoft.com/office/drawing/2014/main" id="{1E86FF6C-E43A-4F34-B12B-9037BD25495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4336097" y="2907876"/>
                              <a:ext cx="83078" cy="83077"/>
                              <a:chOff x="4336097" y="2907876"/>
                              <a:chExt cx="83078" cy="83077"/>
                            </a:xfrm>
                          </p:grpSpPr>
                          <p:sp>
                            <p:nvSpPr>
                              <p:cNvPr id="1133" name="Oval 472">
                                <a:extLst>
                                  <a:ext uri="{FF2B5EF4-FFF2-40B4-BE49-F238E27FC236}">
                                    <a16:creationId xmlns:a16="http://schemas.microsoft.com/office/drawing/2014/main" id="{27CAA6FF-DD11-4FD2-8703-81477478109E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36097" y="2907876"/>
                                <a:ext cx="83077" cy="83077"/>
                              </a:xfrm>
                              <a:prstGeom prst="ellipse">
                                <a:avLst/>
                              </a:prstGeom>
                              <a:solidFill>
                                <a:srgbClr val="F6F6F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34" name="Freeform 473">
                                <a:extLst>
                                  <a:ext uri="{FF2B5EF4-FFF2-40B4-BE49-F238E27FC236}">
                                    <a16:creationId xmlns:a16="http://schemas.microsoft.com/office/drawing/2014/main" id="{7F7FF22E-8FD9-4799-B83E-9CC52FEF8A0A}"/>
                                  </a:ext>
                                </a:extLst>
                              </p:cNvPr>
                              <p:cNvSpPr>
                                <a:spLocks/>
                              </p:cNvSpPr>
                              <p:nvPr/>
                            </p:nvSpPr>
                            <p:spPr bwMode="gray">
                              <a:xfrm>
                                <a:off x="4377636" y="2949415"/>
                                <a:ext cx="41539" cy="33231"/>
                              </a:xfrm>
                              <a:custGeom>
                                <a:avLst/>
                                <a:gdLst>
                                  <a:gd name="T0" fmla="*/ 0 w 5"/>
                                  <a:gd name="T1" fmla="*/ 0 h 4"/>
                                  <a:gd name="T2" fmla="*/ 5 w 5"/>
                                  <a:gd name="T3" fmla="*/ 1 h 4"/>
                                  <a:gd name="T4" fmla="*/ 4 w 5"/>
                                  <a:gd name="T5" fmla="*/ 3 h 4"/>
                                  <a:gd name="T6" fmla="*/ 3 w 5"/>
                                  <a:gd name="T7" fmla="*/ 4 h 4"/>
                                  <a:gd name="T8" fmla="*/ 0 w 5"/>
                                  <a:gd name="T9" fmla="*/ 0 h 4"/>
                                </a:gdLst>
                                <a:ahLst/>
                                <a:cxnLst>
                                  <a:cxn ang="0">
                                    <a:pos x="T0" y="T1"/>
                                  </a:cxn>
                                  <a:cxn ang="0">
                                    <a:pos x="T2" y="T3"/>
                                  </a:cxn>
                                  <a:cxn ang="0">
                                    <a:pos x="T4" y="T5"/>
                                  </a:cxn>
                                  <a:cxn ang="0">
                                    <a:pos x="T6" y="T7"/>
                                  </a:cxn>
                                  <a:cxn ang="0">
                                    <a:pos x="T8" y="T9"/>
                                  </a:cxn>
                                </a:cxnLst>
                                <a:rect l="0" t="0" r="r" b="b"/>
                                <a:pathLst>
                                  <a:path w="5" h="4">
                                    <a:moveTo>
                                      <a:pt x="0" y="0"/>
                                    </a:moveTo>
                                    <a:cubicBezTo>
                                      <a:pt x="5" y="1"/>
                                      <a:pt x="5" y="1"/>
                                      <a:pt x="5" y="1"/>
                                    </a:cubicBezTo>
                                    <a:cubicBezTo>
                                      <a:pt x="4" y="2"/>
                                      <a:pt x="4" y="2"/>
                                      <a:pt x="4" y="3"/>
                                    </a:cubicBezTo>
                                    <a:cubicBezTo>
                                      <a:pt x="4" y="3"/>
                                      <a:pt x="3" y="4"/>
                                      <a:pt x="3" y="4"/>
                                    </a:cubicBezTo>
                                    <a:lnTo>
                                      <a:pt x="0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E20A17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round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35" name="Rectangle 474">
                                <a:extLst>
                                  <a:ext uri="{FF2B5EF4-FFF2-40B4-BE49-F238E27FC236}">
                                    <a16:creationId xmlns:a16="http://schemas.microsoft.com/office/drawing/2014/main" id="{B3C80DB0-E599-4022-A96C-09C625D6C00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32799"/>
                                <a:ext cx="58154" cy="16615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136" name="Rectangle 475">
                                <a:extLst>
                                  <a:ext uri="{FF2B5EF4-FFF2-40B4-BE49-F238E27FC236}">
                                    <a16:creationId xmlns:a16="http://schemas.microsoft.com/office/drawing/2014/main" id="{2FD7F518-F40F-4F28-9377-FDCF6288A0A4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4344405" y="2949414"/>
                                <a:ext cx="24923" cy="8308"/>
                              </a:xfrm>
                              <a:prstGeom prst="rect">
                                <a:avLst/>
                              </a:prstGeom>
                              <a:solidFill>
                                <a:srgbClr val="575756"/>
                              </a:solidFill>
                              <a:ln>
                                <a:noFill/>
                              </a:ln>
                              <a:extLs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</p:grpSp>
                      <p:grpSp>
                        <p:nvGrpSpPr>
                          <p:cNvPr id="1125" name="Gruppieren 1805">
                            <a:extLst>
                              <a:ext uri="{FF2B5EF4-FFF2-40B4-BE49-F238E27FC236}">
                                <a16:creationId xmlns:a16="http://schemas.microsoft.com/office/drawing/2014/main" id="{4E5630F5-6D34-45E8-A14F-B4FF404D7F29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383402" y="2620688"/>
                            <a:ext cx="39000" cy="39000"/>
                            <a:chOff x="4321307" y="2698358"/>
                            <a:chExt cx="108000" cy="108000"/>
                          </a:xfrm>
                        </p:grpSpPr>
                        <p:sp>
                          <p:nvSpPr>
                            <p:cNvPr id="1126" name="Oval 476">
                              <a:extLst>
                                <a:ext uri="{FF2B5EF4-FFF2-40B4-BE49-F238E27FC236}">
                                  <a16:creationId xmlns:a16="http://schemas.microsoft.com/office/drawing/2014/main" id="{B2E948E4-846D-441E-9D7B-A2F9000908F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21307" y="2698358"/>
                              <a:ext cx="108000" cy="108000"/>
                            </a:xfrm>
                            <a:prstGeom prst="ellipse">
                              <a:avLst/>
                            </a:prstGeom>
                            <a:solidFill>
                              <a:srgbClr val="C6C6C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7" name="Oval 480">
                              <a:extLst>
                                <a:ext uri="{FF2B5EF4-FFF2-40B4-BE49-F238E27FC236}">
                                  <a16:creationId xmlns:a16="http://schemas.microsoft.com/office/drawing/2014/main" id="{1233CE3E-6983-46AC-875C-B368C832AEF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37922" y="2706666"/>
                              <a:ext cx="83077" cy="83077"/>
                            </a:xfrm>
                            <a:prstGeom prst="ellipse">
                              <a:avLst/>
                            </a:prstGeom>
                            <a:solidFill>
                              <a:srgbClr val="F6F6F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8" name="Freeform 481">
                              <a:extLst>
                                <a:ext uri="{FF2B5EF4-FFF2-40B4-BE49-F238E27FC236}">
                                  <a16:creationId xmlns:a16="http://schemas.microsoft.com/office/drawing/2014/main" id="{9A258FD3-4AEF-44C6-B986-6689D05116E2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4379461" y="2748204"/>
                              <a:ext cx="41539" cy="33231"/>
                            </a:xfrm>
                            <a:custGeom>
                              <a:avLst/>
                              <a:gdLst>
                                <a:gd name="T0" fmla="*/ 0 w 5"/>
                                <a:gd name="T1" fmla="*/ 0 h 4"/>
                                <a:gd name="T2" fmla="*/ 5 w 5"/>
                                <a:gd name="T3" fmla="*/ 1 h 4"/>
                                <a:gd name="T4" fmla="*/ 4 w 5"/>
                                <a:gd name="T5" fmla="*/ 3 h 4"/>
                                <a:gd name="T6" fmla="*/ 3 w 5"/>
                                <a:gd name="T7" fmla="*/ 4 h 4"/>
                                <a:gd name="T8" fmla="*/ 0 w 5"/>
                                <a:gd name="T9" fmla="*/ 0 h 4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</a:cxnLst>
                              <a:rect l="0" t="0" r="r" b="b"/>
                              <a:pathLst>
                                <a:path w="5" h="4">
                                  <a:moveTo>
                                    <a:pt x="0" y="0"/>
                                  </a:moveTo>
                                  <a:cubicBezTo>
                                    <a:pt x="5" y="1"/>
                                    <a:pt x="5" y="1"/>
                                    <a:pt x="5" y="1"/>
                                  </a:cubicBezTo>
                                  <a:cubicBezTo>
                                    <a:pt x="5" y="2"/>
                                    <a:pt x="4" y="2"/>
                                    <a:pt x="4" y="3"/>
                                  </a:cubicBezTo>
                                  <a:cubicBezTo>
                                    <a:pt x="4" y="3"/>
                                    <a:pt x="3" y="4"/>
                                    <a:pt x="3" y="4"/>
                                  </a:cubicBez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312783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round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9" name="Rectangle 482">
                              <a:extLst>
                                <a:ext uri="{FF2B5EF4-FFF2-40B4-BE49-F238E27FC236}">
                                  <a16:creationId xmlns:a16="http://schemas.microsoft.com/office/drawing/2014/main" id="{DC4E0471-3326-4FCD-90F3-8F861EFC9A0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31589"/>
                              <a:ext cx="58154" cy="16615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30" name="Rectangle 483">
                              <a:extLst>
                                <a:ext uri="{FF2B5EF4-FFF2-40B4-BE49-F238E27FC236}">
                                  <a16:creationId xmlns:a16="http://schemas.microsoft.com/office/drawing/2014/main" id="{D6A38374-6225-4CA1-B7D0-7DBCA44C622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4346230" y="2748204"/>
                              <a:ext cx="24923" cy="8308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03" name="Gruppieren 1859">
                          <a:extLst>
                            <a:ext uri="{FF2B5EF4-FFF2-40B4-BE49-F238E27FC236}">
                              <a16:creationId xmlns:a16="http://schemas.microsoft.com/office/drawing/2014/main" id="{ED374247-6F9D-4356-B56A-5AF42D1EC55D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2692492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1118" name="Freeform 350">
                            <a:extLst>
                              <a:ext uri="{FF2B5EF4-FFF2-40B4-BE49-F238E27FC236}">
                                <a16:creationId xmlns:a16="http://schemas.microsoft.com/office/drawing/2014/main" id="{33284FD1-BD84-4DCE-BD98-4AD7E0A72B1C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119" name="Gruppieren 1861">
                            <a:extLst>
                              <a:ext uri="{FF2B5EF4-FFF2-40B4-BE49-F238E27FC236}">
                                <a16:creationId xmlns:a16="http://schemas.microsoft.com/office/drawing/2014/main" id="{287B6807-07D0-4638-85A3-5CA42D5BE0B9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1120" name="Freeform 350">
                              <a:extLst>
                                <a:ext uri="{FF2B5EF4-FFF2-40B4-BE49-F238E27FC236}">
                                  <a16:creationId xmlns:a16="http://schemas.microsoft.com/office/drawing/2014/main" id="{FDA81431-138D-4FCB-B2CF-EFB3E281D083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1" name="Freeform 351">
                              <a:extLst>
                                <a:ext uri="{FF2B5EF4-FFF2-40B4-BE49-F238E27FC236}">
                                  <a16:creationId xmlns:a16="http://schemas.microsoft.com/office/drawing/2014/main" id="{B2FF7978-3EAE-4EC5-BEFE-513C43571DCA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2" name="Freeform 352">
                              <a:extLst>
                                <a:ext uri="{FF2B5EF4-FFF2-40B4-BE49-F238E27FC236}">
                                  <a16:creationId xmlns:a16="http://schemas.microsoft.com/office/drawing/2014/main" id="{71D48027-0869-4BF9-9F9F-94193374D69F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23" name="Freeform 353">
                              <a:extLst>
                                <a:ext uri="{FF2B5EF4-FFF2-40B4-BE49-F238E27FC236}">
                                  <a16:creationId xmlns:a16="http://schemas.microsoft.com/office/drawing/2014/main" id="{B25706CC-FB1C-4BC6-9FFC-013CD177D1C9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04" name="Gruppieren 1866">
                          <a:extLst>
                            <a:ext uri="{FF2B5EF4-FFF2-40B4-BE49-F238E27FC236}">
                              <a16:creationId xmlns:a16="http://schemas.microsoft.com/office/drawing/2014/main" id="{888FC6E4-BF39-46FB-894E-F6A45BEA5D7F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3333476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1112" name="Freeform 350">
                            <a:extLst>
                              <a:ext uri="{FF2B5EF4-FFF2-40B4-BE49-F238E27FC236}">
                                <a16:creationId xmlns:a16="http://schemas.microsoft.com/office/drawing/2014/main" id="{051D5230-2075-435E-A786-37331B5351C5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113" name="Gruppieren 1868">
                            <a:extLst>
                              <a:ext uri="{FF2B5EF4-FFF2-40B4-BE49-F238E27FC236}">
                                <a16:creationId xmlns:a16="http://schemas.microsoft.com/office/drawing/2014/main" id="{32906642-D8A9-4482-B5D2-84C7D2010AFC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1114" name="Freeform 350">
                              <a:extLst>
                                <a:ext uri="{FF2B5EF4-FFF2-40B4-BE49-F238E27FC236}">
                                  <a16:creationId xmlns:a16="http://schemas.microsoft.com/office/drawing/2014/main" id="{506655B8-31FD-478F-8CE7-F8FFD205B56A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15" name="Freeform 351">
                              <a:extLst>
                                <a:ext uri="{FF2B5EF4-FFF2-40B4-BE49-F238E27FC236}">
                                  <a16:creationId xmlns:a16="http://schemas.microsoft.com/office/drawing/2014/main" id="{36BDA96A-6DA0-438E-BD79-EF0B54AF58B9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16" name="Freeform 352">
                              <a:extLst>
                                <a:ext uri="{FF2B5EF4-FFF2-40B4-BE49-F238E27FC236}">
                                  <a16:creationId xmlns:a16="http://schemas.microsoft.com/office/drawing/2014/main" id="{D7C3F6B4-CA59-408D-985B-F549141469AA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17" name="Freeform 353">
                              <a:extLst>
                                <a:ext uri="{FF2B5EF4-FFF2-40B4-BE49-F238E27FC236}">
                                  <a16:creationId xmlns:a16="http://schemas.microsoft.com/office/drawing/2014/main" id="{3BF604F2-0D8A-403A-8131-B28131626C90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1105" name="Gruppieren 1873">
                          <a:extLst>
                            <a:ext uri="{FF2B5EF4-FFF2-40B4-BE49-F238E27FC236}">
                              <a16:creationId xmlns:a16="http://schemas.microsoft.com/office/drawing/2014/main" id="{A719A0B5-4733-46F8-B612-723CE2E98937}"/>
                            </a:ext>
                          </a:extLst>
                        </p:cNvPr>
                        <p:cNvGrpSpPr>
                          <a:grpSpLocks/>
                        </p:cNvGrpSpPr>
                        <p:nvPr/>
                      </p:nvGrpSpPr>
                      <p:grpSpPr bwMode="gray">
                        <a:xfrm>
                          <a:off x="5384118" y="3964936"/>
                          <a:ext cx="43200" cy="54000"/>
                          <a:chOff x="5905651" y="2897187"/>
                          <a:chExt cx="160001" cy="216000"/>
                        </a:xfrm>
                      </p:grpSpPr>
                      <p:sp>
                        <p:nvSpPr>
                          <p:cNvPr id="1106" name="Freeform 350">
                            <a:extLst>
                              <a:ext uri="{FF2B5EF4-FFF2-40B4-BE49-F238E27FC236}">
                                <a16:creationId xmlns:a16="http://schemas.microsoft.com/office/drawing/2014/main" id="{AC1373DA-B3D9-40E9-9019-CE47E25CED53}"/>
                              </a:ext>
                            </a:extLst>
                          </p:cNvPr>
                          <p:cNvSpPr>
                            <a:spLocks/>
                          </p:cNvSpPr>
                          <p:nvPr/>
                        </p:nvSpPr>
                        <p:spPr bwMode="gray">
                          <a:xfrm>
                            <a:off x="5905651" y="2897187"/>
                            <a:ext cx="160001" cy="216000"/>
                          </a:xfrm>
                          <a:custGeom>
                            <a:avLst/>
                            <a:gdLst>
                              <a:gd name="T0" fmla="*/ 17 w 20"/>
                              <a:gd name="T1" fmla="*/ 27 h 27"/>
                              <a:gd name="T2" fmla="*/ 4 w 20"/>
                              <a:gd name="T3" fmla="*/ 27 h 27"/>
                              <a:gd name="T4" fmla="*/ 0 w 20"/>
                              <a:gd name="T5" fmla="*/ 24 h 27"/>
                              <a:gd name="T6" fmla="*/ 0 w 20"/>
                              <a:gd name="T7" fmla="*/ 3 h 27"/>
                              <a:gd name="T8" fmla="*/ 4 w 20"/>
                              <a:gd name="T9" fmla="*/ 0 h 27"/>
                              <a:gd name="T10" fmla="*/ 17 w 20"/>
                              <a:gd name="T11" fmla="*/ 0 h 27"/>
                              <a:gd name="T12" fmla="*/ 20 w 20"/>
                              <a:gd name="T13" fmla="*/ 3 h 27"/>
                              <a:gd name="T14" fmla="*/ 20 w 20"/>
                              <a:gd name="T15" fmla="*/ 24 h 27"/>
                              <a:gd name="T16" fmla="*/ 17 w 20"/>
                              <a:gd name="T17" fmla="*/ 27 h 2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20" h="27">
                                <a:moveTo>
                                  <a:pt x="17" y="27"/>
                                </a:moveTo>
                                <a:cubicBezTo>
                                  <a:pt x="4" y="27"/>
                                  <a:pt x="4" y="27"/>
                                  <a:pt x="4" y="27"/>
                                </a:cubicBezTo>
                                <a:cubicBezTo>
                                  <a:pt x="2" y="27"/>
                                  <a:pt x="0" y="25"/>
                                  <a:pt x="0" y="24"/>
                                </a:cubicBezTo>
                                <a:cubicBezTo>
                                  <a:pt x="0" y="3"/>
                                  <a:pt x="0" y="3"/>
                                  <a:pt x="0" y="3"/>
                                </a:cubicBezTo>
                                <a:cubicBezTo>
                                  <a:pt x="0" y="1"/>
                                  <a:pt x="2" y="0"/>
                                  <a:pt x="4" y="0"/>
                                </a:cubicBezTo>
                                <a:cubicBezTo>
                                  <a:pt x="17" y="0"/>
                                  <a:pt x="17" y="0"/>
                                  <a:pt x="17" y="0"/>
                                </a:cubicBezTo>
                                <a:cubicBezTo>
                                  <a:pt x="19" y="0"/>
                                  <a:pt x="20" y="1"/>
                                  <a:pt x="20" y="3"/>
                                </a:cubicBezTo>
                                <a:cubicBezTo>
                                  <a:pt x="20" y="24"/>
                                  <a:pt x="20" y="24"/>
                                  <a:pt x="20" y="24"/>
                                </a:cubicBezTo>
                                <a:cubicBezTo>
                                  <a:pt x="20" y="25"/>
                                  <a:pt x="19" y="27"/>
                                  <a:pt x="17" y="27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2">
                              <a:lumMod val="9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grpSp>
                        <p:nvGrpSpPr>
                          <p:cNvPr id="1107" name="Gruppieren 1875">
                            <a:extLst>
                              <a:ext uri="{FF2B5EF4-FFF2-40B4-BE49-F238E27FC236}">
                                <a16:creationId xmlns:a16="http://schemas.microsoft.com/office/drawing/2014/main" id="{58889C7B-1A1C-463B-81C7-0FCB33A477A2}"/>
                              </a:ext>
                            </a:extLst>
                          </p:cNvPr>
                          <p:cNvGrpSpPr/>
                          <p:nvPr/>
                        </p:nvGrpSpPr>
                        <p:grpSpPr bwMode="gray">
                          <a:xfrm>
                            <a:off x="5918729" y="2901950"/>
                            <a:ext cx="144000" cy="194399"/>
                            <a:chOff x="5659173" y="2904331"/>
                            <a:chExt cx="144000" cy="194399"/>
                          </a:xfrm>
                        </p:grpSpPr>
                        <p:sp>
                          <p:nvSpPr>
                            <p:cNvPr id="1108" name="Freeform 350">
                              <a:extLst>
                                <a:ext uri="{FF2B5EF4-FFF2-40B4-BE49-F238E27FC236}">
                                  <a16:creationId xmlns:a16="http://schemas.microsoft.com/office/drawing/2014/main" id="{71843D10-4256-4B8C-870C-C80EFC79F117}"/>
                                </a:ext>
                              </a:extLst>
                            </p:cNvPr>
                            <p:cNvSpPr>
                              <a:spLocks noChangeAspect="1"/>
                            </p:cNvSpPr>
                            <p:nvPr/>
                          </p:nvSpPr>
                          <p:spPr bwMode="gray">
                            <a:xfrm>
                              <a:off x="5659173" y="2904331"/>
                              <a:ext cx="144000" cy="194399"/>
                            </a:xfrm>
                            <a:custGeom>
                              <a:avLst/>
                              <a:gdLst>
                                <a:gd name="T0" fmla="*/ 17 w 20"/>
                                <a:gd name="T1" fmla="*/ 27 h 27"/>
                                <a:gd name="T2" fmla="*/ 4 w 20"/>
                                <a:gd name="T3" fmla="*/ 27 h 27"/>
                                <a:gd name="T4" fmla="*/ 0 w 20"/>
                                <a:gd name="T5" fmla="*/ 24 h 27"/>
                                <a:gd name="T6" fmla="*/ 0 w 20"/>
                                <a:gd name="T7" fmla="*/ 3 h 27"/>
                                <a:gd name="T8" fmla="*/ 4 w 20"/>
                                <a:gd name="T9" fmla="*/ 0 h 27"/>
                                <a:gd name="T10" fmla="*/ 17 w 20"/>
                                <a:gd name="T11" fmla="*/ 0 h 27"/>
                                <a:gd name="T12" fmla="*/ 20 w 20"/>
                                <a:gd name="T13" fmla="*/ 3 h 27"/>
                                <a:gd name="T14" fmla="*/ 20 w 20"/>
                                <a:gd name="T15" fmla="*/ 24 h 27"/>
                                <a:gd name="T16" fmla="*/ 17 w 20"/>
                                <a:gd name="T17" fmla="*/ 27 h 27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20" h="27">
                                  <a:moveTo>
                                    <a:pt x="17" y="27"/>
                                  </a:moveTo>
                                  <a:cubicBezTo>
                                    <a:pt x="4" y="27"/>
                                    <a:pt x="4" y="27"/>
                                    <a:pt x="4" y="27"/>
                                  </a:cubicBezTo>
                                  <a:cubicBezTo>
                                    <a:pt x="2" y="27"/>
                                    <a:pt x="0" y="25"/>
                                    <a:pt x="0" y="24"/>
                                  </a:cubicBezTo>
                                  <a:cubicBezTo>
                                    <a:pt x="0" y="3"/>
                                    <a:pt x="0" y="3"/>
                                    <a:pt x="0" y="3"/>
                                  </a:cubicBezTo>
                                  <a:cubicBezTo>
                                    <a:pt x="0" y="1"/>
                                    <a:pt x="2" y="0"/>
                                    <a:pt x="4" y="0"/>
                                  </a:cubicBezTo>
                                  <a:cubicBezTo>
                                    <a:pt x="17" y="0"/>
                                    <a:pt x="17" y="0"/>
                                    <a:pt x="17" y="0"/>
                                  </a:cubicBezTo>
                                  <a:cubicBezTo>
                                    <a:pt x="19" y="0"/>
                                    <a:pt x="20" y="1"/>
                                    <a:pt x="20" y="3"/>
                                  </a:cubicBezTo>
                                  <a:cubicBezTo>
                                    <a:pt x="20" y="24"/>
                                    <a:pt x="20" y="24"/>
                                    <a:pt x="20" y="24"/>
                                  </a:cubicBezTo>
                                  <a:cubicBezTo>
                                    <a:pt x="20" y="25"/>
                                    <a:pt x="19" y="27"/>
                                    <a:pt x="17" y="27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09" name="Freeform 351">
                              <a:extLst>
                                <a:ext uri="{FF2B5EF4-FFF2-40B4-BE49-F238E27FC236}">
                                  <a16:creationId xmlns:a16="http://schemas.microsoft.com/office/drawing/2014/main" id="{FAE3870E-EE68-417B-8289-4537ECDF7F62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73649" y="2921187"/>
                              <a:ext cx="120001" cy="48000"/>
                            </a:xfrm>
                            <a:custGeom>
                              <a:avLst/>
                              <a:gdLst>
                                <a:gd name="T0" fmla="*/ 13 w 15"/>
                                <a:gd name="T1" fmla="*/ 6 h 6"/>
                                <a:gd name="T2" fmla="*/ 1 w 15"/>
                                <a:gd name="T3" fmla="*/ 6 h 6"/>
                                <a:gd name="T4" fmla="*/ 0 w 15"/>
                                <a:gd name="T5" fmla="*/ 5 h 6"/>
                                <a:gd name="T6" fmla="*/ 0 w 15"/>
                                <a:gd name="T7" fmla="*/ 1 h 6"/>
                                <a:gd name="T8" fmla="*/ 1 w 15"/>
                                <a:gd name="T9" fmla="*/ 0 h 6"/>
                                <a:gd name="T10" fmla="*/ 13 w 15"/>
                                <a:gd name="T11" fmla="*/ 0 h 6"/>
                                <a:gd name="T12" fmla="*/ 15 w 15"/>
                                <a:gd name="T13" fmla="*/ 1 h 6"/>
                                <a:gd name="T14" fmla="*/ 15 w 15"/>
                                <a:gd name="T15" fmla="*/ 5 h 6"/>
                                <a:gd name="T16" fmla="*/ 13 w 15"/>
                                <a:gd name="T17" fmla="*/ 6 h 6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15" h="6">
                                  <a:moveTo>
                                    <a:pt x="13" y="6"/>
                                  </a:moveTo>
                                  <a:cubicBezTo>
                                    <a:pt x="1" y="6"/>
                                    <a:pt x="1" y="6"/>
                                    <a:pt x="1" y="6"/>
                                  </a:cubicBezTo>
                                  <a:cubicBezTo>
                                    <a:pt x="0" y="6"/>
                                    <a:pt x="0" y="5"/>
                                    <a:pt x="0" y="5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0"/>
                                    <a:pt x="0" y="0"/>
                                    <a:pt x="1" y="0"/>
                                  </a:cubicBezTo>
                                  <a:cubicBezTo>
                                    <a:pt x="13" y="0"/>
                                    <a:pt x="13" y="0"/>
                                    <a:pt x="13" y="0"/>
                                  </a:cubicBezTo>
                                  <a:cubicBezTo>
                                    <a:pt x="14" y="0"/>
                                    <a:pt x="15" y="0"/>
                                    <a:pt x="15" y="1"/>
                                  </a:cubicBezTo>
                                  <a:cubicBezTo>
                                    <a:pt x="15" y="5"/>
                                    <a:pt x="15" y="5"/>
                                    <a:pt x="15" y="5"/>
                                  </a:cubicBezTo>
                                  <a:cubicBezTo>
                                    <a:pt x="15" y="5"/>
                                    <a:pt x="14" y="6"/>
                                    <a:pt x="13" y="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10" name="Freeform 352">
                              <a:extLst>
                                <a:ext uri="{FF2B5EF4-FFF2-40B4-BE49-F238E27FC236}">
                                  <a16:creationId xmlns:a16="http://schemas.microsoft.com/office/drawing/2014/main" id="{910AF483-2C20-490D-9995-B2DF42EF6DCB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745650" y="2985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2 w 3"/>
                                <a:gd name="T1" fmla="*/ 3 h 3"/>
                                <a:gd name="T2" fmla="*/ 2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2 w 3"/>
                                <a:gd name="T9" fmla="*/ 0 h 3"/>
                                <a:gd name="T10" fmla="*/ 2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2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2" y="3"/>
                                  </a:moveTo>
                                  <a:cubicBezTo>
                                    <a:pt x="2" y="3"/>
                                    <a:pt x="2" y="3"/>
                                    <a:pt x="2" y="3"/>
                                  </a:cubicBezTo>
                                  <a:cubicBezTo>
                                    <a:pt x="1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1" y="0"/>
                                    <a:pt x="2" y="0"/>
                                  </a:cubicBezTo>
                                  <a:cubicBezTo>
                                    <a:pt x="2" y="0"/>
                                    <a:pt x="2" y="0"/>
                                    <a:pt x="2" y="0"/>
                                  </a:cubicBezTo>
                                  <a:cubicBezTo>
                                    <a:pt x="3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3" y="3"/>
                                    <a:pt x="2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111" name="Freeform 353">
                              <a:extLst>
                                <a:ext uri="{FF2B5EF4-FFF2-40B4-BE49-F238E27FC236}">
                                  <a16:creationId xmlns:a16="http://schemas.microsoft.com/office/drawing/2014/main" id="{9AE3C34E-A3EB-42DA-929A-CBD4F08659EC}"/>
                                </a:ext>
                              </a:extLst>
                            </p:cNvPr>
                            <p:cNvSpPr>
                              <a:spLocks/>
                            </p:cNvSpPr>
                            <p:nvPr/>
                          </p:nvSpPr>
                          <p:spPr bwMode="gray">
                            <a:xfrm>
                              <a:off x="5689649" y="3017187"/>
                              <a:ext cx="24000" cy="24000"/>
                            </a:xfrm>
                            <a:custGeom>
                              <a:avLst/>
                              <a:gdLst>
                                <a:gd name="T0" fmla="*/ 1 w 3"/>
                                <a:gd name="T1" fmla="*/ 3 h 3"/>
                                <a:gd name="T2" fmla="*/ 1 w 3"/>
                                <a:gd name="T3" fmla="*/ 3 h 3"/>
                                <a:gd name="T4" fmla="*/ 0 w 3"/>
                                <a:gd name="T5" fmla="*/ 2 h 3"/>
                                <a:gd name="T6" fmla="*/ 0 w 3"/>
                                <a:gd name="T7" fmla="*/ 1 h 3"/>
                                <a:gd name="T8" fmla="*/ 1 w 3"/>
                                <a:gd name="T9" fmla="*/ 0 h 3"/>
                                <a:gd name="T10" fmla="*/ 1 w 3"/>
                                <a:gd name="T11" fmla="*/ 0 h 3"/>
                                <a:gd name="T12" fmla="*/ 3 w 3"/>
                                <a:gd name="T13" fmla="*/ 1 h 3"/>
                                <a:gd name="T14" fmla="*/ 3 w 3"/>
                                <a:gd name="T15" fmla="*/ 2 h 3"/>
                                <a:gd name="T16" fmla="*/ 1 w 3"/>
                                <a:gd name="T17" fmla="*/ 3 h 3"/>
                              </a:gdLst>
                              <a:ahLst/>
                              <a:cxnLst>
                                <a:cxn ang="0">
                                  <a:pos x="T0" y="T1"/>
                                </a:cxn>
                                <a:cxn ang="0">
                                  <a:pos x="T2" y="T3"/>
                                </a:cxn>
                                <a:cxn ang="0">
                                  <a:pos x="T4" y="T5"/>
                                </a:cxn>
                                <a:cxn ang="0">
                                  <a:pos x="T6" y="T7"/>
                                </a:cxn>
                                <a:cxn ang="0">
                                  <a:pos x="T8" y="T9"/>
                                </a:cxn>
                                <a:cxn ang="0">
                                  <a:pos x="T10" y="T11"/>
                                </a:cxn>
                                <a:cxn ang="0">
                                  <a:pos x="T12" y="T13"/>
                                </a:cxn>
                                <a:cxn ang="0">
                                  <a:pos x="T14" y="T15"/>
                                </a:cxn>
                                <a:cxn ang="0">
                                  <a:pos x="T16" y="T17"/>
                                </a:cxn>
                              </a:cxnLst>
                              <a:rect l="0" t="0" r="r" b="b"/>
                              <a:pathLst>
                                <a:path w="3" h="3">
                                  <a:moveTo>
                                    <a:pt x="1" y="3"/>
                                  </a:moveTo>
                                  <a:cubicBezTo>
                                    <a:pt x="1" y="3"/>
                                    <a:pt x="1" y="3"/>
                                    <a:pt x="1" y="3"/>
                                  </a:cubicBezTo>
                                  <a:cubicBezTo>
                                    <a:pt x="0" y="3"/>
                                    <a:pt x="0" y="3"/>
                                    <a:pt x="0" y="2"/>
                                  </a:cubicBezTo>
                                  <a:cubicBezTo>
                                    <a:pt x="0" y="1"/>
                                    <a:pt x="0" y="1"/>
                                    <a:pt x="0" y="1"/>
                                  </a:cubicBezTo>
                                  <a:cubicBezTo>
                                    <a:pt x="0" y="1"/>
                                    <a:pt x="0" y="0"/>
                                    <a:pt x="1" y="0"/>
                                  </a:cubicBezTo>
                                  <a:cubicBezTo>
                                    <a:pt x="1" y="0"/>
                                    <a:pt x="1" y="0"/>
                                    <a:pt x="1" y="0"/>
                                  </a:cubicBezTo>
                                  <a:cubicBezTo>
                                    <a:pt x="2" y="0"/>
                                    <a:pt x="3" y="1"/>
                                    <a:pt x="3" y="1"/>
                                  </a:cubicBezTo>
                                  <a:cubicBezTo>
                                    <a:pt x="3" y="2"/>
                                    <a:pt x="3" y="2"/>
                                    <a:pt x="3" y="2"/>
                                  </a:cubicBezTo>
                                  <a:cubicBezTo>
                                    <a:pt x="3" y="3"/>
                                    <a:pt x="2" y="3"/>
                                    <a:pt x="1" y="3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50000"/>
                              </a:schemeClr>
                            </a:solidFill>
                            <a:ln>
                              <a:noFill/>
                            </a:ln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940" name="Gruppieren 2355">
                        <a:extLst>
                          <a:ext uri="{FF2B5EF4-FFF2-40B4-BE49-F238E27FC236}">
                            <a16:creationId xmlns:a16="http://schemas.microsoft.com/office/drawing/2014/main" id="{93BAEA6D-5ADF-44B3-AACF-B1692742FF7A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2215774" y="2220322"/>
                        <a:ext cx="3664609" cy="1314472"/>
                        <a:chOff x="2215774" y="2220322"/>
                        <a:chExt cx="3664609" cy="1314472"/>
                      </a:xfrm>
                    </p:grpSpPr>
                    <p:grpSp>
                      <p:nvGrpSpPr>
                        <p:cNvPr id="972" name="Gruppieren 99">
                          <a:extLst>
                            <a:ext uri="{FF2B5EF4-FFF2-40B4-BE49-F238E27FC236}">
                              <a16:creationId xmlns:a16="http://schemas.microsoft.com/office/drawing/2014/main" id="{AF77C1EA-EDDD-4CA1-A335-34B57CE8FDDB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5803899" y="2220322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1067" name="Gruppieren 1885">
                            <a:extLst>
                              <a:ext uri="{FF2B5EF4-FFF2-40B4-BE49-F238E27FC236}">
                                <a16:creationId xmlns:a16="http://schemas.microsoft.com/office/drawing/2014/main" id="{55238AF4-5351-4A3F-8A2D-5961478DC1EA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90" name="Gruppieren 1886">
                              <a:extLst>
                                <a:ext uri="{FF2B5EF4-FFF2-40B4-BE49-F238E27FC236}">
                                  <a16:creationId xmlns:a16="http://schemas.microsoft.com/office/drawing/2014/main" id="{B305F9C1-DA0F-441F-8A75-4A90C1972E2C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98" name="Rectangle 405">
                                <a:extLst>
                                  <a:ext uri="{FF2B5EF4-FFF2-40B4-BE49-F238E27FC236}">
                                    <a16:creationId xmlns:a16="http://schemas.microsoft.com/office/drawing/2014/main" id="{B334DA90-A5F4-4D2A-8F4C-472297D16AFF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99" name="Flussdiagramm: Grenzstelle 1895">
                                <a:extLst>
                                  <a:ext uri="{FF2B5EF4-FFF2-40B4-BE49-F238E27FC236}">
                                    <a16:creationId xmlns:a16="http://schemas.microsoft.com/office/drawing/2014/main" id="{EB47B9FE-D169-4A28-9ECC-3051227698EE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91" name="Rectangle 407">
                              <a:extLst>
                                <a:ext uri="{FF2B5EF4-FFF2-40B4-BE49-F238E27FC236}">
                                  <a16:creationId xmlns:a16="http://schemas.microsoft.com/office/drawing/2014/main" id="{8D598FA1-947F-43D8-AE15-CF7E405F504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2" name="Rectangle 407">
                              <a:extLst>
                                <a:ext uri="{FF2B5EF4-FFF2-40B4-BE49-F238E27FC236}">
                                  <a16:creationId xmlns:a16="http://schemas.microsoft.com/office/drawing/2014/main" id="{D0EAD602-43B1-4BF6-A13B-6949D5D9A68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3" name="Rectangle 407">
                              <a:extLst>
                                <a:ext uri="{FF2B5EF4-FFF2-40B4-BE49-F238E27FC236}">
                                  <a16:creationId xmlns:a16="http://schemas.microsoft.com/office/drawing/2014/main" id="{313B3E4F-5566-4693-ADAC-626786ED644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4" name="Rectangle 407">
                              <a:extLst>
                                <a:ext uri="{FF2B5EF4-FFF2-40B4-BE49-F238E27FC236}">
                                  <a16:creationId xmlns:a16="http://schemas.microsoft.com/office/drawing/2014/main" id="{E9526768-8A5A-42BD-B0BB-FCAA1621BF0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5" name="Rectangle 407">
                              <a:extLst>
                                <a:ext uri="{FF2B5EF4-FFF2-40B4-BE49-F238E27FC236}">
                                  <a16:creationId xmlns:a16="http://schemas.microsoft.com/office/drawing/2014/main" id="{8A50A17E-EFF2-4CE5-BC34-4E056457239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6" name="Rectangle 407">
                              <a:extLst>
                                <a:ext uri="{FF2B5EF4-FFF2-40B4-BE49-F238E27FC236}">
                                  <a16:creationId xmlns:a16="http://schemas.microsoft.com/office/drawing/2014/main" id="{B4516051-5886-4851-BD45-7569090AA9E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97" name="Rectangle 407">
                              <a:extLst>
                                <a:ext uri="{FF2B5EF4-FFF2-40B4-BE49-F238E27FC236}">
                                  <a16:creationId xmlns:a16="http://schemas.microsoft.com/office/drawing/2014/main" id="{DC9F2B37-D40A-4A62-8BE0-075F90C9A9D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068" name="Gruppieren 1896">
                            <a:extLst>
                              <a:ext uri="{FF2B5EF4-FFF2-40B4-BE49-F238E27FC236}">
                                <a16:creationId xmlns:a16="http://schemas.microsoft.com/office/drawing/2014/main" id="{254F06A7-33D4-4176-A81D-2C5BDB8AFE08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80" name="Gruppieren 1897">
                              <a:extLst>
                                <a:ext uri="{FF2B5EF4-FFF2-40B4-BE49-F238E27FC236}">
                                  <a16:creationId xmlns:a16="http://schemas.microsoft.com/office/drawing/2014/main" id="{0A509B14-2399-4F00-B72B-C8BFB7570E16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88" name="Rectangle 405">
                                <a:extLst>
                                  <a:ext uri="{FF2B5EF4-FFF2-40B4-BE49-F238E27FC236}">
                                    <a16:creationId xmlns:a16="http://schemas.microsoft.com/office/drawing/2014/main" id="{DD822DAD-59B2-4A61-B6A0-8A0B55062DA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89" name="Flussdiagramm: Grenzstelle 1906">
                                <a:extLst>
                                  <a:ext uri="{FF2B5EF4-FFF2-40B4-BE49-F238E27FC236}">
                                    <a16:creationId xmlns:a16="http://schemas.microsoft.com/office/drawing/2014/main" id="{C00A29DB-0CCB-465E-A656-D18D492A0D8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81" name="Rectangle 407">
                              <a:extLst>
                                <a:ext uri="{FF2B5EF4-FFF2-40B4-BE49-F238E27FC236}">
                                  <a16:creationId xmlns:a16="http://schemas.microsoft.com/office/drawing/2014/main" id="{6C89F6AC-D511-425B-B082-973D0AEDCA1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2" name="Rectangle 407">
                              <a:extLst>
                                <a:ext uri="{FF2B5EF4-FFF2-40B4-BE49-F238E27FC236}">
                                  <a16:creationId xmlns:a16="http://schemas.microsoft.com/office/drawing/2014/main" id="{B8E38E14-6A98-46B7-A77E-FA948EFA398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3" name="Rectangle 407">
                              <a:extLst>
                                <a:ext uri="{FF2B5EF4-FFF2-40B4-BE49-F238E27FC236}">
                                  <a16:creationId xmlns:a16="http://schemas.microsoft.com/office/drawing/2014/main" id="{9EFB9F9F-47BE-4FA7-AF05-2EAF0EBCAE3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4" name="Rectangle 407">
                              <a:extLst>
                                <a:ext uri="{FF2B5EF4-FFF2-40B4-BE49-F238E27FC236}">
                                  <a16:creationId xmlns:a16="http://schemas.microsoft.com/office/drawing/2014/main" id="{FFAD6364-7B90-4DD5-8FD4-EFCF457A915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5" name="Rectangle 407">
                              <a:extLst>
                                <a:ext uri="{FF2B5EF4-FFF2-40B4-BE49-F238E27FC236}">
                                  <a16:creationId xmlns:a16="http://schemas.microsoft.com/office/drawing/2014/main" id="{EB44BC95-118B-425F-A18B-4FD07C35B4C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6" name="Rectangle 407">
                              <a:extLst>
                                <a:ext uri="{FF2B5EF4-FFF2-40B4-BE49-F238E27FC236}">
                                  <a16:creationId xmlns:a16="http://schemas.microsoft.com/office/drawing/2014/main" id="{7862B683-F34F-4CB0-A6CD-3B2B5E5C789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87" name="Rectangle 407">
                              <a:extLst>
                                <a:ext uri="{FF2B5EF4-FFF2-40B4-BE49-F238E27FC236}">
                                  <a16:creationId xmlns:a16="http://schemas.microsoft.com/office/drawing/2014/main" id="{6959CDA4-78D3-4A32-BF97-6D68BDE8559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069" name="Gruppieren 1907">
                            <a:extLst>
                              <a:ext uri="{FF2B5EF4-FFF2-40B4-BE49-F238E27FC236}">
                                <a16:creationId xmlns:a16="http://schemas.microsoft.com/office/drawing/2014/main" id="{621BAA79-B6FE-4A5B-84D9-293B50E2BB88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70" name="Gruppieren 1908">
                              <a:extLst>
                                <a:ext uri="{FF2B5EF4-FFF2-40B4-BE49-F238E27FC236}">
                                  <a16:creationId xmlns:a16="http://schemas.microsoft.com/office/drawing/2014/main" id="{6B9CDB76-3B67-4F70-AB30-B736BC7C1A5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78" name="Rectangle 405">
                                <a:extLst>
                                  <a:ext uri="{FF2B5EF4-FFF2-40B4-BE49-F238E27FC236}">
                                    <a16:creationId xmlns:a16="http://schemas.microsoft.com/office/drawing/2014/main" id="{405D0498-9B62-405B-AF1E-603686EE2E0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79" name="Flussdiagramm: Grenzstelle 1917">
                                <a:extLst>
                                  <a:ext uri="{FF2B5EF4-FFF2-40B4-BE49-F238E27FC236}">
                                    <a16:creationId xmlns:a16="http://schemas.microsoft.com/office/drawing/2014/main" id="{167C792A-6C1F-446D-BD5C-232612DD81CB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71" name="Rectangle 407">
                              <a:extLst>
                                <a:ext uri="{FF2B5EF4-FFF2-40B4-BE49-F238E27FC236}">
                                  <a16:creationId xmlns:a16="http://schemas.microsoft.com/office/drawing/2014/main" id="{597AB6DC-1819-4963-BA67-137590FE1E6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2" name="Rectangle 407">
                              <a:extLst>
                                <a:ext uri="{FF2B5EF4-FFF2-40B4-BE49-F238E27FC236}">
                                  <a16:creationId xmlns:a16="http://schemas.microsoft.com/office/drawing/2014/main" id="{A46C7C11-D37F-4E7F-AC76-39F7A508F73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3" name="Rectangle 407">
                              <a:extLst>
                                <a:ext uri="{FF2B5EF4-FFF2-40B4-BE49-F238E27FC236}">
                                  <a16:creationId xmlns:a16="http://schemas.microsoft.com/office/drawing/2014/main" id="{2CE3DE20-A73A-4F80-88CA-7853C4CDD99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4" name="Rectangle 407">
                              <a:extLst>
                                <a:ext uri="{FF2B5EF4-FFF2-40B4-BE49-F238E27FC236}">
                                  <a16:creationId xmlns:a16="http://schemas.microsoft.com/office/drawing/2014/main" id="{34D0BAEA-6906-4AC5-9F63-C46C153A3083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5" name="Rectangle 407">
                              <a:extLst>
                                <a:ext uri="{FF2B5EF4-FFF2-40B4-BE49-F238E27FC236}">
                                  <a16:creationId xmlns:a16="http://schemas.microsoft.com/office/drawing/2014/main" id="{CD910DFC-947E-488E-A980-824486CF99F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6" name="Rectangle 407">
                              <a:extLst>
                                <a:ext uri="{FF2B5EF4-FFF2-40B4-BE49-F238E27FC236}">
                                  <a16:creationId xmlns:a16="http://schemas.microsoft.com/office/drawing/2014/main" id="{FD3DF3B5-43EE-467F-B975-3A7F4F4E2F4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77" name="Rectangle 407">
                              <a:extLst>
                                <a:ext uri="{FF2B5EF4-FFF2-40B4-BE49-F238E27FC236}">
                                  <a16:creationId xmlns:a16="http://schemas.microsoft.com/office/drawing/2014/main" id="{CA8E48DD-9F8B-48F8-8FA1-B02F1E5B29E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973" name="Gruppieren 1918">
                          <a:extLst>
                            <a:ext uri="{FF2B5EF4-FFF2-40B4-BE49-F238E27FC236}">
                              <a16:creationId xmlns:a16="http://schemas.microsoft.com/office/drawing/2014/main" id="{82DF0664-6CD8-410F-B5CD-223288E61EA1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3396100" y="2227374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1034" name="Gruppieren 1919">
                            <a:extLst>
                              <a:ext uri="{FF2B5EF4-FFF2-40B4-BE49-F238E27FC236}">
                                <a16:creationId xmlns:a16="http://schemas.microsoft.com/office/drawing/2014/main" id="{DF2BD69F-61C3-4F6F-A70C-5358E3BE2472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57" name="Gruppieren 1942">
                              <a:extLst>
                                <a:ext uri="{FF2B5EF4-FFF2-40B4-BE49-F238E27FC236}">
                                  <a16:creationId xmlns:a16="http://schemas.microsoft.com/office/drawing/2014/main" id="{EE581D30-E765-4430-B3CB-E60EE5F1F70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65" name="Rectangle 405">
                                <a:extLst>
                                  <a:ext uri="{FF2B5EF4-FFF2-40B4-BE49-F238E27FC236}">
                                    <a16:creationId xmlns:a16="http://schemas.microsoft.com/office/drawing/2014/main" id="{44A80C9D-8F3B-4ECF-99F9-B8CF03AE47F1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66" name="Flussdiagramm: Grenzstelle 1951">
                                <a:extLst>
                                  <a:ext uri="{FF2B5EF4-FFF2-40B4-BE49-F238E27FC236}">
                                    <a16:creationId xmlns:a16="http://schemas.microsoft.com/office/drawing/2014/main" id="{13FF81FB-69D0-425E-9497-BFEE2B179DD5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58" name="Rectangle 407">
                              <a:extLst>
                                <a:ext uri="{FF2B5EF4-FFF2-40B4-BE49-F238E27FC236}">
                                  <a16:creationId xmlns:a16="http://schemas.microsoft.com/office/drawing/2014/main" id="{AD8FAA0A-6B63-41B5-9CBA-4E131BC27E4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9" name="Rectangle 407">
                              <a:extLst>
                                <a:ext uri="{FF2B5EF4-FFF2-40B4-BE49-F238E27FC236}">
                                  <a16:creationId xmlns:a16="http://schemas.microsoft.com/office/drawing/2014/main" id="{E1B1017D-D9F9-4E7F-A0B6-7B15E9EEA2A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60" name="Rectangle 407">
                              <a:extLst>
                                <a:ext uri="{FF2B5EF4-FFF2-40B4-BE49-F238E27FC236}">
                                  <a16:creationId xmlns:a16="http://schemas.microsoft.com/office/drawing/2014/main" id="{29975A04-2016-4F8E-8F62-3997C114A87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61" name="Rectangle 407">
                              <a:extLst>
                                <a:ext uri="{FF2B5EF4-FFF2-40B4-BE49-F238E27FC236}">
                                  <a16:creationId xmlns:a16="http://schemas.microsoft.com/office/drawing/2014/main" id="{8903AA57-EFDC-4E8A-992A-5F09F935044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62" name="Rectangle 407">
                              <a:extLst>
                                <a:ext uri="{FF2B5EF4-FFF2-40B4-BE49-F238E27FC236}">
                                  <a16:creationId xmlns:a16="http://schemas.microsoft.com/office/drawing/2014/main" id="{885ABE3C-8ED2-43BF-99C0-54F29B3775E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63" name="Rectangle 407">
                              <a:extLst>
                                <a:ext uri="{FF2B5EF4-FFF2-40B4-BE49-F238E27FC236}">
                                  <a16:creationId xmlns:a16="http://schemas.microsoft.com/office/drawing/2014/main" id="{F7F3CB66-46C3-4C28-BFC8-32A5012E3F2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64" name="Rectangle 407">
                              <a:extLst>
                                <a:ext uri="{FF2B5EF4-FFF2-40B4-BE49-F238E27FC236}">
                                  <a16:creationId xmlns:a16="http://schemas.microsoft.com/office/drawing/2014/main" id="{7C96468C-0056-4158-B58C-1A814967173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035" name="Gruppieren 1920">
                            <a:extLst>
                              <a:ext uri="{FF2B5EF4-FFF2-40B4-BE49-F238E27FC236}">
                                <a16:creationId xmlns:a16="http://schemas.microsoft.com/office/drawing/2014/main" id="{B30B3AA1-9100-44C8-9B21-02BEED727EB7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47" name="Gruppieren 1932">
                              <a:extLst>
                                <a:ext uri="{FF2B5EF4-FFF2-40B4-BE49-F238E27FC236}">
                                  <a16:creationId xmlns:a16="http://schemas.microsoft.com/office/drawing/2014/main" id="{6AA0C4A9-2223-41FE-8CB4-32C4A6873C66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55" name="Rectangle 405">
                                <a:extLst>
                                  <a:ext uri="{FF2B5EF4-FFF2-40B4-BE49-F238E27FC236}">
                                    <a16:creationId xmlns:a16="http://schemas.microsoft.com/office/drawing/2014/main" id="{0323311E-DB6B-4219-9D19-DD59C1875796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56" name="Flussdiagramm: Grenzstelle 1941">
                                <a:extLst>
                                  <a:ext uri="{FF2B5EF4-FFF2-40B4-BE49-F238E27FC236}">
                                    <a16:creationId xmlns:a16="http://schemas.microsoft.com/office/drawing/2014/main" id="{C4FFEDE4-A688-4C84-90AB-9BA1D787FD6C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48" name="Rectangle 407">
                              <a:extLst>
                                <a:ext uri="{FF2B5EF4-FFF2-40B4-BE49-F238E27FC236}">
                                  <a16:creationId xmlns:a16="http://schemas.microsoft.com/office/drawing/2014/main" id="{49BE7715-DCAE-4897-A31E-54DB8760F79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9" name="Rectangle 407">
                              <a:extLst>
                                <a:ext uri="{FF2B5EF4-FFF2-40B4-BE49-F238E27FC236}">
                                  <a16:creationId xmlns:a16="http://schemas.microsoft.com/office/drawing/2014/main" id="{C2DCE778-2377-44CD-9584-77847F51128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0" name="Rectangle 407">
                              <a:extLst>
                                <a:ext uri="{FF2B5EF4-FFF2-40B4-BE49-F238E27FC236}">
                                  <a16:creationId xmlns:a16="http://schemas.microsoft.com/office/drawing/2014/main" id="{2C2FAF00-AEA9-4E7A-A476-D0F32DE474C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1" name="Rectangle 407">
                              <a:extLst>
                                <a:ext uri="{FF2B5EF4-FFF2-40B4-BE49-F238E27FC236}">
                                  <a16:creationId xmlns:a16="http://schemas.microsoft.com/office/drawing/2014/main" id="{D19D5C9C-AABF-4C43-8859-330D9F5BE4C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2" name="Rectangle 407">
                              <a:extLst>
                                <a:ext uri="{FF2B5EF4-FFF2-40B4-BE49-F238E27FC236}">
                                  <a16:creationId xmlns:a16="http://schemas.microsoft.com/office/drawing/2014/main" id="{488A024D-5440-44B1-8168-08DFB1D7A09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3" name="Rectangle 407">
                              <a:extLst>
                                <a:ext uri="{FF2B5EF4-FFF2-40B4-BE49-F238E27FC236}">
                                  <a16:creationId xmlns:a16="http://schemas.microsoft.com/office/drawing/2014/main" id="{52D96BE1-1935-4629-905F-7BD18C5BA244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54" name="Rectangle 407">
                              <a:extLst>
                                <a:ext uri="{FF2B5EF4-FFF2-40B4-BE49-F238E27FC236}">
                                  <a16:creationId xmlns:a16="http://schemas.microsoft.com/office/drawing/2014/main" id="{CBCBB6B6-52DC-438B-A313-0AE25014E11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1036" name="Gruppieren 1921">
                            <a:extLst>
                              <a:ext uri="{FF2B5EF4-FFF2-40B4-BE49-F238E27FC236}">
                                <a16:creationId xmlns:a16="http://schemas.microsoft.com/office/drawing/2014/main" id="{50F4271D-6201-4606-844A-357AAB912389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37" name="Gruppieren 1922">
                              <a:extLst>
                                <a:ext uri="{FF2B5EF4-FFF2-40B4-BE49-F238E27FC236}">
                                  <a16:creationId xmlns:a16="http://schemas.microsoft.com/office/drawing/2014/main" id="{77E9D57A-023D-40F1-8D72-8301103BF997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45" name="Rectangle 405">
                                <a:extLst>
                                  <a:ext uri="{FF2B5EF4-FFF2-40B4-BE49-F238E27FC236}">
                                    <a16:creationId xmlns:a16="http://schemas.microsoft.com/office/drawing/2014/main" id="{3907E0CB-9C25-4FC5-9453-DDF8FD54C567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46" name="Flussdiagramm: Grenzstelle 1931">
                                <a:extLst>
                                  <a:ext uri="{FF2B5EF4-FFF2-40B4-BE49-F238E27FC236}">
                                    <a16:creationId xmlns:a16="http://schemas.microsoft.com/office/drawing/2014/main" id="{BBD2C964-FFB9-4DAF-A17B-B6C509914940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38" name="Rectangle 407">
                              <a:extLst>
                                <a:ext uri="{FF2B5EF4-FFF2-40B4-BE49-F238E27FC236}">
                                  <a16:creationId xmlns:a16="http://schemas.microsoft.com/office/drawing/2014/main" id="{A50CE680-8268-4A79-A4D3-6113CD94E82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39" name="Rectangle 407">
                              <a:extLst>
                                <a:ext uri="{FF2B5EF4-FFF2-40B4-BE49-F238E27FC236}">
                                  <a16:creationId xmlns:a16="http://schemas.microsoft.com/office/drawing/2014/main" id="{1315342E-B4D6-483D-ABDC-D328084F325F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0" name="Rectangle 407">
                              <a:extLst>
                                <a:ext uri="{FF2B5EF4-FFF2-40B4-BE49-F238E27FC236}">
                                  <a16:creationId xmlns:a16="http://schemas.microsoft.com/office/drawing/2014/main" id="{2854F604-9C09-4CC6-A1BC-0BBBC7FEFF6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1" name="Rectangle 407">
                              <a:extLst>
                                <a:ext uri="{FF2B5EF4-FFF2-40B4-BE49-F238E27FC236}">
                                  <a16:creationId xmlns:a16="http://schemas.microsoft.com/office/drawing/2014/main" id="{E7FD4984-397D-49D4-96AE-B36449DAEBC1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2" name="Rectangle 407">
                              <a:extLst>
                                <a:ext uri="{FF2B5EF4-FFF2-40B4-BE49-F238E27FC236}">
                                  <a16:creationId xmlns:a16="http://schemas.microsoft.com/office/drawing/2014/main" id="{9D8B5A33-7DF0-4A88-8837-B70252632E8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3" name="Rectangle 407">
                              <a:extLst>
                                <a:ext uri="{FF2B5EF4-FFF2-40B4-BE49-F238E27FC236}">
                                  <a16:creationId xmlns:a16="http://schemas.microsoft.com/office/drawing/2014/main" id="{C89AC77B-1FDD-4355-BDBC-062AEDC6D2A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44" name="Rectangle 407">
                              <a:extLst>
                                <a:ext uri="{FF2B5EF4-FFF2-40B4-BE49-F238E27FC236}">
                                  <a16:creationId xmlns:a16="http://schemas.microsoft.com/office/drawing/2014/main" id="{F318B933-B2D5-450D-B011-98F210F411A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974" name="Gruppieren 1952">
                          <a:extLst>
                            <a:ext uri="{FF2B5EF4-FFF2-40B4-BE49-F238E27FC236}">
                              <a16:creationId xmlns:a16="http://schemas.microsoft.com/office/drawing/2014/main" id="{18639313-06DC-483A-B8C3-29240AF08BF4}"/>
                            </a:ext>
                          </a:extLst>
                        </p:cNvPr>
                        <p:cNvGrpSpPr/>
                        <p:nvPr/>
                      </p:nvGrpSpPr>
                      <p:grpSpPr bwMode="gray">
                        <a:xfrm>
                          <a:off x="2215774" y="2227305"/>
                          <a:ext cx="76484" cy="1307420"/>
                          <a:chOff x="5803899" y="2220322"/>
                          <a:chExt cx="76484" cy="1307420"/>
                        </a:xfrm>
                      </p:grpSpPr>
                      <p:grpSp>
                        <p:nvGrpSpPr>
                          <p:cNvPr id="975" name="Gruppieren 1953">
                            <a:extLst>
                              <a:ext uri="{FF2B5EF4-FFF2-40B4-BE49-F238E27FC236}">
                                <a16:creationId xmlns:a16="http://schemas.microsoft.com/office/drawing/2014/main" id="{41156B9E-810F-4F7E-9C41-FA87DC1525E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8383" y="2220322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1015" name="Gruppieren 1976">
                              <a:extLst>
                                <a:ext uri="{FF2B5EF4-FFF2-40B4-BE49-F238E27FC236}">
                                  <a16:creationId xmlns:a16="http://schemas.microsoft.com/office/drawing/2014/main" id="{3E682C98-A698-4811-97CF-95A87EDAFF32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32" name="Rectangle 405">
                                <a:extLst>
                                  <a:ext uri="{FF2B5EF4-FFF2-40B4-BE49-F238E27FC236}">
                                    <a16:creationId xmlns:a16="http://schemas.microsoft.com/office/drawing/2014/main" id="{67C58AC5-259D-478C-9136-C57868BECD90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33" name="Flussdiagramm: Grenzstelle 1985">
                                <a:extLst>
                                  <a:ext uri="{FF2B5EF4-FFF2-40B4-BE49-F238E27FC236}">
                                    <a16:creationId xmlns:a16="http://schemas.microsoft.com/office/drawing/2014/main" id="{5F08C8C6-4353-4A3F-886E-C5A6CAEF4352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18" name="Rectangle 407">
                              <a:extLst>
                                <a:ext uri="{FF2B5EF4-FFF2-40B4-BE49-F238E27FC236}">
                                  <a16:creationId xmlns:a16="http://schemas.microsoft.com/office/drawing/2014/main" id="{56D60B1C-AE36-4954-A1DA-678775409EE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26" name="Rectangle 407">
                              <a:extLst>
                                <a:ext uri="{FF2B5EF4-FFF2-40B4-BE49-F238E27FC236}">
                                  <a16:creationId xmlns:a16="http://schemas.microsoft.com/office/drawing/2014/main" id="{D002FE8B-BDA0-49C0-9E40-00E4CCF1CBF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27" name="Rectangle 407">
                              <a:extLst>
                                <a:ext uri="{FF2B5EF4-FFF2-40B4-BE49-F238E27FC236}">
                                  <a16:creationId xmlns:a16="http://schemas.microsoft.com/office/drawing/2014/main" id="{BB37F041-1EC8-4904-9EE6-2807648C17B6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28" name="Rectangle 407">
                              <a:extLst>
                                <a:ext uri="{FF2B5EF4-FFF2-40B4-BE49-F238E27FC236}">
                                  <a16:creationId xmlns:a16="http://schemas.microsoft.com/office/drawing/2014/main" id="{CA9C0169-DDCD-426E-9CD2-D6B8879B96CA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29" name="Rectangle 407">
                              <a:extLst>
                                <a:ext uri="{FF2B5EF4-FFF2-40B4-BE49-F238E27FC236}">
                                  <a16:creationId xmlns:a16="http://schemas.microsoft.com/office/drawing/2014/main" id="{D81D9DCE-4758-4252-8EE2-899C647DA7B2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30" name="Rectangle 407">
                              <a:extLst>
                                <a:ext uri="{FF2B5EF4-FFF2-40B4-BE49-F238E27FC236}">
                                  <a16:creationId xmlns:a16="http://schemas.microsoft.com/office/drawing/2014/main" id="{3CA0A246-CCE0-435D-94A4-FB33D2DFD05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31" name="Rectangle 407">
                              <a:extLst>
                                <a:ext uri="{FF2B5EF4-FFF2-40B4-BE49-F238E27FC236}">
                                  <a16:creationId xmlns:a16="http://schemas.microsoft.com/office/drawing/2014/main" id="{ED99E005-37A5-4469-B238-DCFC19F5A2A7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976" name="Gruppieren 1954">
                            <a:extLst>
                              <a:ext uri="{FF2B5EF4-FFF2-40B4-BE49-F238E27FC236}">
                                <a16:creationId xmlns:a16="http://schemas.microsoft.com/office/drawing/2014/main" id="{4D720545-AA1E-48A3-8021-39D9536FDFDE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6141" y="2863404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988" name="Gruppieren 1966">
                              <a:extLst>
                                <a:ext uri="{FF2B5EF4-FFF2-40B4-BE49-F238E27FC236}">
                                  <a16:creationId xmlns:a16="http://schemas.microsoft.com/office/drawing/2014/main" id="{57EA331F-5CAB-4821-B064-6B26A608B069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1013" name="Rectangle 405">
                                <a:extLst>
                                  <a:ext uri="{FF2B5EF4-FFF2-40B4-BE49-F238E27FC236}">
                                    <a16:creationId xmlns:a16="http://schemas.microsoft.com/office/drawing/2014/main" id="{4811952D-2934-42F1-85B2-0A0FF37FB798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1014" name="Flussdiagramm: Grenzstelle 1975">
                                <a:extLst>
                                  <a:ext uri="{FF2B5EF4-FFF2-40B4-BE49-F238E27FC236}">
                                    <a16:creationId xmlns:a16="http://schemas.microsoft.com/office/drawing/2014/main" id="{FABD6A15-1729-42F4-AF75-19F0C7AE7C58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989" name="Rectangle 407">
                              <a:extLst>
                                <a:ext uri="{FF2B5EF4-FFF2-40B4-BE49-F238E27FC236}">
                                  <a16:creationId xmlns:a16="http://schemas.microsoft.com/office/drawing/2014/main" id="{37F274AB-AB20-4619-BE1D-787F1EC7E478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90" name="Rectangle 407">
                              <a:extLst>
                                <a:ext uri="{FF2B5EF4-FFF2-40B4-BE49-F238E27FC236}">
                                  <a16:creationId xmlns:a16="http://schemas.microsoft.com/office/drawing/2014/main" id="{9E6048BB-25EA-4E34-882D-5CFCBB3AD79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91" name="Rectangle 407">
                              <a:extLst>
                                <a:ext uri="{FF2B5EF4-FFF2-40B4-BE49-F238E27FC236}">
                                  <a16:creationId xmlns:a16="http://schemas.microsoft.com/office/drawing/2014/main" id="{CE8A0DEE-8F26-4CC4-A3E7-B3B8C6AFB98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92" name="Rectangle 407">
                              <a:extLst>
                                <a:ext uri="{FF2B5EF4-FFF2-40B4-BE49-F238E27FC236}">
                                  <a16:creationId xmlns:a16="http://schemas.microsoft.com/office/drawing/2014/main" id="{EC5C9E5E-257D-45CF-8051-E170C65BAE5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93" name="Rectangle 407">
                              <a:extLst>
                                <a:ext uri="{FF2B5EF4-FFF2-40B4-BE49-F238E27FC236}">
                                  <a16:creationId xmlns:a16="http://schemas.microsoft.com/office/drawing/2014/main" id="{CF40160A-5ED1-4B14-9F1A-B2F85431F05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94" name="Rectangle 407">
                              <a:extLst>
                                <a:ext uri="{FF2B5EF4-FFF2-40B4-BE49-F238E27FC236}">
                                  <a16:creationId xmlns:a16="http://schemas.microsoft.com/office/drawing/2014/main" id="{78E0D7A7-9D6A-44F3-8265-5CFC1C5F2DD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1012" name="Rectangle 407">
                              <a:extLst>
                                <a:ext uri="{FF2B5EF4-FFF2-40B4-BE49-F238E27FC236}">
                                  <a16:creationId xmlns:a16="http://schemas.microsoft.com/office/drawing/2014/main" id="{FCEC8DE6-E818-4113-8BC7-1EA5C8D88ABB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977" name="Gruppieren 1955">
                            <a:extLst>
                              <a:ext uri="{FF2B5EF4-FFF2-40B4-BE49-F238E27FC236}">
                                <a16:creationId xmlns:a16="http://schemas.microsoft.com/office/drawing/2014/main" id="{5A265CF1-E053-4D2A-8535-19C53996006D}"/>
                              </a:ext>
                            </a:extLst>
                          </p:cNvPr>
                          <p:cNvGrpSpPr>
                            <a:grpSpLocks noChangeAspect="1"/>
                          </p:cNvGrpSpPr>
                          <p:nvPr/>
                        </p:nvGrpSpPr>
                        <p:grpSpPr bwMode="gray">
                          <a:xfrm>
                            <a:off x="5803899" y="3494581"/>
                            <a:ext cx="72000" cy="33161"/>
                            <a:chOff x="2929584" y="1713523"/>
                            <a:chExt cx="828000" cy="381346"/>
                          </a:xfrm>
                        </p:grpSpPr>
                        <p:grpSp>
                          <p:nvGrpSpPr>
                            <p:cNvPr id="978" name="Gruppieren 1956">
                              <a:extLst>
                                <a:ext uri="{FF2B5EF4-FFF2-40B4-BE49-F238E27FC236}">
                                  <a16:creationId xmlns:a16="http://schemas.microsoft.com/office/drawing/2014/main" id="{1EFDD60E-2399-45DD-98E1-DB8E80E9CBD0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 bwMode="gray">
                            <a:xfrm>
                              <a:off x="2929584" y="1713523"/>
                              <a:ext cx="828000" cy="381346"/>
                              <a:chOff x="2908151" y="2229356"/>
                              <a:chExt cx="615647" cy="283538"/>
                            </a:xfrm>
                            <a:solidFill>
                              <a:schemeClr val="bg1">
                                <a:lumMod val="95000"/>
                              </a:schemeClr>
                            </a:solidFill>
                          </p:grpSpPr>
                          <p:sp>
                            <p:nvSpPr>
                              <p:cNvPr id="986" name="Rectangle 405">
                                <a:extLst>
                                  <a:ext uri="{FF2B5EF4-FFF2-40B4-BE49-F238E27FC236}">
                                    <a16:creationId xmlns:a16="http://schemas.microsoft.com/office/drawing/2014/main" id="{AA2D49A2-E8F1-4DB7-8EEF-5329D5D3162D}"/>
                                  </a:ext>
                                </a:extLst>
                              </p:cNvPr>
                              <p:cNvSpPr>
                                <a:spLocks noChangeArrowheads="1"/>
                              </p:cNvSpPr>
                              <p:nvPr/>
                            </p:nvSpPr>
                            <p:spPr bwMode="gray">
                              <a:xfrm>
                                <a:off x="2908151" y="2229356"/>
                                <a:ext cx="615647" cy="162071"/>
                              </a:xfrm>
                              <a:prstGeom prst="rect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txBody>
                              <a:bodyPr vert="horz" wrap="square" lIns="91440" tIns="45720" rIns="91440" bIns="45720" numCol="1" anchor="t" anchorCtr="0" compatLnSpc="1">
                                <a:prstTxWarp prst="textNoShape">
                                  <a:avLst/>
                                </a:prstTxWarp>
                              </a:bodyPr>
                              <a:lstStyle/>
                              <a:p>
                                <a:pPr marL="0" marR="0" lvl="0" indent="0" algn="l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 dirty="0">
                                  <a:ln>
                                    <a:noFill/>
                                  </a:ln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  <p:sp>
                            <p:nvSpPr>
                              <p:cNvPr id="987" name="Flussdiagramm: Grenzstelle 1965">
                                <a:extLst>
                                  <a:ext uri="{FF2B5EF4-FFF2-40B4-BE49-F238E27FC236}">
                                    <a16:creationId xmlns:a16="http://schemas.microsoft.com/office/drawing/2014/main" id="{00A42402-685D-4AD6-AFDC-7692874FD9BF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 bwMode="gray">
                              <a:xfrm>
                                <a:off x="2986184" y="2292876"/>
                                <a:ext cx="459582" cy="220018"/>
                              </a:xfrm>
                              <a:prstGeom prst="flowChartTerminator">
                                <a:avLst/>
                              </a:pr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marL="0" marR="0" lvl="0" indent="0" algn="ctr" defTabSz="685800" rtl="0" eaLnBrk="1" fontAlgn="auto" latinLnBrk="0" hangingPunct="1">
                                  <a:lnSpc>
                                    <a:spcPct val="100000"/>
                                  </a:lnSpc>
                                  <a:spcBef>
                                    <a:spcPts val="0"/>
                                  </a:spcBef>
                                  <a:spcAft>
                                    <a:spcPts val="0"/>
                                  </a:spcAft>
                                  <a:buClrTx/>
                                  <a:buSzTx/>
                                  <a:buFontTx/>
                                  <a:buNone/>
                                  <a:tabLst/>
                                  <a:defRPr/>
                                </a:pPr>
                                <a:endParaRPr kumimoji="0" lang="de-DE" sz="1350" b="0" i="0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chemeClr val="tx1"/>
                                  </a:solidFill>
                                  <a:effectLst/>
                                  <a:uLnTx/>
                                  <a:uFillTx/>
                                  <a:latin typeface="Lucida Sans Techem"/>
                                  <a:ea typeface="+mn-ea"/>
                                  <a:cs typeface="Calibri"/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979" name="Rectangle 407">
                              <a:extLst>
                                <a:ext uri="{FF2B5EF4-FFF2-40B4-BE49-F238E27FC236}">
                                  <a16:creationId xmlns:a16="http://schemas.microsoft.com/office/drawing/2014/main" id="{D77A918A-D3E2-493D-8F33-1B2738B60330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070367" y="1966939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0" name="Rectangle 407">
                              <a:extLst>
                                <a:ext uri="{FF2B5EF4-FFF2-40B4-BE49-F238E27FC236}">
                                  <a16:creationId xmlns:a16="http://schemas.microsoft.com/office/drawing/2014/main" id="{697EE889-FB6E-435A-80F9-369759B06D99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2929584" y="1919792"/>
                              <a:ext cx="828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1" name="Rectangle 407">
                              <a:extLst>
                                <a:ext uri="{FF2B5EF4-FFF2-40B4-BE49-F238E27FC236}">
                                  <a16:creationId xmlns:a16="http://schemas.microsoft.com/office/drawing/2014/main" id="{0414A6A3-03E0-4553-8266-C897B8E4767E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3" y="1966937"/>
                              <a:ext cx="252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2" name="Rectangle 407">
                              <a:extLst>
                                <a:ext uri="{FF2B5EF4-FFF2-40B4-BE49-F238E27FC236}">
                                  <a16:creationId xmlns:a16="http://schemas.microsoft.com/office/drawing/2014/main" id="{E339A794-E729-4075-A461-4CA68F11266C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42344" y="2055323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3" name="Rectangle 407">
                              <a:extLst>
                                <a:ext uri="{FF2B5EF4-FFF2-40B4-BE49-F238E27FC236}">
                                  <a16:creationId xmlns:a16="http://schemas.microsoft.com/office/drawing/2014/main" id="{E7D42561-EC58-4D86-8691-9684209897E5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3673" y="2055320"/>
                              <a:ext cx="180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4" name="Rectangle 407">
                              <a:extLst>
                                <a:ext uri="{FF2B5EF4-FFF2-40B4-BE49-F238E27FC236}">
                                  <a16:creationId xmlns:a16="http://schemas.microsoft.com/office/drawing/2014/main" id="{CB8C9FDD-E8B3-4A98-8E88-9841C934D72D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106086" y="2012182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  <p:sp>
                          <p:nvSpPr>
                            <p:cNvPr id="985" name="Rectangle 407">
                              <a:extLst>
                                <a:ext uri="{FF2B5EF4-FFF2-40B4-BE49-F238E27FC236}">
                                  <a16:creationId xmlns:a16="http://schemas.microsoft.com/office/drawing/2014/main" id="{FD73C29B-36F9-42AB-882E-9F51DC22E534}"/>
                                </a:ext>
                              </a:extLst>
                            </p:cNvPr>
                            <p:cNvSpPr>
                              <a:spLocks noChangeArrowheads="1"/>
                            </p:cNvSpPr>
                            <p:nvPr/>
                          </p:nvSpPr>
                          <p:spPr bwMode="gray">
                            <a:xfrm>
                              <a:off x="3372882" y="2012180"/>
                              <a:ext cx="216000" cy="7200"/>
                            </a:xfrm>
                            <a:prstGeom prst="rect">
                              <a:avLst/>
                            </a:prstGeom>
                            <a:solidFill>
                              <a:srgbClr val="575756"/>
                            </a:solidFill>
                            <a:ln>
                              <a:noFill/>
                            </a:ln>
                            <a:extLs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rgbClr val="000000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</a:extLst>
                          </p:spPr>
                          <p:txBody>
                            <a:bodyPr vert="horz" wrap="square" lIns="91440" tIns="45720" rIns="91440" bIns="45720" numCol="1" anchor="t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pPr marL="0" marR="0" lvl="0" indent="0" algn="l" defTabSz="6858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de-DE" sz="135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effectLst/>
                                <a:uLnTx/>
                                <a:uFillTx/>
                                <a:latin typeface="Lucida Sans Techem"/>
                                <a:ea typeface="+mn-ea"/>
                                <a:cs typeface="Calibri"/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941" name="Gruppieren 100">
                        <a:extLst>
                          <a:ext uri="{FF2B5EF4-FFF2-40B4-BE49-F238E27FC236}">
                            <a16:creationId xmlns:a16="http://schemas.microsoft.com/office/drawing/2014/main" id="{43D2511E-DE34-41CF-9738-31F4428C862D}"/>
                          </a:ext>
                        </a:extLst>
                      </p:cNvPr>
                      <p:cNvGrpSpPr/>
                      <p:nvPr/>
                    </p:nvGrpSpPr>
                    <p:grpSpPr bwMode="gray">
                      <a:xfrm>
                        <a:off x="1811697" y="2608976"/>
                        <a:ext cx="1969204" cy="1365164"/>
                        <a:chOff x="1811697" y="2608976"/>
                        <a:chExt cx="1969204" cy="1365164"/>
                      </a:xfrm>
                    </p:grpSpPr>
                    <p:grpSp>
                      <p:nvGrpSpPr>
                        <p:cNvPr id="942" name="Gruppieren 2006">
                          <a:extLst>
                            <a:ext uri="{FF2B5EF4-FFF2-40B4-BE49-F238E27FC236}">
                              <a16:creationId xmlns:a16="http://schemas.microsoft.com/office/drawing/2014/main" id="{46DDCD0C-2B55-49CD-A0EC-0F72F38F768D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835" y="2608976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68" name="Rectangle 299">
                            <a:extLst>
                              <a:ext uri="{FF2B5EF4-FFF2-40B4-BE49-F238E27FC236}">
                                <a16:creationId xmlns:a16="http://schemas.microsoft.com/office/drawing/2014/main" id="{7EC104AC-917B-4648-A80B-A9AF12AC735A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9" name="Rectangle 299">
                            <a:extLst>
                              <a:ext uri="{FF2B5EF4-FFF2-40B4-BE49-F238E27FC236}">
                                <a16:creationId xmlns:a16="http://schemas.microsoft.com/office/drawing/2014/main" id="{3FA973B3-3B1E-4A58-AF2F-C5CE36BDD10A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70" name="Oval 301">
                            <a:extLst>
                              <a:ext uri="{FF2B5EF4-FFF2-40B4-BE49-F238E27FC236}">
                                <a16:creationId xmlns:a16="http://schemas.microsoft.com/office/drawing/2014/main" id="{55DAD850-3A5E-462D-BB52-D74502FE5AEE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71" name="Rechteck: abgerundete Ecken 2010">
                            <a:extLst>
                              <a:ext uri="{FF2B5EF4-FFF2-40B4-BE49-F238E27FC236}">
                                <a16:creationId xmlns:a16="http://schemas.microsoft.com/office/drawing/2014/main" id="{5EC3C73A-6CBA-40A0-8371-A94E08927440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943" name="Gruppieren 2026">
                          <a:extLst>
                            <a:ext uri="{FF2B5EF4-FFF2-40B4-BE49-F238E27FC236}">
                              <a16:creationId xmlns:a16="http://schemas.microsoft.com/office/drawing/2014/main" id="{07E248EF-B058-4993-8C26-619AB8FD24B5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766" y="3253591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64" name="Rectangle 299">
                            <a:extLst>
                              <a:ext uri="{FF2B5EF4-FFF2-40B4-BE49-F238E27FC236}">
                                <a16:creationId xmlns:a16="http://schemas.microsoft.com/office/drawing/2014/main" id="{6C2E6B0B-8BD2-46BB-910E-FB4D581B37FF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5" name="Rectangle 299">
                            <a:extLst>
                              <a:ext uri="{FF2B5EF4-FFF2-40B4-BE49-F238E27FC236}">
                                <a16:creationId xmlns:a16="http://schemas.microsoft.com/office/drawing/2014/main" id="{F5256736-37CB-46F5-8474-4334716DA9ED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6" name="Oval 301">
                            <a:extLst>
                              <a:ext uri="{FF2B5EF4-FFF2-40B4-BE49-F238E27FC236}">
                                <a16:creationId xmlns:a16="http://schemas.microsoft.com/office/drawing/2014/main" id="{1FB32977-309A-4B96-9AC3-8D12EDB399B8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7" name="Rechteck: abgerundete Ecken 2030">
                            <a:extLst>
                              <a:ext uri="{FF2B5EF4-FFF2-40B4-BE49-F238E27FC236}">
                                <a16:creationId xmlns:a16="http://schemas.microsoft.com/office/drawing/2014/main" id="{F9B2D32C-275E-4747-B416-01E2A3EA6C15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944" name="Gruppieren 2031">
                          <a:extLst>
                            <a:ext uri="{FF2B5EF4-FFF2-40B4-BE49-F238E27FC236}">
                              <a16:creationId xmlns:a16="http://schemas.microsoft.com/office/drawing/2014/main" id="{CE74A82F-7624-4571-9927-8294575119F1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1811697" y="3888682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60" name="Rectangle 299">
                            <a:extLst>
                              <a:ext uri="{FF2B5EF4-FFF2-40B4-BE49-F238E27FC236}">
                                <a16:creationId xmlns:a16="http://schemas.microsoft.com/office/drawing/2014/main" id="{E109882A-E8E8-4727-8A2D-5B6468220571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1" name="Rectangle 299">
                            <a:extLst>
                              <a:ext uri="{FF2B5EF4-FFF2-40B4-BE49-F238E27FC236}">
                                <a16:creationId xmlns:a16="http://schemas.microsoft.com/office/drawing/2014/main" id="{6C36BCF7-646E-403F-A27A-8909A2BCE7A5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2" name="Oval 301">
                            <a:extLst>
                              <a:ext uri="{FF2B5EF4-FFF2-40B4-BE49-F238E27FC236}">
                                <a16:creationId xmlns:a16="http://schemas.microsoft.com/office/drawing/2014/main" id="{D705EDBF-D245-43F7-9A6D-F27961C222E0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63" name="Rechteck: abgerundete Ecken 2035">
                            <a:extLst>
                              <a:ext uri="{FF2B5EF4-FFF2-40B4-BE49-F238E27FC236}">
                                <a16:creationId xmlns:a16="http://schemas.microsoft.com/office/drawing/2014/main" id="{D28B9A11-9101-4CB3-8825-E9F715FF7BFE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945" name="Gruppieren 2036">
                          <a:extLst>
                            <a:ext uri="{FF2B5EF4-FFF2-40B4-BE49-F238E27FC236}">
                              <a16:creationId xmlns:a16="http://schemas.microsoft.com/office/drawing/2014/main" id="{86FE26B4-42AC-40F4-8334-2A0EEB7768C9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901" y="2613738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56" name="Rectangle 299">
                            <a:extLst>
                              <a:ext uri="{FF2B5EF4-FFF2-40B4-BE49-F238E27FC236}">
                                <a16:creationId xmlns:a16="http://schemas.microsoft.com/office/drawing/2014/main" id="{3CB6ED6E-27C0-4CB9-A3EE-01C633DA4D61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7" name="Rectangle 299">
                            <a:extLst>
                              <a:ext uri="{FF2B5EF4-FFF2-40B4-BE49-F238E27FC236}">
                                <a16:creationId xmlns:a16="http://schemas.microsoft.com/office/drawing/2014/main" id="{38F3B591-2C09-45EA-B2F3-FB2D7A0E183E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8" name="Oval 301">
                            <a:extLst>
                              <a:ext uri="{FF2B5EF4-FFF2-40B4-BE49-F238E27FC236}">
                                <a16:creationId xmlns:a16="http://schemas.microsoft.com/office/drawing/2014/main" id="{88CA0B88-1381-426F-AA4A-58AC07656AAB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9" name="Rechteck: abgerundete Ecken 2040">
                            <a:extLst>
                              <a:ext uri="{FF2B5EF4-FFF2-40B4-BE49-F238E27FC236}">
                                <a16:creationId xmlns:a16="http://schemas.microsoft.com/office/drawing/2014/main" id="{9918CBB9-0B71-4B0A-A2CC-04C21012418D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946" name="Gruppieren 2041">
                          <a:extLst>
                            <a:ext uri="{FF2B5EF4-FFF2-40B4-BE49-F238E27FC236}">
                              <a16:creationId xmlns:a16="http://schemas.microsoft.com/office/drawing/2014/main" id="{E1F6BC2D-36DC-45CB-8178-D58A0AB3A186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832" y="3258353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52" name="Rectangle 299">
                            <a:extLst>
                              <a:ext uri="{FF2B5EF4-FFF2-40B4-BE49-F238E27FC236}">
                                <a16:creationId xmlns:a16="http://schemas.microsoft.com/office/drawing/2014/main" id="{2EF953D8-2795-4A76-B711-041E8D787D09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3" name="Rectangle 299">
                            <a:extLst>
                              <a:ext uri="{FF2B5EF4-FFF2-40B4-BE49-F238E27FC236}">
                                <a16:creationId xmlns:a16="http://schemas.microsoft.com/office/drawing/2014/main" id="{55423DDA-2999-4C34-B8C4-22AB568DDA7C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4" name="Oval 301">
                            <a:extLst>
                              <a:ext uri="{FF2B5EF4-FFF2-40B4-BE49-F238E27FC236}">
                                <a16:creationId xmlns:a16="http://schemas.microsoft.com/office/drawing/2014/main" id="{9EA34D64-4C63-42AA-BEEE-D347BCE2EF9A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5" name="Rechteck: abgerundete Ecken 2045">
                            <a:extLst>
                              <a:ext uri="{FF2B5EF4-FFF2-40B4-BE49-F238E27FC236}">
                                <a16:creationId xmlns:a16="http://schemas.microsoft.com/office/drawing/2014/main" id="{075197F3-179A-4A82-90E3-99B9D39A68CE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  <p:grpSp>
                      <p:nvGrpSpPr>
                        <p:cNvPr id="947" name="Gruppieren 2046">
                          <a:extLst>
                            <a:ext uri="{FF2B5EF4-FFF2-40B4-BE49-F238E27FC236}">
                              <a16:creationId xmlns:a16="http://schemas.microsoft.com/office/drawing/2014/main" id="{02724A8C-E40E-48B1-BF75-98E39A57F8F5}"/>
                            </a:ext>
                          </a:extLst>
                        </p:cNvPr>
                        <p:cNvGrpSpPr>
                          <a:grpSpLocks noChangeAspect="1"/>
                        </p:cNvGrpSpPr>
                        <p:nvPr/>
                      </p:nvGrpSpPr>
                      <p:grpSpPr bwMode="gray">
                        <a:xfrm>
                          <a:off x="3744763" y="3891063"/>
                          <a:ext cx="36000" cy="83077"/>
                          <a:chOff x="6932305" y="3006091"/>
                          <a:chExt cx="131040" cy="302400"/>
                        </a:xfrm>
                      </p:grpSpPr>
                      <p:sp>
                        <p:nvSpPr>
                          <p:cNvPr id="948" name="Rectangle 299">
                            <a:extLst>
                              <a:ext uri="{FF2B5EF4-FFF2-40B4-BE49-F238E27FC236}">
                                <a16:creationId xmlns:a16="http://schemas.microsoft.com/office/drawing/2014/main" id="{137F9E51-CEB1-4715-8BBB-93DA3C5547E6}"/>
                              </a:ext>
                            </a:extLst>
                          </p:cNvPr>
                          <p:cNvSpPr>
                            <a:spLocks noChangeArrowheads="1"/>
                          </p:cNvSpPr>
                          <p:nvPr/>
                        </p:nvSpPr>
                        <p:spPr bwMode="gray">
                          <a:xfrm>
                            <a:off x="6932305" y="3006091"/>
                            <a:ext cx="131040" cy="30240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49" name="Rectangle 299">
                            <a:extLst>
                              <a:ext uri="{FF2B5EF4-FFF2-40B4-BE49-F238E27FC236}">
                                <a16:creationId xmlns:a16="http://schemas.microsoft.com/office/drawing/2014/main" id="{72752AF9-B570-47D3-A5CC-8437797DCCB5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6950391" y="3018688"/>
                            <a:ext cx="104160" cy="266188"/>
                          </a:xfrm>
                          <a:prstGeom prst="rect">
                            <a:avLst/>
                          </a:prstGeom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ln>
                            <a:noFill/>
                          </a:ln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0" name="Oval 301">
                            <a:extLst>
                              <a:ext uri="{FF2B5EF4-FFF2-40B4-BE49-F238E27FC236}">
                                <a16:creationId xmlns:a16="http://schemas.microsoft.com/office/drawing/2014/main" id="{E2A9D305-C031-4330-8734-5C63CAA84867}"/>
                              </a:ext>
                            </a:extLst>
                          </p:cNvPr>
                          <p:cNvSpPr>
                            <a:spLocks noChangeAspect="1" noChangeArrowheads="1"/>
                          </p:cNvSpPr>
                          <p:nvPr/>
                        </p:nvSpPr>
                        <p:spPr bwMode="gray">
                          <a:xfrm>
                            <a:off x="7022082" y="3127664"/>
                            <a:ext cx="21600" cy="21600"/>
                          </a:xfrm>
                          <a:prstGeom prst="ellipse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1440" tIns="45720" rIns="91440" bIns="45720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pPr marL="0" marR="0" lvl="0" indent="0" algn="l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 dirty="0">
                              <a:ln>
                                <a:noFill/>
                              </a:ln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  <p:sp>
                        <p:nvSpPr>
                          <p:cNvPr id="951" name="Rechteck: abgerundete Ecken 2050">
                            <a:extLst>
                              <a:ext uri="{FF2B5EF4-FFF2-40B4-BE49-F238E27FC236}">
                                <a16:creationId xmlns:a16="http://schemas.microsoft.com/office/drawing/2014/main" id="{7512237E-B1A9-422E-9F95-E0B55B762FFD}"/>
                              </a:ext>
                            </a:extLst>
                          </p:cNvPr>
                          <p:cNvSpPr/>
                          <p:nvPr/>
                        </p:nvSpPr>
                        <p:spPr bwMode="gray">
                          <a:xfrm>
                            <a:off x="6966561" y="3077443"/>
                            <a:ext cx="79200" cy="28800"/>
                          </a:xfrm>
                          <a:prstGeom prst="roundRect">
                            <a:avLst/>
                          </a:prstGeom>
                          <a:solidFill>
                            <a:schemeClr val="tx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8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de-DE" sz="135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chemeClr val="tx1"/>
                              </a:solidFill>
                              <a:effectLst/>
                              <a:uLnTx/>
                              <a:uFillTx/>
                              <a:latin typeface="Lucida Sans Techem"/>
                              <a:ea typeface="+mn-ea"/>
                              <a:cs typeface="Calibri"/>
                            </a:endParaRPr>
                          </a:p>
                        </p:txBody>
                      </p:sp>
                    </p:grpSp>
                  </p:grpSp>
                </p:grpSp>
              </p:grpSp>
              <p:grpSp>
                <p:nvGrpSpPr>
                  <p:cNvPr id="917" name="Gruppieren 1493">
                    <a:extLst>
                      <a:ext uri="{FF2B5EF4-FFF2-40B4-BE49-F238E27FC236}">
                        <a16:creationId xmlns:a16="http://schemas.microsoft.com/office/drawing/2014/main" id="{92C4849F-2F7F-4824-A13E-D81E50CB483D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5255612" y="4097984"/>
                    <a:ext cx="326590" cy="514498"/>
                    <a:chOff x="6034866" y="3676578"/>
                    <a:chExt cx="326590" cy="418176"/>
                  </a:xfrm>
                  <a:solidFill>
                    <a:srgbClr val="7F7F7F">
                      <a:alpha val="80000"/>
                    </a:srgbClr>
                  </a:solidFill>
                </p:grpSpPr>
                <p:sp>
                  <p:nvSpPr>
                    <p:cNvPr id="926" name="Rechteck 1494">
                      <a:extLst>
                        <a:ext uri="{FF2B5EF4-FFF2-40B4-BE49-F238E27FC236}">
                          <a16:creationId xmlns:a16="http://schemas.microsoft.com/office/drawing/2014/main" id="{2C6E7991-BFA6-446D-987D-0D8473DAD3FB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34870" y="4062354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7" name="Rechteck 1495">
                      <a:extLst>
                        <a:ext uri="{FF2B5EF4-FFF2-40B4-BE49-F238E27FC236}">
                          <a16:creationId xmlns:a16="http://schemas.microsoft.com/office/drawing/2014/main" id="{7A52AA15-CA54-437A-AE33-04F15DCFA8B8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32" y="4019490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8" name="Rechteck 1496">
                      <a:extLst>
                        <a:ext uri="{FF2B5EF4-FFF2-40B4-BE49-F238E27FC236}">
                          <a16:creationId xmlns:a16="http://schemas.microsoft.com/office/drawing/2014/main" id="{1A2FCE5B-1F74-4E51-A804-28EE918AB80C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0594" y="3976626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9" name="Rechteck 1497">
                      <a:extLst>
                        <a:ext uri="{FF2B5EF4-FFF2-40B4-BE49-F238E27FC236}">
                          <a16:creationId xmlns:a16="http://schemas.microsoft.com/office/drawing/2014/main" id="{660DB0AF-C82A-423F-9D3F-07A3E10F630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63456" y="3933762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0" name="Rechteck 1498">
                      <a:extLst>
                        <a:ext uri="{FF2B5EF4-FFF2-40B4-BE49-F238E27FC236}">
                          <a16:creationId xmlns:a16="http://schemas.microsoft.com/office/drawing/2014/main" id="{C5EC6B4D-E99D-40DD-AD6B-E08C40E6E0C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0594" y="3890898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1" name="Rechteck 1499">
                      <a:extLst>
                        <a:ext uri="{FF2B5EF4-FFF2-40B4-BE49-F238E27FC236}">
                          <a16:creationId xmlns:a16="http://schemas.microsoft.com/office/drawing/2014/main" id="{9306B2BF-8142-42EA-AA0A-2383FD3E4D29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29" y="3848034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2" name="Rechteck 1500">
                      <a:extLst>
                        <a:ext uri="{FF2B5EF4-FFF2-40B4-BE49-F238E27FC236}">
                          <a16:creationId xmlns:a16="http://schemas.microsoft.com/office/drawing/2014/main" id="{BEEAA615-8272-46EB-9827-16FAA2A3DA1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34866" y="3805170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3" name="Rechteck 1503">
                      <a:extLst>
                        <a:ext uri="{FF2B5EF4-FFF2-40B4-BE49-F238E27FC236}">
                          <a16:creationId xmlns:a16="http://schemas.microsoft.com/office/drawing/2014/main" id="{208141D9-533D-4CC5-B8AA-B13CCB0E13B5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63448" y="3676578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4" name="Rechteck 1501">
                      <a:extLst>
                        <a:ext uri="{FF2B5EF4-FFF2-40B4-BE49-F238E27FC236}">
                          <a16:creationId xmlns:a16="http://schemas.microsoft.com/office/drawing/2014/main" id="{FB616C51-EA94-46D1-8B7A-0726C6E12619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077721" y="3762306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35" name="Rechteck 1502">
                      <a:extLst>
                        <a:ext uri="{FF2B5EF4-FFF2-40B4-BE49-F238E27FC236}">
                          <a16:creationId xmlns:a16="http://schemas.microsoft.com/office/drawing/2014/main" id="{8FF5B50D-B4F1-4949-B5C9-EEF293CA5B5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gray">
                    <a:xfrm>
                      <a:off x="6122973" y="3719442"/>
                      <a:ext cx="198000" cy="324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918" name="Gruppieren 808">
                    <a:extLst>
                      <a:ext uri="{FF2B5EF4-FFF2-40B4-BE49-F238E27FC236}">
                        <a16:creationId xmlns:a16="http://schemas.microsoft.com/office/drawing/2014/main" id="{C34A504B-394B-4DE6-9CC2-E0C721281ED2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947" y="4094417"/>
                    <a:ext cx="2608088" cy="540000"/>
                    <a:chOff x="5745599" y="3570939"/>
                    <a:chExt cx="626401" cy="551652"/>
                  </a:xfrm>
                </p:grpSpPr>
                <p:sp>
                  <p:nvSpPr>
                    <p:cNvPr id="924" name="Rectangle 965">
                      <a:extLst>
                        <a:ext uri="{FF2B5EF4-FFF2-40B4-BE49-F238E27FC236}">
                          <a16:creationId xmlns:a16="http://schemas.microsoft.com/office/drawing/2014/main" id="{274AE2B0-A1B2-485C-A91B-ED41FDC2485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5" name="Rectangle 1166">
                      <a:extLst>
                        <a:ext uri="{FF2B5EF4-FFF2-40B4-BE49-F238E27FC236}">
                          <a16:creationId xmlns:a16="http://schemas.microsoft.com/office/drawing/2014/main" id="{C1A691B2-EC40-4311-A33B-F31D113618B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919" name="Gruppieren 794">
                    <a:extLst>
                      <a:ext uri="{FF2B5EF4-FFF2-40B4-BE49-F238E27FC236}">
                        <a16:creationId xmlns:a16="http://schemas.microsoft.com/office/drawing/2014/main" id="{70E98C91-4A95-4D4A-8A9F-B1BD039A7BF3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1215031" y="4177217"/>
                    <a:ext cx="108000" cy="131219"/>
                    <a:chOff x="5598964" y="2419781"/>
                    <a:chExt cx="108000" cy="131219"/>
                  </a:xfrm>
                </p:grpSpPr>
                <p:sp>
                  <p:nvSpPr>
                    <p:cNvPr id="920" name="Rectangle 342">
                      <a:extLst>
                        <a:ext uri="{FF2B5EF4-FFF2-40B4-BE49-F238E27FC236}">
                          <a16:creationId xmlns:a16="http://schemas.microsoft.com/office/drawing/2014/main" id="{424FF4A5-9744-4890-B1CA-7A18D85BDC17}"/>
                        </a:ext>
                      </a:extLst>
                    </p:cNvPr>
                    <p:cNvSpPr>
                      <a:spLocks noChangeAspect="1" noChangeArrowheads="1"/>
                    </p:cNvSpPr>
                    <p:nvPr/>
                  </p:nvSpPr>
                  <p:spPr bwMode="gray">
                    <a:xfrm>
                      <a:off x="5598964" y="2419781"/>
                      <a:ext cx="108000" cy="131219"/>
                    </a:xfrm>
                    <a:prstGeom prst="rect">
                      <a:avLst/>
                    </a:prstGeom>
                    <a:solidFill>
                      <a:schemeClr val="tx2">
                        <a:lumMod val="7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1" name="Rectangle 342">
                      <a:extLst>
                        <a:ext uri="{FF2B5EF4-FFF2-40B4-BE49-F238E27FC236}">
                          <a16:creationId xmlns:a16="http://schemas.microsoft.com/office/drawing/2014/main" id="{1F7451B4-1350-411C-B779-6F811F084AE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03893" y="2420899"/>
                      <a:ext cx="97199" cy="118097"/>
                    </a:xfrm>
                    <a:prstGeom prst="rect">
                      <a:avLst/>
                    </a:prstGeom>
                    <a:solidFill>
                      <a:srgbClr val="F6F6F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2" name="Rectangle 343">
                      <a:extLst>
                        <a:ext uri="{FF2B5EF4-FFF2-40B4-BE49-F238E27FC236}">
                          <a16:creationId xmlns:a16="http://schemas.microsoft.com/office/drawing/2014/main" id="{62C13CF1-72D4-48DC-B547-0A47D6686CB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23776" y="2440421"/>
                      <a:ext cx="64799" cy="11247"/>
                    </a:xfrm>
                    <a:prstGeom prst="rect">
                      <a:avLst/>
                    </a:prstGeom>
                    <a:solidFill>
                      <a:srgbClr val="706F6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923" name="Rectangle 343">
                      <a:extLst>
                        <a:ext uri="{FF2B5EF4-FFF2-40B4-BE49-F238E27FC236}">
                          <a16:creationId xmlns:a16="http://schemas.microsoft.com/office/drawing/2014/main" id="{7B495A83-3DFE-4007-BA4B-00E1E281278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676333" y="2465364"/>
                      <a:ext cx="10800" cy="14400"/>
                    </a:xfrm>
                    <a:prstGeom prst="rect">
                      <a:avLst/>
                    </a:prstGeom>
                    <a:solidFill>
                      <a:schemeClr val="accent1">
                        <a:lumMod val="50000"/>
                      </a:schemeClr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</p:grpSp>
            <p:grpSp>
              <p:nvGrpSpPr>
                <p:cNvPr id="880" name="Gruppieren 844">
                  <a:extLst>
                    <a:ext uri="{FF2B5EF4-FFF2-40B4-BE49-F238E27FC236}">
                      <a16:creationId xmlns:a16="http://schemas.microsoft.com/office/drawing/2014/main" id="{BC9E009C-8EB8-40CA-879E-99931B1C2A13}"/>
                    </a:ext>
                  </a:extLst>
                </p:cNvPr>
                <p:cNvGrpSpPr/>
                <p:nvPr/>
              </p:nvGrpSpPr>
              <p:grpSpPr bwMode="gray">
                <a:xfrm>
                  <a:off x="3387601" y="4094417"/>
                  <a:ext cx="2610486" cy="540000"/>
                  <a:chOff x="2316947" y="4094417"/>
                  <a:chExt cx="2608088" cy="540000"/>
                </a:xfrm>
              </p:grpSpPr>
              <p:grpSp>
                <p:nvGrpSpPr>
                  <p:cNvPr id="881" name="Gruppieren 845">
                    <a:extLst>
                      <a:ext uri="{FF2B5EF4-FFF2-40B4-BE49-F238E27FC236}">
                        <a16:creationId xmlns:a16="http://schemas.microsoft.com/office/drawing/2014/main" id="{B1D109C3-1279-4AD4-AA40-501C0DDF2249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6947" y="4094417"/>
                    <a:ext cx="2608088" cy="540000"/>
                    <a:chOff x="5745599" y="3570939"/>
                    <a:chExt cx="626401" cy="551652"/>
                  </a:xfrm>
                </p:grpSpPr>
                <p:sp>
                  <p:nvSpPr>
                    <p:cNvPr id="885" name="Rectangle 965">
                      <a:extLst>
                        <a:ext uri="{FF2B5EF4-FFF2-40B4-BE49-F238E27FC236}">
                          <a16:creationId xmlns:a16="http://schemas.microsoft.com/office/drawing/2014/main" id="{71A52577-78A1-4F6B-AA0C-42015D5B567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600" y="3570939"/>
                      <a:ext cx="626400" cy="532193"/>
                    </a:xfrm>
                    <a:prstGeom prst="rect">
                      <a:avLst/>
                    </a:prstGeom>
                    <a:solidFill>
                      <a:srgbClr val="6E7D8F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886" name="Rectangle 1166">
                      <a:extLst>
                        <a:ext uri="{FF2B5EF4-FFF2-40B4-BE49-F238E27FC236}">
                          <a16:creationId xmlns:a16="http://schemas.microsoft.com/office/drawing/2014/main" id="{081D2EC6-57DF-4A69-B8A7-DBFDF38A06C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5745599" y="4097391"/>
                      <a:ext cx="626400" cy="25200"/>
                    </a:xfrm>
                    <a:prstGeom prst="rect">
                      <a:avLst/>
                    </a:prstGeom>
                    <a:solidFill>
                      <a:schemeClr val="bg2">
                        <a:lumMod val="25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  <p:grpSp>
                <p:nvGrpSpPr>
                  <p:cNvPr id="882" name="Gruppieren 846">
                    <a:extLst>
                      <a:ext uri="{FF2B5EF4-FFF2-40B4-BE49-F238E27FC236}">
                        <a16:creationId xmlns:a16="http://schemas.microsoft.com/office/drawing/2014/main" id="{4F6922C2-B866-49E5-A9D7-0F1F29CF6627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2317730" y="4096637"/>
                    <a:ext cx="2605094" cy="536544"/>
                    <a:chOff x="2322882" y="4099213"/>
                    <a:chExt cx="1105804" cy="536544"/>
                  </a:xfrm>
                </p:grpSpPr>
                <p:sp>
                  <p:nvSpPr>
                    <p:cNvPr id="883" name="Rectangle 690">
                      <a:extLst>
                        <a:ext uri="{FF2B5EF4-FFF2-40B4-BE49-F238E27FC236}">
                          <a16:creationId xmlns:a16="http://schemas.microsoft.com/office/drawing/2014/main" id="{179E888B-A398-4FE9-BDC2-5F8F56D1748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2322882" y="4609120"/>
                      <a:ext cx="1105804" cy="26637"/>
                    </a:xfrm>
                    <a:prstGeom prst="rect">
                      <a:avLst/>
                    </a:pr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  <p:sp>
                  <p:nvSpPr>
                    <p:cNvPr id="884" name="Rectangle 690">
                      <a:extLst>
                        <a:ext uri="{FF2B5EF4-FFF2-40B4-BE49-F238E27FC236}">
                          <a16:creationId xmlns:a16="http://schemas.microsoft.com/office/drawing/2014/main" id="{6CAAE08C-7AC1-4E45-9A7A-8953ED1230B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gray">
                    <a:xfrm>
                      <a:off x="2322882" y="4099213"/>
                      <a:ext cx="1105804" cy="26637"/>
                    </a:xfrm>
                    <a:prstGeom prst="rect">
                      <a:avLst/>
                    </a:prstGeom>
                    <a:solidFill>
                      <a:srgbClr val="535E6B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35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Lucida Sans Techem"/>
                        <a:ea typeface="+mn-ea"/>
                        <a:cs typeface="Calibri"/>
                      </a:endParaRPr>
                    </a:p>
                  </p:txBody>
                </p:sp>
              </p:grpSp>
            </p:grpSp>
          </p:grpSp>
        </p:grpSp>
        <p:grpSp>
          <p:nvGrpSpPr>
            <p:cNvPr id="834" name="Gruppieren 857">
              <a:extLst>
                <a:ext uri="{FF2B5EF4-FFF2-40B4-BE49-F238E27FC236}">
                  <a16:creationId xmlns:a16="http://schemas.microsoft.com/office/drawing/2014/main" id="{F4D81A18-7F7B-4E3E-BEB3-083857414524}"/>
                </a:ext>
              </a:extLst>
            </p:cNvPr>
            <p:cNvGrpSpPr/>
            <p:nvPr/>
          </p:nvGrpSpPr>
          <p:grpSpPr bwMode="gray">
            <a:xfrm>
              <a:off x="5839200" y="4166079"/>
              <a:ext cx="108000" cy="131219"/>
              <a:chOff x="5598964" y="2419781"/>
              <a:chExt cx="108000" cy="131219"/>
            </a:xfrm>
          </p:grpSpPr>
          <p:sp>
            <p:nvSpPr>
              <p:cNvPr id="873" name="Rectangle 342">
                <a:extLst>
                  <a:ext uri="{FF2B5EF4-FFF2-40B4-BE49-F238E27FC236}">
                    <a16:creationId xmlns:a16="http://schemas.microsoft.com/office/drawing/2014/main" id="{83DCB50C-41B4-48C2-8468-0516390E62F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gray">
              <a:xfrm>
                <a:off x="5598964" y="2419781"/>
                <a:ext cx="108000" cy="131219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  <p:sp>
            <p:nvSpPr>
              <p:cNvPr id="874" name="Rectangle 342">
                <a:extLst>
                  <a:ext uri="{FF2B5EF4-FFF2-40B4-BE49-F238E27FC236}">
                    <a16:creationId xmlns:a16="http://schemas.microsoft.com/office/drawing/2014/main" id="{622B061E-2B5F-4E77-8C39-5C6EACD035D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07760" y="2420899"/>
                <a:ext cx="97199" cy="118097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  <p:sp>
            <p:nvSpPr>
              <p:cNvPr id="875" name="Rectangle 343">
                <a:extLst>
                  <a:ext uri="{FF2B5EF4-FFF2-40B4-BE49-F238E27FC236}">
                    <a16:creationId xmlns:a16="http://schemas.microsoft.com/office/drawing/2014/main" id="{3BE803F8-87FF-491F-8863-32AA87F389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23776" y="2440421"/>
                <a:ext cx="64799" cy="11247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3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Lucida Sans Techem"/>
                  <a:ea typeface="+mn-ea"/>
                  <a:cs typeface="Calibri"/>
                </a:endParaRPr>
              </a:p>
            </p:txBody>
          </p:sp>
        </p:grpSp>
        <p:grpSp>
          <p:nvGrpSpPr>
            <p:cNvPr id="835" name="Gruppieren 14">
              <a:extLst>
                <a:ext uri="{FF2B5EF4-FFF2-40B4-BE49-F238E27FC236}">
                  <a16:creationId xmlns:a16="http://schemas.microsoft.com/office/drawing/2014/main" id="{6EB987CD-4176-440D-8BD1-E65FC32D420E}"/>
                </a:ext>
              </a:extLst>
            </p:cNvPr>
            <p:cNvGrpSpPr/>
            <p:nvPr>
              <p:custDataLst>
                <p:tags r:id="rId66"/>
              </p:custDataLst>
            </p:nvPr>
          </p:nvGrpSpPr>
          <p:grpSpPr bwMode="gray">
            <a:xfrm>
              <a:off x="2427983" y="2719104"/>
              <a:ext cx="1877262" cy="1338952"/>
              <a:chOff x="2796668" y="3004738"/>
              <a:chExt cx="2001248" cy="1351561"/>
            </a:xfrm>
          </p:grpSpPr>
          <p:grpSp>
            <p:nvGrpSpPr>
              <p:cNvPr id="857" name="Gruppieren 994">
                <a:extLst>
                  <a:ext uri="{FF2B5EF4-FFF2-40B4-BE49-F238E27FC236}">
                    <a16:creationId xmlns:a16="http://schemas.microsoft.com/office/drawing/2014/main" id="{C8AF5566-EC42-4C6E-9C49-1FF29206360D}"/>
                  </a:ext>
                </a:extLst>
              </p:cNvPr>
              <p:cNvGrpSpPr/>
              <p:nvPr>
                <p:custDataLst>
                  <p:tags r:id="rId69"/>
                </p:custDataLst>
              </p:nvPr>
            </p:nvGrpSpPr>
            <p:grpSpPr bwMode="gray">
              <a:xfrm>
                <a:off x="2796668" y="3004738"/>
                <a:ext cx="1970107" cy="72613"/>
                <a:chOff x="2930323" y="3087134"/>
                <a:chExt cx="2162965" cy="79721"/>
              </a:xfrm>
            </p:grpSpPr>
            <p:cxnSp>
              <p:nvCxnSpPr>
                <p:cNvPr id="870" name="Gerade Verbindung 746">
                  <a:extLst>
                    <a:ext uri="{FF2B5EF4-FFF2-40B4-BE49-F238E27FC236}">
                      <a16:creationId xmlns:a16="http://schemas.microsoft.com/office/drawing/2014/main" id="{93748B59-38B7-4202-8F27-A144A35CDCE4}"/>
                    </a:ext>
                  </a:extLst>
                </p:cNvPr>
                <p:cNvCxnSpPr/>
                <p:nvPr/>
              </p:nvCxnSpPr>
              <p:spPr bwMode="gray">
                <a:xfrm>
                  <a:off x="2930323" y="3166855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1" name="Gerade Verbindung 747">
                  <a:extLst>
                    <a:ext uri="{FF2B5EF4-FFF2-40B4-BE49-F238E27FC236}">
                      <a16:creationId xmlns:a16="http://schemas.microsoft.com/office/drawing/2014/main" id="{A4E9E08C-17A2-4749-AEFA-C50D908A571E}"/>
                    </a:ext>
                  </a:extLst>
                </p:cNvPr>
                <p:cNvCxnSpPr/>
                <p:nvPr/>
              </p:nvCxnSpPr>
              <p:spPr bwMode="gray">
                <a:xfrm>
                  <a:off x="2933105" y="3087134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2" name="Gerade Verbindung 748">
                  <a:extLst>
                    <a:ext uri="{FF2B5EF4-FFF2-40B4-BE49-F238E27FC236}">
                      <a16:creationId xmlns:a16="http://schemas.microsoft.com/office/drawing/2014/main" id="{6F57BE12-5538-4E6E-9220-C1356B7E9DB1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94981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2" name="Gruppieren 998">
                <a:extLst>
                  <a:ext uri="{FF2B5EF4-FFF2-40B4-BE49-F238E27FC236}">
                    <a16:creationId xmlns:a16="http://schemas.microsoft.com/office/drawing/2014/main" id="{2EB171E2-C2C5-4CA8-9951-2D1662260B90}"/>
                  </a:ext>
                </a:extLst>
              </p:cNvPr>
              <p:cNvGrpSpPr/>
              <p:nvPr>
                <p:custDataLst>
                  <p:tags r:id="rId70"/>
                </p:custDataLst>
              </p:nvPr>
            </p:nvGrpSpPr>
            <p:grpSpPr bwMode="gray">
              <a:xfrm>
                <a:off x="2824698" y="3648373"/>
                <a:ext cx="1973218" cy="77753"/>
                <a:chOff x="2926907" y="3081298"/>
                <a:chExt cx="2166381" cy="85364"/>
              </a:xfrm>
            </p:grpSpPr>
            <p:cxnSp>
              <p:nvCxnSpPr>
                <p:cNvPr id="867" name="Gerade Verbindung 750">
                  <a:extLst>
                    <a:ext uri="{FF2B5EF4-FFF2-40B4-BE49-F238E27FC236}">
                      <a16:creationId xmlns:a16="http://schemas.microsoft.com/office/drawing/2014/main" id="{71009FEC-1083-4DA7-96F0-53D579CC9F3B}"/>
                    </a:ext>
                  </a:extLst>
                </p:cNvPr>
                <p:cNvCxnSpPr/>
                <p:nvPr/>
              </p:nvCxnSpPr>
              <p:spPr bwMode="gray">
                <a:xfrm>
                  <a:off x="2930323" y="3161028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8" name="Gerade Verbindung 751">
                  <a:extLst>
                    <a:ext uri="{FF2B5EF4-FFF2-40B4-BE49-F238E27FC236}">
                      <a16:creationId xmlns:a16="http://schemas.microsoft.com/office/drawing/2014/main" id="{A5F2373E-438F-4CD9-8492-9C85D092C53E}"/>
                    </a:ext>
                  </a:extLst>
                </p:cNvPr>
                <p:cNvCxnSpPr/>
                <p:nvPr/>
              </p:nvCxnSpPr>
              <p:spPr bwMode="gray">
                <a:xfrm>
                  <a:off x="2926907" y="308129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9" name="Gerade Verbindung 752">
                  <a:extLst>
                    <a:ext uri="{FF2B5EF4-FFF2-40B4-BE49-F238E27FC236}">
                      <a16:creationId xmlns:a16="http://schemas.microsoft.com/office/drawing/2014/main" id="{26C9E550-ACC5-434F-9288-5E936CADF51B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94981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3" name="Gruppieren 1002">
                <a:extLst>
                  <a:ext uri="{FF2B5EF4-FFF2-40B4-BE49-F238E27FC236}">
                    <a16:creationId xmlns:a16="http://schemas.microsoft.com/office/drawing/2014/main" id="{5118C999-154B-451F-8D05-412B6D31E79B}"/>
                  </a:ext>
                </a:extLst>
              </p:cNvPr>
              <p:cNvGrpSpPr/>
              <p:nvPr>
                <p:custDataLst>
                  <p:tags r:id="rId71"/>
                </p:custDataLst>
              </p:nvPr>
            </p:nvGrpSpPr>
            <p:grpSpPr bwMode="gray">
              <a:xfrm>
                <a:off x="2802104" y="4289003"/>
                <a:ext cx="1973218" cy="67296"/>
                <a:chOff x="2926907" y="3081298"/>
                <a:chExt cx="2166381" cy="73884"/>
              </a:xfrm>
            </p:grpSpPr>
            <p:cxnSp>
              <p:nvCxnSpPr>
                <p:cNvPr id="864" name="Gerade Verbindung 754">
                  <a:extLst>
                    <a:ext uri="{FF2B5EF4-FFF2-40B4-BE49-F238E27FC236}">
                      <a16:creationId xmlns:a16="http://schemas.microsoft.com/office/drawing/2014/main" id="{2EB79429-14C5-4264-BA05-9022FA1395DE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>
                  <a:off x="2930323" y="3155182"/>
                  <a:ext cx="2162965" cy="0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5" name="Gerade Verbindung 755">
                  <a:extLst>
                    <a:ext uri="{FF2B5EF4-FFF2-40B4-BE49-F238E27FC236}">
                      <a16:creationId xmlns:a16="http://schemas.microsoft.com/office/drawing/2014/main" id="{8C2C0144-1F8E-475C-B992-1E7D753F9508}"/>
                    </a:ext>
                  </a:extLst>
                </p:cNvPr>
                <p:cNvCxnSpPr/>
                <p:nvPr/>
              </p:nvCxnSpPr>
              <p:spPr bwMode="gray">
                <a:xfrm>
                  <a:off x="2926907" y="308129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6" name="Gerade Verbindung 756">
                  <a:extLst>
                    <a:ext uri="{FF2B5EF4-FFF2-40B4-BE49-F238E27FC236}">
                      <a16:creationId xmlns:a16="http://schemas.microsoft.com/office/drawing/2014/main" id="{6A5FA514-054B-415F-B227-AB6C81A784B3}"/>
                    </a:ext>
                  </a:extLst>
                </p:cNvPr>
                <p:cNvCxnSpPr/>
                <p:nvPr/>
              </p:nvCxnSpPr>
              <p:spPr bwMode="gray">
                <a:xfrm>
                  <a:off x="5093288" y="3083308"/>
                  <a:ext cx="0" cy="71681"/>
                </a:xfrm>
                <a:prstGeom prst="line">
                  <a:avLst/>
                </a:prstGeom>
                <a:ln w="19050" cap="rnd">
                  <a:solidFill>
                    <a:srgbClr val="FF0000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836" name="Gerade Verbindung 744">
              <a:extLst>
                <a:ext uri="{FF2B5EF4-FFF2-40B4-BE49-F238E27FC236}">
                  <a16:creationId xmlns:a16="http://schemas.microsoft.com/office/drawing/2014/main" id="{3A03E916-EC06-45D7-9A94-AE83462284A6}"/>
                </a:ext>
              </a:extLst>
            </p:cNvPr>
            <p:cNvCxnSpPr>
              <a:cxnSpLocks/>
            </p:cNvCxnSpPr>
            <p:nvPr>
              <p:custDataLst>
                <p:tags r:id="rId67"/>
              </p:custDataLst>
            </p:nvPr>
          </p:nvCxnSpPr>
          <p:spPr bwMode="gray">
            <a:xfrm>
              <a:off x="3410366" y="2792378"/>
              <a:ext cx="3301" cy="1460593"/>
            </a:xfrm>
            <a:prstGeom prst="line">
              <a:avLst/>
            </a:prstGeom>
            <a:ln w="19050" cap="rnd">
              <a:solidFill>
                <a:srgbClr val="FF0000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7" name="Gerade Verbindung 758">
              <a:extLst>
                <a:ext uri="{FF2B5EF4-FFF2-40B4-BE49-F238E27FC236}">
                  <a16:creationId xmlns:a16="http://schemas.microsoft.com/office/drawing/2014/main" id="{C0280588-D3F7-45DC-B50E-DE31D35991A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000" y="2791540"/>
              <a:ext cx="1080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8" name="Gerade Verbindung 759">
              <a:extLst>
                <a:ext uri="{FF2B5EF4-FFF2-40B4-BE49-F238E27FC236}">
                  <a16:creationId xmlns:a16="http://schemas.microsoft.com/office/drawing/2014/main" id="{753E4E26-98A6-4D0A-A2FA-40D3F6A9FB72}"/>
                </a:ext>
              </a:extLst>
            </p:cNvPr>
            <p:cNvCxnSpPr/>
            <p:nvPr>
              <p:custDataLst>
                <p:tags r:id="rId68"/>
              </p:custDataLst>
            </p:nvPr>
          </p:nvCxnSpPr>
          <p:spPr bwMode="gray">
            <a:xfrm>
              <a:off x="2656575" y="4079579"/>
              <a:ext cx="3276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9" name="Gerade Verbindung 760">
              <a:extLst>
                <a:ext uri="{FF2B5EF4-FFF2-40B4-BE49-F238E27FC236}">
                  <a16:creationId xmlns:a16="http://schemas.microsoft.com/office/drawing/2014/main" id="{B72D0C21-A556-4FAA-BA2D-4B60E1B88BA3}"/>
                </a:ext>
              </a:extLst>
            </p:cNvPr>
            <p:cNvCxnSpPr/>
            <p:nvPr/>
          </p:nvCxnSpPr>
          <p:spPr bwMode="gray">
            <a:xfrm>
              <a:off x="5423188" y="2795798"/>
              <a:ext cx="0" cy="1260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0" name="Gerade Verbindung 762">
              <a:extLst>
                <a:ext uri="{FF2B5EF4-FFF2-40B4-BE49-F238E27FC236}">
                  <a16:creationId xmlns:a16="http://schemas.microsoft.com/office/drawing/2014/main" id="{C7655039-C1DE-4054-A708-102FC9C4B4C7}"/>
                </a:ext>
              </a:extLst>
            </p:cNvPr>
            <p:cNvCxnSpPr/>
            <p:nvPr/>
          </p:nvCxnSpPr>
          <p:spPr bwMode="gray">
            <a:xfrm>
              <a:off x="4860000" y="3432936"/>
              <a:ext cx="1080000" cy="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1" name="Gerade Verbindung 764">
              <a:extLst>
                <a:ext uri="{FF2B5EF4-FFF2-40B4-BE49-F238E27FC236}">
                  <a16:creationId xmlns:a16="http://schemas.microsoft.com/office/drawing/2014/main" id="{C667E2B3-4D8E-4928-A0F8-90C01620D5A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6647" y="3234515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2" name="Gerade Verbindung 764">
              <a:extLst>
                <a:ext uri="{FF2B5EF4-FFF2-40B4-BE49-F238E27FC236}">
                  <a16:creationId xmlns:a16="http://schemas.microsoft.com/office/drawing/2014/main" id="{AFD2F03B-E278-4551-86D8-CEA619AE6CC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9506" y="2596710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3" name="Gerade Verbindung 764">
              <a:extLst>
                <a:ext uri="{FF2B5EF4-FFF2-40B4-BE49-F238E27FC236}">
                  <a16:creationId xmlns:a16="http://schemas.microsoft.com/office/drawing/2014/main" id="{D0758B99-890F-4235-815F-1B7DF16F31D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23444" y="3880754"/>
              <a:ext cx="0" cy="198963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4" name="Gerade Verbindung 764">
              <a:extLst>
                <a:ext uri="{FF2B5EF4-FFF2-40B4-BE49-F238E27FC236}">
                  <a16:creationId xmlns:a16="http://schemas.microsoft.com/office/drawing/2014/main" id="{F8B4B1D8-E66D-4937-B935-3F9DFCF55D5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8508" y="3348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2" name="Gerade Verbindung 764">
              <a:extLst>
                <a:ext uri="{FF2B5EF4-FFF2-40B4-BE49-F238E27FC236}">
                  <a16:creationId xmlns:a16="http://schemas.microsoft.com/office/drawing/2014/main" id="{64BD119E-A778-4819-AA7B-640DBFC2FE3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9200" y="2700000"/>
              <a:ext cx="2156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3" name="Gerade Verbindung 764">
              <a:extLst>
                <a:ext uri="{FF2B5EF4-FFF2-40B4-BE49-F238E27FC236}">
                  <a16:creationId xmlns:a16="http://schemas.microsoft.com/office/drawing/2014/main" id="{C95BA257-EA0E-415D-96CD-C9F83CFC359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475305" y="3978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4" name="Gerade Verbindung 764">
              <a:extLst>
                <a:ext uri="{FF2B5EF4-FFF2-40B4-BE49-F238E27FC236}">
                  <a16:creationId xmlns:a16="http://schemas.microsoft.com/office/drawing/2014/main" id="{5A0B1344-08AD-4A1A-9BC8-1AA6D93AB68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566" y="3312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5" name="Gerade Verbindung 764">
              <a:extLst>
                <a:ext uri="{FF2B5EF4-FFF2-40B4-BE49-F238E27FC236}">
                  <a16:creationId xmlns:a16="http://schemas.microsoft.com/office/drawing/2014/main" id="{F78A257A-5818-46ED-8404-43B2E4492D4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3425" y="2664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6" name="Gerade Verbindung 764">
              <a:extLst>
                <a:ext uri="{FF2B5EF4-FFF2-40B4-BE49-F238E27FC236}">
                  <a16:creationId xmlns:a16="http://schemas.microsoft.com/office/drawing/2014/main" id="{D2DB5E4A-54BE-440A-B281-757804AD74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60000" y="3960000"/>
              <a:ext cx="0" cy="108000"/>
            </a:xfrm>
            <a:prstGeom prst="line">
              <a:avLst/>
            </a:prstGeom>
            <a:ln w="19050" cap="rnd">
              <a:solidFill>
                <a:srgbClr val="006699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6" name="Fußzeilenplatzhalter 11">
            <a:extLst>
              <a:ext uri="{FF2B5EF4-FFF2-40B4-BE49-F238E27FC236}">
                <a16:creationId xmlns:a16="http://schemas.microsoft.com/office/drawing/2014/main" id="{07931696-6604-47ED-A9FB-7F4ABAF2617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760" name="Group 759">
            <a:extLst>
              <a:ext uri="{FF2B5EF4-FFF2-40B4-BE49-F238E27FC236}">
                <a16:creationId xmlns:a16="http://schemas.microsoft.com/office/drawing/2014/main" id="{CB890B8A-925A-4603-BA27-FB8C8D5CD7E5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61" name="Rechteck 12">
              <a:extLst>
                <a:ext uri="{FF2B5EF4-FFF2-40B4-BE49-F238E27FC236}">
                  <a16:creationId xmlns:a16="http://schemas.microsoft.com/office/drawing/2014/main" id="{333EB8D9-CCB6-40F2-9BF1-5C9B2F008203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62" name="Group 761">
              <a:extLst>
                <a:ext uri="{FF2B5EF4-FFF2-40B4-BE49-F238E27FC236}">
                  <a16:creationId xmlns:a16="http://schemas.microsoft.com/office/drawing/2014/main" id="{0E9F0A35-05E3-4C4E-98E2-9BC70D5D9639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63" name="Rectangle 5">
                <a:extLst>
                  <a:ext uri="{FF2B5EF4-FFF2-40B4-BE49-F238E27FC236}">
                    <a16:creationId xmlns:a16="http://schemas.microsoft.com/office/drawing/2014/main" id="{418612F8-988D-48B8-82D3-E3AC9A541CD2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63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64" name="Group 763">
                <a:extLst>
                  <a:ext uri="{FF2B5EF4-FFF2-40B4-BE49-F238E27FC236}">
                    <a16:creationId xmlns:a16="http://schemas.microsoft.com/office/drawing/2014/main" id="{83E0E70C-1D3F-46CE-B906-47DCD9B06DEB}"/>
                  </a:ext>
                </a:extLst>
              </p:cNvPr>
              <p:cNvGrpSpPr/>
              <p:nvPr userDrawn="1">
                <p:custDataLst>
                  <p:tags r:id="rId64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79" name="Freeform 6">
                  <a:extLst>
                    <a:ext uri="{FF2B5EF4-FFF2-40B4-BE49-F238E27FC236}">
                      <a16:creationId xmlns:a16="http://schemas.microsoft.com/office/drawing/2014/main" id="{55C3FF2D-A3B6-41A4-9840-F8F709AAC72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0" name="Freeform 7">
                  <a:extLst>
                    <a:ext uri="{FF2B5EF4-FFF2-40B4-BE49-F238E27FC236}">
                      <a16:creationId xmlns:a16="http://schemas.microsoft.com/office/drawing/2014/main" id="{84378DFF-260D-42E7-B0FF-0E031FB2CF76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1" name="Freeform 8">
                  <a:extLst>
                    <a:ext uri="{FF2B5EF4-FFF2-40B4-BE49-F238E27FC236}">
                      <a16:creationId xmlns:a16="http://schemas.microsoft.com/office/drawing/2014/main" id="{E42EB1A8-775A-452D-B623-A3A8FE518ED7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2" name="Freeform 9">
                  <a:extLst>
                    <a:ext uri="{FF2B5EF4-FFF2-40B4-BE49-F238E27FC236}">
                      <a16:creationId xmlns:a16="http://schemas.microsoft.com/office/drawing/2014/main" id="{4B50546F-E6E0-4A8C-BF7B-B0900F8FEFD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3" name="Freeform 10">
                  <a:extLst>
                    <a:ext uri="{FF2B5EF4-FFF2-40B4-BE49-F238E27FC236}">
                      <a16:creationId xmlns:a16="http://schemas.microsoft.com/office/drawing/2014/main" id="{A88C82CA-FE42-4257-803F-77D17D05BC1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4" name="Freeform 11">
                  <a:extLst>
                    <a:ext uri="{FF2B5EF4-FFF2-40B4-BE49-F238E27FC236}">
                      <a16:creationId xmlns:a16="http://schemas.microsoft.com/office/drawing/2014/main" id="{38963D59-847A-4284-9E81-2A7A3831359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5" name="Freeform 12">
                  <a:extLst>
                    <a:ext uri="{FF2B5EF4-FFF2-40B4-BE49-F238E27FC236}">
                      <a16:creationId xmlns:a16="http://schemas.microsoft.com/office/drawing/2014/main" id="{EBA0EF51-EBE1-4ED3-BDBB-18ED1D35D29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6" name="Freeform 13">
                  <a:extLst>
                    <a:ext uri="{FF2B5EF4-FFF2-40B4-BE49-F238E27FC236}">
                      <a16:creationId xmlns:a16="http://schemas.microsoft.com/office/drawing/2014/main" id="{3FBCB9CB-4D61-4244-953A-8292837D546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cxnSp>
        <p:nvCxnSpPr>
          <p:cNvPr id="787" name="Gerade Verbindung 782">
            <a:extLst>
              <a:ext uri="{FF2B5EF4-FFF2-40B4-BE49-F238E27FC236}">
                <a16:creationId xmlns:a16="http://schemas.microsoft.com/office/drawing/2014/main" id="{DB4A846F-BD0A-4B87-A241-886B9E47557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6948264" y="1527558"/>
            <a:ext cx="2195736" cy="0"/>
          </a:xfrm>
          <a:prstGeom prst="line">
            <a:avLst/>
          </a:prstGeom>
          <a:noFill/>
          <a:ln w="9525">
            <a:solidFill>
              <a:schemeClr val="accent4"/>
            </a:solidFill>
            <a:headEnd type="none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88" name="Gerade Verbindung 782">
            <a:extLst>
              <a:ext uri="{FF2B5EF4-FFF2-40B4-BE49-F238E27FC236}">
                <a16:creationId xmlns:a16="http://schemas.microsoft.com/office/drawing/2014/main" id="{7710B8D3-A7B6-4AEF-AE61-2979AC2AF9F5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6948264" y="843558"/>
            <a:ext cx="2195736" cy="0"/>
          </a:xfrm>
          <a:prstGeom prst="line">
            <a:avLst/>
          </a:prstGeom>
          <a:noFill/>
          <a:ln w="9525">
            <a:solidFill>
              <a:schemeClr val="accent4"/>
            </a:solidFill>
            <a:headEnd type="none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E8BEB16-0102-466B-81DA-C3AE98970CBB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7567552" y="920563"/>
            <a:ext cx="564412" cy="474909"/>
            <a:chOff x="7567552" y="969546"/>
            <a:chExt cx="564412" cy="474909"/>
          </a:xfrm>
        </p:grpSpPr>
        <p:grpSp>
          <p:nvGrpSpPr>
            <p:cNvPr id="805" name="Group 878">
              <a:extLst>
                <a:ext uri="{FF2B5EF4-FFF2-40B4-BE49-F238E27FC236}">
                  <a16:creationId xmlns:a16="http://schemas.microsoft.com/office/drawing/2014/main" id="{47FF3F2D-526D-4107-AD06-3DB00250D76E}"/>
                </a:ext>
              </a:extLst>
            </p:cNvPr>
            <p:cNvGrpSpPr/>
            <p:nvPr>
              <p:custDataLst>
                <p:tags r:id="rId61"/>
              </p:custDataLst>
            </p:nvPr>
          </p:nvGrpSpPr>
          <p:grpSpPr bwMode="gray">
            <a:xfrm>
              <a:off x="7676489" y="969546"/>
              <a:ext cx="346539" cy="347013"/>
              <a:chOff x="13986666" y="290454"/>
              <a:chExt cx="4555522" cy="4561771"/>
            </a:xfrm>
            <a:solidFill>
              <a:schemeClr val="accent1"/>
            </a:solidFill>
          </p:grpSpPr>
          <p:sp>
            <p:nvSpPr>
              <p:cNvPr id="806" name="Freeform: Shape 879">
                <a:extLst>
                  <a:ext uri="{FF2B5EF4-FFF2-40B4-BE49-F238E27FC236}">
                    <a16:creationId xmlns:a16="http://schemas.microsoft.com/office/drawing/2014/main" id="{8FE9C3AF-834C-406E-88B8-A2661047B138}"/>
                  </a:ext>
                </a:extLst>
              </p:cNvPr>
              <p:cNvSpPr/>
              <p:nvPr/>
            </p:nvSpPr>
            <p:spPr bwMode="gray">
              <a:xfrm>
                <a:off x="13986666" y="290549"/>
                <a:ext cx="1962150" cy="1971675"/>
              </a:xfrm>
              <a:custGeom>
                <a:avLst/>
                <a:gdLst>
                  <a:gd name="connsiteX0" fmla="*/ 1923955 w 1962150"/>
                  <a:gd name="connsiteY0" fmla="*/ 817398 h 1971675"/>
                  <a:gd name="connsiteX1" fmla="*/ 1790986 w 1962150"/>
                  <a:gd name="connsiteY1" fmla="*/ 758724 h 1971675"/>
                  <a:gd name="connsiteX2" fmla="*/ 1771079 w 1962150"/>
                  <a:gd name="connsiteY2" fmla="*/ 694907 h 1971675"/>
                  <a:gd name="connsiteX3" fmla="*/ 1844993 w 1962150"/>
                  <a:gd name="connsiteY3" fmla="*/ 567653 h 1971675"/>
                  <a:gd name="connsiteX4" fmla="*/ 1845564 w 1962150"/>
                  <a:gd name="connsiteY4" fmla="*/ 492310 h 1971675"/>
                  <a:gd name="connsiteX5" fmla="*/ 1715929 w 1962150"/>
                  <a:gd name="connsiteY5" fmla="*/ 311144 h 1971675"/>
                  <a:gd name="connsiteX6" fmla="*/ 1642110 w 1962150"/>
                  <a:gd name="connsiteY6" fmla="*/ 287713 h 1971675"/>
                  <a:gd name="connsiteX7" fmla="*/ 1502188 w 1962150"/>
                  <a:gd name="connsiteY7" fmla="*/ 319717 h 1971675"/>
                  <a:gd name="connsiteX8" fmla="*/ 1451134 w 1962150"/>
                  <a:gd name="connsiteY8" fmla="*/ 282093 h 1971675"/>
                  <a:gd name="connsiteX9" fmla="*/ 1437608 w 1962150"/>
                  <a:gd name="connsiteY9" fmla="*/ 133979 h 1971675"/>
                  <a:gd name="connsiteX10" fmla="*/ 1393698 w 1962150"/>
                  <a:gd name="connsiteY10" fmla="*/ 71876 h 1971675"/>
                  <a:gd name="connsiteX11" fmla="*/ 1185005 w 1962150"/>
                  <a:gd name="connsiteY11" fmla="*/ 1772 h 1971675"/>
                  <a:gd name="connsiteX12" fmla="*/ 1111663 w 1962150"/>
                  <a:gd name="connsiteY12" fmla="*/ 26633 h 1971675"/>
                  <a:gd name="connsiteX13" fmla="*/ 1014032 w 1962150"/>
                  <a:gd name="connsiteY13" fmla="*/ 139980 h 1971675"/>
                  <a:gd name="connsiteX14" fmla="*/ 955358 w 1962150"/>
                  <a:gd name="connsiteY14" fmla="*/ 139980 h 1971675"/>
                  <a:gd name="connsiteX15" fmla="*/ 857726 w 1962150"/>
                  <a:gd name="connsiteY15" fmla="*/ 26537 h 1971675"/>
                  <a:gd name="connsiteX16" fmla="*/ 784384 w 1962150"/>
                  <a:gd name="connsiteY16" fmla="*/ 1677 h 1971675"/>
                  <a:gd name="connsiteX17" fmla="*/ 575691 w 1962150"/>
                  <a:gd name="connsiteY17" fmla="*/ 71781 h 1971675"/>
                  <a:gd name="connsiteX18" fmla="*/ 531781 w 1962150"/>
                  <a:gd name="connsiteY18" fmla="*/ 133979 h 1971675"/>
                  <a:gd name="connsiteX19" fmla="*/ 518160 w 1962150"/>
                  <a:gd name="connsiteY19" fmla="*/ 281998 h 1971675"/>
                  <a:gd name="connsiteX20" fmla="*/ 467106 w 1962150"/>
                  <a:gd name="connsiteY20" fmla="*/ 319622 h 1971675"/>
                  <a:gd name="connsiteX21" fmla="*/ 327184 w 1962150"/>
                  <a:gd name="connsiteY21" fmla="*/ 287618 h 1971675"/>
                  <a:gd name="connsiteX22" fmla="*/ 253365 w 1962150"/>
                  <a:gd name="connsiteY22" fmla="*/ 311049 h 1971675"/>
                  <a:gd name="connsiteX23" fmla="*/ 123730 w 1962150"/>
                  <a:gd name="connsiteY23" fmla="*/ 492215 h 1971675"/>
                  <a:gd name="connsiteX24" fmla="*/ 124301 w 1962150"/>
                  <a:gd name="connsiteY24" fmla="*/ 567557 h 1971675"/>
                  <a:gd name="connsiteX25" fmla="*/ 198215 w 1962150"/>
                  <a:gd name="connsiteY25" fmla="*/ 694811 h 1971675"/>
                  <a:gd name="connsiteX26" fmla="*/ 178308 w 1962150"/>
                  <a:gd name="connsiteY26" fmla="*/ 758629 h 1971675"/>
                  <a:gd name="connsiteX27" fmla="*/ 45434 w 1962150"/>
                  <a:gd name="connsiteY27" fmla="*/ 817398 h 1971675"/>
                  <a:gd name="connsiteX28" fmla="*/ 0 w 1962150"/>
                  <a:gd name="connsiteY28" fmla="*/ 887121 h 1971675"/>
                  <a:gd name="connsiteX29" fmla="*/ 0 w 1962150"/>
                  <a:gd name="connsiteY29" fmla="*/ 1094100 h 1971675"/>
                  <a:gd name="connsiteX30" fmla="*/ 45434 w 1962150"/>
                  <a:gd name="connsiteY30" fmla="*/ 1163823 h 1971675"/>
                  <a:gd name="connsiteX31" fmla="*/ 178403 w 1962150"/>
                  <a:gd name="connsiteY31" fmla="*/ 1222497 h 1971675"/>
                  <a:gd name="connsiteX32" fmla="*/ 198311 w 1962150"/>
                  <a:gd name="connsiteY32" fmla="*/ 1286314 h 1971675"/>
                  <a:gd name="connsiteX33" fmla="*/ 124397 w 1962150"/>
                  <a:gd name="connsiteY33" fmla="*/ 1413568 h 1971675"/>
                  <a:gd name="connsiteX34" fmla="*/ 123825 w 1962150"/>
                  <a:gd name="connsiteY34" fmla="*/ 1488911 h 1971675"/>
                  <a:gd name="connsiteX35" fmla="*/ 253460 w 1962150"/>
                  <a:gd name="connsiteY35" fmla="*/ 1670076 h 1971675"/>
                  <a:gd name="connsiteX36" fmla="*/ 327279 w 1962150"/>
                  <a:gd name="connsiteY36" fmla="*/ 1693508 h 1971675"/>
                  <a:gd name="connsiteX37" fmla="*/ 467201 w 1962150"/>
                  <a:gd name="connsiteY37" fmla="*/ 1661504 h 1971675"/>
                  <a:gd name="connsiteX38" fmla="*/ 518255 w 1962150"/>
                  <a:gd name="connsiteY38" fmla="*/ 1699128 h 1971675"/>
                  <a:gd name="connsiteX39" fmla="*/ 531781 w 1962150"/>
                  <a:gd name="connsiteY39" fmla="*/ 1847241 h 1971675"/>
                  <a:gd name="connsiteX40" fmla="*/ 575691 w 1962150"/>
                  <a:gd name="connsiteY40" fmla="*/ 1909344 h 1971675"/>
                  <a:gd name="connsiteX41" fmla="*/ 784384 w 1962150"/>
                  <a:gd name="connsiteY41" fmla="*/ 1979448 h 1971675"/>
                  <a:gd name="connsiteX42" fmla="*/ 857726 w 1962150"/>
                  <a:gd name="connsiteY42" fmla="*/ 1954588 h 1971675"/>
                  <a:gd name="connsiteX43" fmla="*/ 955358 w 1962150"/>
                  <a:gd name="connsiteY43" fmla="*/ 1841241 h 1971675"/>
                  <a:gd name="connsiteX44" fmla="*/ 1014032 w 1962150"/>
                  <a:gd name="connsiteY44" fmla="*/ 1841241 h 1971675"/>
                  <a:gd name="connsiteX45" fmla="*/ 1111663 w 1962150"/>
                  <a:gd name="connsiteY45" fmla="*/ 1954588 h 1971675"/>
                  <a:gd name="connsiteX46" fmla="*/ 1169384 w 1962150"/>
                  <a:gd name="connsiteY46" fmla="*/ 1981068 h 1971675"/>
                  <a:gd name="connsiteX47" fmla="*/ 1185005 w 1962150"/>
                  <a:gd name="connsiteY47" fmla="*/ 1979448 h 1971675"/>
                  <a:gd name="connsiteX48" fmla="*/ 1393698 w 1962150"/>
                  <a:gd name="connsiteY48" fmla="*/ 1909344 h 1971675"/>
                  <a:gd name="connsiteX49" fmla="*/ 1437608 w 1962150"/>
                  <a:gd name="connsiteY49" fmla="*/ 1847146 h 1971675"/>
                  <a:gd name="connsiteX50" fmla="*/ 1451134 w 1962150"/>
                  <a:gd name="connsiteY50" fmla="*/ 1699128 h 1971675"/>
                  <a:gd name="connsiteX51" fmla="*/ 1502188 w 1962150"/>
                  <a:gd name="connsiteY51" fmla="*/ 1661504 h 1971675"/>
                  <a:gd name="connsiteX52" fmla="*/ 1642110 w 1962150"/>
                  <a:gd name="connsiteY52" fmla="*/ 1693508 h 1971675"/>
                  <a:gd name="connsiteX53" fmla="*/ 1715929 w 1962150"/>
                  <a:gd name="connsiteY53" fmla="*/ 1670076 h 1971675"/>
                  <a:gd name="connsiteX54" fmla="*/ 1845564 w 1962150"/>
                  <a:gd name="connsiteY54" fmla="*/ 1488911 h 1971675"/>
                  <a:gd name="connsiteX55" fmla="*/ 1844993 w 1962150"/>
                  <a:gd name="connsiteY55" fmla="*/ 1413568 h 1971675"/>
                  <a:gd name="connsiteX56" fmla="*/ 1771079 w 1962150"/>
                  <a:gd name="connsiteY56" fmla="*/ 1286314 h 1971675"/>
                  <a:gd name="connsiteX57" fmla="*/ 1790986 w 1962150"/>
                  <a:gd name="connsiteY57" fmla="*/ 1222497 h 1971675"/>
                  <a:gd name="connsiteX58" fmla="*/ 1923955 w 1962150"/>
                  <a:gd name="connsiteY58" fmla="*/ 1163823 h 1971675"/>
                  <a:gd name="connsiteX59" fmla="*/ 1969389 w 1962150"/>
                  <a:gd name="connsiteY59" fmla="*/ 1094100 h 1971675"/>
                  <a:gd name="connsiteX60" fmla="*/ 1969389 w 1962150"/>
                  <a:gd name="connsiteY60" fmla="*/ 887121 h 1971675"/>
                  <a:gd name="connsiteX61" fmla="*/ 1923955 w 1962150"/>
                  <a:gd name="connsiteY61" fmla="*/ 817398 h 1971675"/>
                  <a:gd name="connsiteX62" fmla="*/ 1816894 w 1962150"/>
                  <a:gd name="connsiteY62" fmla="*/ 1044474 h 1971675"/>
                  <a:gd name="connsiteX63" fmla="*/ 1695260 w 1962150"/>
                  <a:gd name="connsiteY63" fmla="*/ 1098100 h 1971675"/>
                  <a:gd name="connsiteX64" fmla="*/ 1651826 w 1962150"/>
                  <a:gd name="connsiteY64" fmla="*/ 1150773 h 1971675"/>
                  <a:gd name="connsiteX65" fmla="*/ 1616583 w 1962150"/>
                  <a:gd name="connsiteY65" fmla="*/ 1263835 h 1971675"/>
                  <a:gd name="connsiteX66" fmla="*/ 1621060 w 1962150"/>
                  <a:gd name="connsiteY66" fmla="*/ 1331272 h 1971675"/>
                  <a:gd name="connsiteX67" fmla="*/ 1690783 w 1962150"/>
                  <a:gd name="connsiteY67" fmla="*/ 1451478 h 1971675"/>
                  <a:gd name="connsiteX68" fmla="*/ 1631156 w 1962150"/>
                  <a:gd name="connsiteY68" fmla="*/ 1534726 h 1971675"/>
                  <a:gd name="connsiteX69" fmla="*/ 1499426 w 1962150"/>
                  <a:gd name="connsiteY69" fmla="*/ 1504627 h 1971675"/>
                  <a:gd name="connsiteX70" fmla="*/ 1431893 w 1962150"/>
                  <a:gd name="connsiteY70" fmla="*/ 1521772 h 1971675"/>
                  <a:gd name="connsiteX71" fmla="*/ 1338453 w 1962150"/>
                  <a:gd name="connsiteY71" fmla="*/ 1590924 h 1971675"/>
                  <a:gd name="connsiteX72" fmla="*/ 1302734 w 1962150"/>
                  <a:gd name="connsiteY72" fmla="*/ 1648740 h 1971675"/>
                  <a:gd name="connsiteX73" fmla="*/ 1289971 w 1962150"/>
                  <a:gd name="connsiteY73" fmla="*/ 1788567 h 1971675"/>
                  <a:gd name="connsiteX74" fmla="*/ 1196816 w 1962150"/>
                  <a:gd name="connsiteY74" fmla="*/ 1820190 h 1971675"/>
                  <a:gd name="connsiteX75" fmla="*/ 1106710 w 1962150"/>
                  <a:gd name="connsiteY75" fmla="*/ 1715606 h 1971675"/>
                  <a:gd name="connsiteX76" fmla="*/ 1048988 w 1962150"/>
                  <a:gd name="connsiteY76" fmla="*/ 1689126 h 1971675"/>
                  <a:gd name="connsiteX77" fmla="*/ 920401 w 1962150"/>
                  <a:gd name="connsiteY77" fmla="*/ 1689126 h 1971675"/>
                  <a:gd name="connsiteX78" fmla="*/ 862679 w 1962150"/>
                  <a:gd name="connsiteY78" fmla="*/ 1715606 h 1971675"/>
                  <a:gd name="connsiteX79" fmla="*/ 772573 w 1962150"/>
                  <a:gd name="connsiteY79" fmla="*/ 1820190 h 1971675"/>
                  <a:gd name="connsiteX80" fmla="*/ 679323 w 1962150"/>
                  <a:gd name="connsiteY80" fmla="*/ 1788567 h 1971675"/>
                  <a:gd name="connsiteX81" fmla="*/ 666560 w 1962150"/>
                  <a:gd name="connsiteY81" fmla="*/ 1648550 h 1971675"/>
                  <a:gd name="connsiteX82" fmla="*/ 630841 w 1962150"/>
                  <a:gd name="connsiteY82" fmla="*/ 1590828 h 1971675"/>
                  <a:gd name="connsiteX83" fmla="*/ 537401 w 1962150"/>
                  <a:gd name="connsiteY83" fmla="*/ 1521772 h 1971675"/>
                  <a:gd name="connsiteX84" fmla="*/ 469868 w 1962150"/>
                  <a:gd name="connsiteY84" fmla="*/ 1504627 h 1971675"/>
                  <a:gd name="connsiteX85" fmla="*/ 338138 w 1962150"/>
                  <a:gd name="connsiteY85" fmla="*/ 1534726 h 1971675"/>
                  <a:gd name="connsiteX86" fmla="*/ 278511 w 1962150"/>
                  <a:gd name="connsiteY86" fmla="*/ 1451478 h 1971675"/>
                  <a:gd name="connsiteX87" fmla="*/ 348234 w 1962150"/>
                  <a:gd name="connsiteY87" fmla="*/ 1331272 h 1971675"/>
                  <a:gd name="connsiteX88" fmla="*/ 352711 w 1962150"/>
                  <a:gd name="connsiteY88" fmla="*/ 1263835 h 1971675"/>
                  <a:gd name="connsiteX89" fmla="*/ 317468 w 1962150"/>
                  <a:gd name="connsiteY89" fmla="*/ 1150773 h 1971675"/>
                  <a:gd name="connsiteX90" fmla="*/ 274034 w 1962150"/>
                  <a:gd name="connsiteY90" fmla="*/ 1098100 h 1971675"/>
                  <a:gd name="connsiteX91" fmla="*/ 152400 w 1962150"/>
                  <a:gd name="connsiteY91" fmla="*/ 1044474 h 1971675"/>
                  <a:gd name="connsiteX92" fmla="*/ 152400 w 1962150"/>
                  <a:gd name="connsiteY92" fmla="*/ 936746 h 1971675"/>
                  <a:gd name="connsiteX93" fmla="*/ 274034 w 1962150"/>
                  <a:gd name="connsiteY93" fmla="*/ 883121 h 1971675"/>
                  <a:gd name="connsiteX94" fmla="*/ 317468 w 1962150"/>
                  <a:gd name="connsiteY94" fmla="*/ 830448 h 1971675"/>
                  <a:gd name="connsiteX95" fmla="*/ 352711 w 1962150"/>
                  <a:gd name="connsiteY95" fmla="*/ 717386 h 1971675"/>
                  <a:gd name="connsiteX96" fmla="*/ 348234 w 1962150"/>
                  <a:gd name="connsiteY96" fmla="*/ 649949 h 1971675"/>
                  <a:gd name="connsiteX97" fmla="*/ 278511 w 1962150"/>
                  <a:gd name="connsiteY97" fmla="*/ 529743 h 1971675"/>
                  <a:gd name="connsiteX98" fmla="*/ 338138 w 1962150"/>
                  <a:gd name="connsiteY98" fmla="*/ 446495 h 1971675"/>
                  <a:gd name="connsiteX99" fmla="*/ 469868 w 1962150"/>
                  <a:gd name="connsiteY99" fmla="*/ 476594 h 1971675"/>
                  <a:gd name="connsiteX100" fmla="*/ 537401 w 1962150"/>
                  <a:gd name="connsiteY100" fmla="*/ 459449 h 1971675"/>
                  <a:gd name="connsiteX101" fmla="*/ 630841 w 1962150"/>
                  <a:gd name="connsiteY101" fmla="*/ 390297 h 1971675"/>
                  <a:gd name="connsiteX102" fmla="*/ 666560 w 1962150"/>
                  <a:gd name="connsiteY102" fmla="*/ 332480 h 1971675"/>
                  <a:gd name="connsiteX103" fmla="*/ 679323 w 1962150"/>
                  <a:gd name="connsiteY103" fmla="*/ 192653 h 1971675"/>
                  <a:gd name="connsiteX104" fmla="*/ 772478 w 1962150"/>
                  <a:gd name="connsiteY104" fmla="*/ 161030 h 1971675"/>
                  <a:gd name="connsiteX105" fmla="*/ 862584 w 1962150"/>
                  <a:gd name="connsiteY105" fmla="*/ 265615 h 1971675"/>
                  <a:gd name="connsiteX106" fmla="*/ 920306 w 1962150"/>
                  <a:gd name="connsiteY106" fmla="*/ 292094 h 1971675"/>
                  <a:gd name="connsiteX107" fmla="*/ 1048703 w 1962150"/>
                  <a:gd name="connsiteY107" fmla="*/ 292094 h 1971675"/>
                  <a:gd name="connsiteX108" fmla="*/ 1106424 w 1962150"/>
                  <a:gd name="connsiteY108" fmla="*/ 265615 h 1971675"/>
                  <a:gd name="connsiteX109" fmla="*/ 1196531 w 1962150"/>
                  <a:gd name="connsiteY109" fmla="*/ 161030 h 1971675"/>
                  <a:gd name="connsiteX110" fmla="*/ 1289780 w 1962150"/>
                  <a:gd name="connsiteY110" fmla="*/ 192653 h 1971675"/>
                  <a:gd name="connsiteX111" fmla="*/ 1302544 w 1962150"/>
                  <a:gd name="connsiteY111" fmla="*/ 332576 h 1971675"/>
                  <a:gd name="connsiteX112" fmla="*/ 1338263 w 1962150"/>
                  <a:gd name="connsiteY112" fmla="*/ 390297 h 1971675"/>
                  <a:gd name="connsiteX113" fmla="*/ 1431703 w 1962150"/>
                  <a:gd name="connsiteY113" fmla="*/ 459353 h 1971675"/>
                  <a:gd name="connsiteX114" fmla="*/ 1499235 w 1962150"/>
                  <a:gd name="connsiteY114" fmla="*/ 476498 h 1971675"/>
                  <a:gd name="connsiteX115" fmla="*/ 1630966 w 1962150"/>
                  <a:gd name="connsiteY115" fmla="*/ 446399 h 1971675"/>
                  <a:gd name="connsiteX116" fmla="*/ 1690592 w 1962150"/>
                  <a:gd name="connsiteY116" fmla="*/ 529648 h 1971675"/>
                  <a:gd name="connsiteX117" fmla="*/ 1620869 w 1962150"/>
                  <a:gd name="connsiteY117" fmla="*/ 649854 h 1971675"/>
                  <a:gd name="connsiteX118" fmla="*/ 1616393 w 1962150"/>
                  <a:gd name="connsiteY118" fmla="*/ 717290 h 1971675"/>
                  <a:gd name="connsiteX119" fmla="*/ 1651635 w 1962150"/>
                  <a:gd name="connsiteY119" fmla="*/ 830352 h 1971675"/>
                  <a:gd name="connsiteX120" fmla="*/ 1695069 w 1962150"/>
                  <a:gd name="connsiteY120" fmla="*/ 883025 h 1971675"/>
                  <a:gd name="connsiteX121" fmla="*/ 1816703 w 1962150"/>
                  <a:gd name="connsiteY121" fmla="*/ 936651 h 1971675"/>
                  <a:gd name="connsiteX122" fmla="*/ 1816894 w 1962150"/>
                  <a:gd name="connsiteY122" fmla="*/ 1044474 h 1971675"/>
                  <a:gd name="connsiteX123" fmla="*/ 1816894 w 1962150"/>
                  <a:gd name="connsiteY123" fmla="*/ 1044474 h 197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1962150" h="1971675">
                    <a:moveTo>
                      <a:pt x="1923955" y="817398"/>
                    </a:moveTo>
                    <a:lnTo>
                      <a:pt x="1790986" y="758724"/>
                    </a:lnTo>
                    <a:cubicBezTo>
                      <a:pt x="1784985" y="736436"/>
                      <a:pt x="1778413" y="715290"/>
                      <a:pt x="1771079" y="694907"/>
                    </a:cubicBezTo>
                    <a:lnTo>
                      <a:pt x="1844993" y="567653"/>
                    </a:lnTo>
                    <a:cubicBezTo>
                      <a:pt x="1858423" y="544412"/>
                      <a:pt x="1858709" y="515741"/>
                      <a:pt x="1845564" y="492310"/>
                    </a:cubicBezTo>
                    <a:cubicBezTo>
                      <a:pt x="1809179" y="427349"/>
                      <a:pt x="1765649" y="366580"/>
                      <a:pt x="1715929" y="311144"/>
                    </a:cubicBezTo>
                    <a:cubicBezTo>
                      <a:pt x="1697450" y="290380"/>
                      <a:pt x="1669161" y="281426"/>
                      <a:pt x="1642110" y="287713"/>
                    </a:cubicBezTo>
                    <a:lnTo>
                      <a:pt x="1502188" y="319717"/>
                    </a:lnTo>
                    <a:cubicBezTo>
                      <a:pt x="1485900" y="306668"/>
                      <a:pt x="1468850" y="294190"/>
                      <a:pt x="1451134" y="282093"/>
                    </a:cubicBezTo>
                    <a:lnTo>
                      <a:pt x="1437608" y="133979"/>
                    </a:lnTo>
                    <a:cubicBezTo>
                      <a:pt x="1435132" y="106928"/>
                      <a:pt x="1418368" y="83211"/>
                      <a:pt x="1393698" y="71876"/>
                    </a:cubicBezTo>
                    <a:cubicBezTo>
                      <a:pt x="1327023" y="40634"/>
                      <a:pt x="1257014" y="17108"/>
                      <a:pt x="1185005" y="1772"/>
                    </a:cubicBezTo>
                    <a:cubicBezTo>
                      <a:pt x="1157859" y="-4038"/>
                      <a:pt x="1129665" y="5487"/>
                      <a:pt x="1111663" y="26633"/>
                    </a:cubicBezTo>
                    <a:lnTo>
                      <a:pt x="1014032" y="139980"/>
                    </a:lnTo>
                    <a:lnTo>
                      <a:pt x="955358" y="139980"/>
                    </a:lnTo>
                    <a:lnTo>
                      <a:pt x="857726" y="26537"/>
                    </a:lnTo>
                    <a:cubicBezTo>
                      <a:pt x="839724" y="5392"/>
                      <a:pt x="811530" y="-4133"/>
                      <a:pt x="784384" y="1677"/>
                    </a:cubicBezTo>
                    <a:cubicBezTo>
                      <a:pt x="712375" y="17012"/>
                      <a:pt x="642366" y="40539"/>
                      <a:pt x="575691" y="71781"/>
                    </a:cubicBezTo>
                    <a:cubicBezTo>
                      <a:pt x="551021" y="83211"/>
                      <a:pt x="534257" y="106928"/>
                      <a:pt x="531781" y="133979"/>
                    </a:cubicBezTo>
                    <a:lnTo>
                      <a:pt x="518160" y="281998"/>
                    </a:lnTo>
                    <a:cubicBezTo>
                      <a:pt x="500539" y="294095"/>
                      <a:pt x="483394" y="306668"/>
                      <a:pt x="467106" y="319622"/>
                    </a:cubicBezTo>
                    <a:lnTo>
                      <a:pt x="327184" y="287618"/>
                    </a:lnTo>
                    <a:cubicBezTo>
                      <a:pt x="300133" y="281236"/>
                      <a:pt x="271748" y="290285"/>
                      <a:pt x="253365" y="311049"/>
                    </a:cubicBezTo>
                    <a:cubicBezTo>
                      <a:pt x="203644" y="366485"/>
                      <a:pt x="160115" y="427254"/>
                      <a:pt x="123730" y="492215"/>
                    </a:cubicBezTo>
                    <a:cubicBezTo>
                      <a:pt x="110585" y="515741"/>
                      <a:pt x="110871" y="544317"/>
                      <a:pt x="124301" y="567557"/>
                    </a:cubicBezTo>
                    <a:lnTo>
                      <a:pt x="198215" y="694811"/>
                    </a:lnTo>
                    <a:cubicBezTo>
                      <a:pt x="190881" y="715195"/>
                      <a:pt x="184404" y="736340"/>
                      <a:pt x="178308" y="758629"/>
                    </a:cubicBezTo>
                    <a:lnTo>
                      <a:pt x="45434" y="817398"/>
                    </a:lnTo>
                    <a:cubicBezTo>
                      <a:pt x="17812" y="829590"/>
                      <a:pt x="0" y="856927"/>
                      <a:pt x="0" y="887121"/>
                    </a:cubicBezTo>
                    <a:lnTo>
                      <a:pt x="0" y="1094100"/>
                    </a:lnTo>
                    <a:cubicBezTo>
                      <a:pt x="0" y="1124294"/>
                      <a:pt x="17812" y="1151631"/>
                      <a:pt x="45434" y="1163823"/>
                    </a:cubicBezTo>
                    <a:lnTo>
                      <a:pt x="178403" y="1222497"/>
                    </a:lnTo>
                    <a:cubicBezTo>
                      <a:pt x="184404" y="1244785"/>
                      <a:pt x="190976" y="1265931"/>
                      <a:pt x="198311" y="1286314"/>
                    </a:cubicBezTo>
                    <a:lnTo>
                      <a:pt x="124397" y="1413568"/>
                    </a:lnTo>
                    <a:cubicBezTo>
                      <a:pt x="110966" y="1436809"/>
                      <a:pt x="110681" y="1465479"/>
                      <a:pt x="123825" y="1488911"/>
                    </a:cubicBezTo>
                    <a:cubicBezTo>
                      <a:pt x="160211" y="1553871"/>
                      <a:pt x="203740" y="1614641"/>
                      <a:pt x="253460" y="1670076"/>
                    </a:cubicBezTo>
                    <a:cubicBezTo>
                      <a:pt x="271939" y="1690841"/>
                      <a:pt x="300228" y="1699794"/>
                      <a:pt x="327279" y="1693508"/>
                    </a:cubicBezTo>
                    <a:lnTo>
                      <a:pt x="467201" y="1661504"/>
                    </a:lnTo>
                    <a:cubicBezTo>
                      <a:pt x="483489" y="1674553"/>
                      <a:pt x="500539" y="1687031"/>
                      <a:pt x="518255" y="1699128"/>
                    </a:cubicBezTo>
                    <a:lnTo>
                      <a:pt x="531781" y="1847241"/>
                    </a:lnTo>
                    <a:cubicBezTo>
                      <a:pt x="534257" y="1874292"/>
                      <a:pt x="551021" y="1898010"/>
                      <a:pt x="575691" y="1909344"/>
                    </a:cubicBezTo>
                    <a:cubicBezTo>
                      <a:pt x="642366" y="1940586"/>
                      <a:pt x="712375" y="1964113"/>
                      <a:pt x="784384" y="1979448"/>
                    </a:cubicBezTo>
                    <a:cubicBezTo>
                      <a:pt x="811530" y="1985163"/>
                      <a:pt x="839724" y="1975638"/>
                      <a:pt x="857726" y="1954588"/>
                    </a:cubicBezTo>
                    <a:lnTo>
                      <a:pt x="955358" y="1841241"/>
                    </a:lnTo>
                    <a:lnTo>
                      <a:pt x="1014032" y="1841241"/>
                    </a:lnTo>
                    <a:lnTo>
                      <a:pt x="1111663" y="1954588"/>
                    </a:lnTo>
                    <a:cubicBezTo>
                      <a:pt x="1126141" y="1971447"/>
                      <a:pt x="1147191" y="1981068"/>
                      <a:pt x="1169384" y="1981068"/>
                    </a:cubicBezTo>
                    <a:cubicBezTo>
                      <a:pt x="1174623" y="1981068"/>
                      <a:pt x="1179862" y="1980496"/>
                      <a:pt x="1185005" y="1979448"/>
                    </a:cubicBezTo>
                    <a:cubicBezTo>
                      <a:pt x="1257014" y="1964113"/>
                      <a:pt x="1327023" y="1940586"/>
                      <a:pt x="1393698" y="1909344"/>
                    </a:cubicBezTo>
                    <a:cubicBezTo>
                      <a:pt x="1418368" y="1897914"/>
                      <a:pt x="1435132" y="1874197"/>
                      <a:pt x="1437608" y="1847146"/>
                    </a:cubicBezTo>
                    <a:lnTo>
                      <a:pt x="1451134" y="1699128"/>
                    </a:lnTo>
                    <a:cubicBezTo>
                      <a:pt x="1468755" y="1687031"/>
                      <a:pt x="1485900" y="1674458"/>
                      <a:pt x="1502188" y="1661504"/>
                    </a:cubicBezTo>
                    <a:lnTo>
                      <a:pt x="1642110" y="1693508"/>
                    </a:lnTo>
                    <a:cubicBezTo>
                      <a:pt x="1669161" y="1699794"/>
                      <a:pt x="1697450" y="1690841"/>
                      <a:pt x="1715929" y="1670076"/>
                    </a:cubicBezTo>
                    <a:cubicBezTo>
                      <a:pt x="1765649" y="1614641"/>
                      <a:pt x="1809179" y="1553871"/>
                      <a:pt x="1845564" y="1488911"/>
                    </a:cubicBezTo>
                    <a:cubicBezTo>
                      <a:pt x="1858709" y="1465479"/>
                      <a:pt x="1858423" y="1436809"/>
                      <a:pt x="1844993" y="1413568"/>
                    </a:cubicBezTo>
                    <a:lnTo>
                      <a:pt x="1771079" y="1286314"/>
                    </a:lnTo>
                    <a:cubicBezTo>
                      <a:pt x="1778413" y="1265931"/>
                      <a:pt x="1784890" y="1244785"/>
                      <a:pt x="1790986" y="1222497"/>
                    </a:cubicBezTo>
                    <a:lnTo>
                      <a:pt x="1923955" y="1163823"/>
                    </a:lnTo>
                    <a:cubicBezTo>
                      <a:pt x="1951577" y="1151631"/>
                      <a:pt x="1969389" y="1124294"/>
                      <a:pt x="1969389" y="1094100"/>
                    </a:cubicBezTo>
                    <a:lnTo>
                      <a:pt x="1969389" y="887121"/>
                    </a:lnTo>
                    <a:cubicBezTo>
                      <a:pt x="1969294" y="856927"/>
                      <a:pt x="1951482" y="829590"/>
                      <a:pt x="1923955" y="817398"/>
                    </a:cubicBezTo>
                    <a:close/>
                    <a:moveTo>
                      <a:pt x="1816894" y="1044474"/>
                    </a:moveTo>
                    <a:lnTo>
                      <a:pt x="1695260" y="1098100"/>
                    </a:lnTo>
                    <a:cubicBezTo>
                      <a:pt x="1673257" y="1107816"/>
                      <a:pt x="1657160" y="1127342"/>
                      <a:pt x="1651826" y="1150773"/>
                    </a:cubicBezTo>
                    <a:cubicBezTo>
                      <a:pt x="1643253" y="1189350"/>
                      <a:pt x="1631442" y="1227164"/>
                      <a:pt x="1616583" y="1263835"/>
                    </a:cubicBezTo>
                    <a:cubicBezTo>
                      <a:pt x="1607534" y="1285743"/>
                      <a:pt x="1609154" y="1310698"/>
                      <a:pt x="1621060" y="1331272"/>
                    </a:cubicBezTo>
                    <a:lnTo>
                      <a:pt x="1690783" y="1451478"/>
                    </a:lnTo>
                    <a:cubicBezTo>
                      <a:pt x="1672590" y="1480433"/>
                      <a:pt x="1652683" y="1508151"/>
                      <a:pt x="1631156" y="1534726"/>
                    </a:cubicBezTo>
                    <a:lnTo>
                      <a:pt x="1499426" y="1504627"/>
                    </a:lnTo>
                    <a:cubicBezTo>
                      <a:pt x="1475518" y="1499007"/>
                      <a:pt x="1450277" y="1505389"/>
                      <a:pt x="1431893" y="1521772"/>
                    </a:cubicBezTo>
                    <a:cubicBezTo>
                      <a:pt x="1402747" y="1547394"/>
                      <a:pt x="1371410" y="1570540"/>
                      <a:pt x="1338453" y="1590924"/>
                    </a:cubicBezTo>
                    <a:cubicBezTo>
                      <a:pt x="1318165" y="1603497"/>
                      <a:pt x="1304925" y="1624928"/>
                      <a:pt x="1302734" y="1648740"/>
                    </a:cubicBezTo>
                    <a:lnTo>
                      <a:pt x="1289971" y="1788567"/>
                    </a:lnTo>
                    <a:cubicBezTo>
                      <a:pt x="1259586" y="1800950"/>
                      <a:pt x="1228439" y="1811427"/>
                      <a:pt x="1196816" y="1820190"/>
                    </a:cubicBezTo>
                    <a:lnTo>
                      <a:pt x="1106710" y="1715606"/>
                    </a:lnTo>
                    <a:cubicBezTo>
                      <a:pt x="1092232" y="1698842"/>
                      <a:pt x="1071182" y="1689126"/>
                      <a:pt x="1048988" y="1689126"/>
                    </a:cubicBezTo>
                    <a:lnTo>
                      <a:pt x="920401" y="1689126"/>
                    </a:lnTo>
                    <a:cubicBezTo>
                      <a:pt x="898208" y="1689126"/>
                      <a:pt x="877157" y="1698842"/>
                      <a:pt x="862679" y="1715606"/>
                    </a:cubicBezTo>
                    <a:lnTo>
                      <a:pt x="772573" y="1820190"/>
                    </a:lnTo>
                    <a:cubicBezTo>
                      <a:pt x="740950" y="1811523"/>
                      <a:pt x="709803" y="1800950"/>
                      <a:pt x="679323" y="1788567"/>
                    </a:cubicBezTo>
                    <a:lnTo>
                      <a:pt x="666560" y="1648550"/>
                    </a:lnTo>
                    <a:cubicBezTo>
                      <a:pt x="664369" y="1624737"/>
                      <a:pt x="651129" y="1603401"/>
                      <a:pt x="630841" y="1590828"/>
                    </a:cubicBezTo>
                    <a:cubicBezTo>
                      <a:pt x="597789" y="1570540"/>
                      <a:pt x="566547" y="1547394"/>
                      <a:pt x="537401" y="1521772"/>
                    </a:cubicBezTo>
                    <a:cubicBezTo>
                      <a:pt x="519017" y="1505389"/>
                      <a:pt x="493871" y="1499007"/>
                      <a:pt x="469868" y="1504627"/>
                    </a:cubicBezTo>
                    <a:lnTo>
                      <a:pt x="338138" y="1534726"/>
                    </a:lnTo>
                    <a:cubicBezTo>
                      <a:pt x="316611" y="1508151"/>
                      <a:pt x="296704" y="1480338"/>
                      <a:pt x="278511" y="1451478"/>
                    </a:cubicBezTo>
                    <a:lnTo>
                      <a:pt x="348234" y="1331272"/>
                    </a:lnTo>
                    <a:cubicBezTo>
                      <a:pt x="360140" y="1310698"/>
                      <a:pt x="361760" y="1285838"/>
                      <a:pt x="352711" y="1263835"/>
                    </a:cubicBezTo>
                    <a:cubicBezTo>
                      <a:pt x="337757" y="1227259"/>
                      <a:pt x="325946" y="1189445"/>
                      <a:pt x="317468" y="1150773"/>
                    </a:cubicBezTo>
                    <a:cubicBezTo>
                      <a:pt x="312134" y="1127342"/>
                      <a:pt x="295942" y="1107816"/>
                      <a:pt x="274034" y="1098100"/>
                    </a:cubicBezTo>
                    <a:lnTo>
                      <a:pt x="152400" y="1044474"/>
                    </a:lnTo>
                    <a:lnTo>
                      <a:pt x="152400" y="936746"/>
                    </a:lnTo>
                    <a:lnTo>
                      <a:pt x="274034" y="883121"/>
                    </a:lnTo>
                    <a:cubicBezTo>
                      <a:pt x="296037" y="873405"/>
                      <a:pt x="312134" y="853879"/>
                      <a:pt x="317468" y="830448"/>
                    </a:cubicBezTo>
                    <a:cubicBezTo>
                      <a:pt x="326041" y="791871"/>
                      <a:pt x="337852" y="754057"/>
                      <a:pt x="352711" y="717386"/>
                    </a:cubicBezTo>
                    <a:cubicBezTo>
                      <a:pt x="361760" y="695478"/>
                      <a:pt x="360140" y="670523"/>
                      <a:pt x="348234" y="649949"/>
                    </a:cubicBezTo>
                    <a:lnTo>
                      <a:pt x="278511" y="529743"/>
                    </a:lnTo>
                    <a:cubicBezTo>
                      <a:pt x="296704" y="500882"/>
                      <a:pt x="316611" y="473069"/>
                      <a:pt x="338138" y="446495"/>
                    </a:cubicBezTo>
                    <a:lnTo>
                      <a:pt x="469868" y="476594"/>
                    </a:lnTo>
                    <a:cubicBezTo>
                      <a:pt x="493776" y="482118"/>
                      <a:pt x="518922" y="475832"/>
                      <a:pt x="537401" y="459449"/>
                    </a:cubicBezTo>
                    <a:cubicBezTo>
                      <a:pt x="566547" y="433826"/>
                      <a:pt x="597884" y="410681"/>
                      <a:pt x="630841" y="390297"/>
                    </a:cubicBezTo>
                    <a:cubicBezTo>
                      <a:pt x="651129" y="377724"/>
                      <a:pt x="664369" y="356293"/>
                      <a:pt x="666560" y="332480"/>
                    </a:cubicBezTo>
                    <a:lnTo>
                      <a:pt x="679323" y="192653"/>
                    </a:lnTo>
                    <a:cubicBezTo>
                      <a:pt x="709708" y="180271"/>
                      <a:pt x="740855" y="169698"/>
                      <a:pt x="772478" y="161030"/>
                    </a:cubicBezTo>
                    <a:lnTo>
                      <a:pt x="862584" y="265615"/>
                    </a:lnTo>
                    <a:cubicBezTo>
                      <a:pt x="877062" y="282379"/>
                      <a:pt x="898112" y="292094"/>
                      <a:pt x="920306" y="292094"/>
                    </a:cubicBezTo>
                    <a:lnTo>
                      <a:pt x="1048703" y="292094"/>
                    </a:lnTo>
                    <a:cubicBezTo>
                      <a:pt x="1070896" y="292094"/>
                      <a:pt x="1091946" y="282379"/>
                      <a:pt x="1106424" y="265615"/>
                    </a:cubicBezTo>
                    <a:lnTo>
                      <a:pt x="1196531" y="161030"/>
                    </a:lnTo>
                    <a:cubicBezTo>
                      <a:pt x="1228154" y="169793"/>
                      <a:pt x="1259300" y="180271"/>
                      <a:pt x="1289780" y="192653"/>
                    </a:cubicBezTo>
                    <a:lnTo>
                      <a:pt x="1302544" y="332576"/>
                    </a:lnTo>
                    <a:cubicBezTo>
                      <a:pt x="1304735" y="356388"/>
                      <a:pt x="1317974" y="377724"/>
                      <a:pt x="1338263" y="390297"/>
                    </a:cubicBezTo>
                    <a:cubicBezTo>
                      <a:pt x="1371314" y="410585"/>
                      <a:pt x="1402556" y="433731"/>
                      <a:pt x="1431703" y="459353"/>
                    </a:cubicBezTo>
                    <a:cubicBezTo>
                      <a:pt x="1450086" y="475641"/>
                      <a:pt x="1475232" y="482023"/>
                      <a:pt x="1499235" y="476498"/>
                    </a:cubicBezTo>
                    <a:lnTo>
                      <a:pt x="1630966" y="446399"/>
                    </a:lnTo>
                    <a:cubicBezTo>
                      <a:pt x="1652492" y="472974"/>
                      <a:pt x="1672400" y="500787"/>
                      <a:pt x="1690592" y="529648"/>
                    </a:cubicBezTo>
                    <a:lnTo>
                      <a:pt x="1620869" y="649854"/>
                    </a:lnTo>
                    <a:cubicBezTo>
                      <a:pt x="1608963" y="670427"/>
                      <a:pt x="1607344" y="695288"/>
                      <a:pt x="1616393" y="717290"/>
                    </a:cubicBezTo>
                    <a:cubicBezTo>
                      <a:pt x="1631347" y="753867"/>
                      <a:pt x="1643158" y="791681"/>
                      <a:pt x="1651635" y="830352"/>
                    </a:cubicBezTo>
                    <a:cubicBezTo>
                      <a:pt x="1657064" y="853784"/>
                      <a:pt x="1673162" y="873310"/>
                      <a:pt x="1695069" y="883025"/>
                    </a:cubicBezTo>
                    <a:lnTo>
                      <a:pt x="1816703" y="936651"/>
                    </a:lnTo>
                    <a:lnTo>
                      <a:pt x="1816894" y="1044474"/>
                    </a:lnTo>
                    <a:lnTo>
                      <a:pt x="1816894" y="10444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07" name="Freeform: Shape 880">
                <a:extLst>
                  <a:ext uri="{FF2B5EF4-FFF2-40B4-BE49-F238E27FC236}">
                    <a16:creationId xmlns:a16="http://schemas.microsoft.com/office/drawing/2014/main" id="{BFF631AF-4D73-40BC-9F0A-58D70057CDE3}"/>
                  </a:ext>
                </a:extLst>
              </p:cNvPr>
              <p:cNvSpPr/>
              <p:nvPr/>
            </p:nvSpPr>
            <p:spPr bwMode="gray">
              <a:xfrm>
                <a:off x="14437961" y="747807"/>
                <a:ext cx="1066800" cy="1057275"/>
              </a:xfrm>
              <a:custGeom>
                <a:avLst/>
                <a:gdLst>
                  <a:gd name="connsiteX0" fmla="*/ 533400 w 1066800"/>
                  <a:gd name="connsiteY0" fmla="*/ 0 h 1057275"/>
                  <a:gd name="connsiteX1" fmla="*/ 0 w 1066800"/>
                  <a:gd name="connsiteY1" fmla="*/ 533400 h 1057275"/>
                  <a:gd name="connsiteX2" fmla="*/ 533400 w 1066800"/>
                  <a:gd name="connsiteY2" fmla="*/ 1066800 h 1057275"/>
                  <a:gd name="connsiteX3" fmla="*/ 1066800 w 1066800"/>
                  <a:gd name="connsiteY3" fmla="*/ 533400 h 1057275"/>
                  <a:gd name="connsiteX4" fmla="*/ 533400 w 1066800"/>
                  <a:gd name="connsiteY4" fmla="*/ 0 h 1057275"/>
                  <a:gd name="connsiteX5" fmla="*/ 533400 w 1066800"/>
                  <a:gd name="connsiteY5" fmla="*/ 914400 h 1057275"/>
                  <a:gd name="connsiteX6" fmla="*/ 152400 w 1066800"/>
                  <a:gd name="connsiteY6" fmla="*/ 533400 h 1057275"/>
                  <a:gd name="connsiteX7" fmla="*/ 533400 w 1066800"/>
                  <a:gd name="connsiteY7" fmla="*/ 152400 h 1057275"/>
                  <a:gd name="connsiteX8" fmla="*/ 914400 w 1066800"/>
                  <a:gd name="connsiteY8" fmla="*/ 533400 h 1057275"/>
                  <a:gd name="connsiteX9" fmla="*/ 533400 w 1066800"/>
                  <a:gd name="connsiteY9" fmla="*/ 914400 h 1057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66800" h="1057275">
                    <a:moveTo>
                      <a:pt x="533400" y="0"/>
                    </a:moveTo>
                    <a:cubicBezTo>
                      <a:pt x="238792" y="0"/>
                      <a:pt x="0" y="238792"/>
                      <a:pt x="0" y="533400"/>
                    </a:cubicBezTo>
                    <a:cubicBezTo>
                      <a:pt x="381" y="827818"/>
                      <a:pt x="238982" y="1066419"/>
                      <a:pt x="533400" y="1066800"/>
                    </a:cubicBezTo>
                    <a:cubicBezTo>
                      <a:pt x="828008" y="1066800"/>
                      <a:pt x="1066800" y="828008"/>
                      <a:pt x="1066800" y="533400"/>
                    </a:cubicBezTo>
                    <a:cubicBezTo>
                      <a:pt x="1066800" y="238792"/>
                      <a:pt x="827913" y="0"/>
                      <a:pt x="533400" y="0"/>
                    </a:cubicBezTo>
                    <a:close/>
                    <a:moveTo>
                      <a:pt x="533400" y="914400"/>
                    </a:moveTo>
                    <a:cubicBezTo>
                      <a:pt x="322993" y="914400"/>
                      <a:pt x="152400" y="743807"/>
                      <a:pt x="152400" y="533400"/>
                    </a:cubicBezTo>
                    <a:cubicBezTo>
                      <a:pt x="152686" y="323088"/>
                      <a:pt x="323088" y="152686"/>
                      <a:pt x="533400" y="152400"/>
                    </a:cubicBezTo>
                    <a:cubicBezTo>
                      <a:pt x="743807" y="152400"/>
                      <a:pt x="914400" y="322993"/>
                      <a:pt x="914400" y="533400"/>
                    </a:cubicBezTo>
                    <a:cubicBezTo>
                      <a:pt x="914400" y="743807"/>
                      <a:pt x="743807" y="914400"/>
                      <a:pt x="533400" y="914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09" name="Freeform: Shape 881">
                <a:extLst>
                  <a:ext uri="{FF2B5EF4-FFF2-40B4-BE49-F238E27FC236}">
                    <a16:creationId xmlns:a16="http://schemas.microsoft.com/office/drawing/2014/main" id="{0EE7E158-6DBF-4E30-BA96-D846F7B431AF}"/>
                  </a:ext>
                </a:extLst>
              </p:cNvPr>
              <p:cNvSpPr/>
              <p:nvPr/>
            </p:nvSpPr>
            <p:spPr bwMode="gray">
              <a:xfrm>
                <a:off x="16881028" y="290454"/>
                <a:ext cx="1657350" cy="1676400"/>
              </a:xfrm>
              <a:custGeom>
                <a:avLst/>
                <a:gdLst>
                  <a:gd name="connsiteX0" fmla="*/ 1621346 w 1657350"/>
                  <a:gd name="connsiteY0" fmla="*/ 682334 h 1676400"/>
                  <a:gd name="connsiteX1" fmla="*/ 1516094 w 1657350"/>
                  <a:gd name="connsiteY1" fmla="*/ 635852 h 1676400"/>
                  <a:gd name="connsiteX2" fmla="*/ 1502759 w 1657350"/>
                  <a:gd name="connsiteY2" fmla="*/ 593180 h 1676400"/>
                  <a:gd name="connsiteX3" fmla="*/ 1561433 w 1657350"/>
                  <a:gd name="connsiteY3" fmla="*/ 492119 h 1676400"/>
                  <a:gd name="connsiteX4" fmla="*/ 1562005 w 1657350"/>
                  <a:gd name="connsiteY4" fmla="*/ 416681 h 1676400"/>
                  <a:gd name="connsiteX5" fmla="*/ 1452277 w 1657350"/>
                  <a:gd name="connsiteY5" fmla="*/ 263424 h 1676400"/>
                  <a:gd name="connsiteX6" fmla="*/ 1378553 w 1657350"/>
                  <a:gd name="connsiteY6" fmla="*/ 239993 h 1676400"/>
                  <a:gd name="connsiteX7" fmla="*/ 1267778 w 1657350"/>
                  <a:gd name="connsiteY7" fmla="*/ 265329 h 1676400"/>
                  <a:gd name="connsiteX8" fmla="*/ 1234250 w 1657350"/>
                  <a:gd name="connsiteY8" fmla="*/ 240659 h 1676400"/>
                  <a:gd name="connsiteX9" fmla="*/ 1223486 w 1657350"/>
                  <a:gd name="connsiteY9" fmla="*/ 123216 h 1676400"/>
                  <a:gd name="connsiteX10" fmla="*/ 1179576 w 1657350"/>
                  <a:gd name="connsiteY10" fmla="*/ 61018 h 1676400"/>
                  <a:gd name="connsiteX11" fmla="*/ 1002887 w 1657350"/>
                  <a:gd name="connsiteY11" fmla="*/ 1677 h 1676400"/>
                  <a:gd name="connsiteX12" fmla="*/ 929545 w 1657350"/>
                  <a:gd name="connsiteY12" fmla="*/ 26537 h 1676400"/>
                  <a:gd name="connsiteX13" fmla="*/ 852011 w 1657350"/>
                  <a:gd name="connsiteY13" fmla="*/ 116549 h 1676400"/>
                  <a:gd name="connsiteX14" fmla="*/ 814769 w 1657350"/>
                  <a:gd name="connsiteY14" fmla="*/ 116549 h 1676400"/>
                  <a:gd name="connsiteX15" fmla="*/ 737235 w 1657350"/>
                  <a:gd name="connsiteY15" fmla="*/ 26537 h 1676400"/>
                  <a:gd name="connsiteX16" fmla="*/ 663893 w 1657350"/>
                  <a:gd name="connsiteY16" fmla="*/ 1677 h 1676400"/>
                  <a:gd name="connsiteX17" fmla="*/ 487204 w 1657350"/>
                  <a:gd name="connsiteY17" fmla="*/ 61018 h 1676400"/>
                  <a:gd name="connsiteX18" fmla="*/ 443294 w 1657350"/>
                  <a:gd name="connsiteY18" fmla="*/ 123216 h 1676400"/>
                  <a:gd name="connsiteX19" fmla="*/ 432530 w 1657350"/>
                  <a:gd name="connsiteY19" fmla="*/ 240659 h 1676400"/>
                  <a:gd name="connsiteX20" fmla="*/ 399002 w 1657350"/>
                  <a:gd name="connsiteY20" fmla="*/ 265329 h 1676400"/>
                  <a:gd name="connsiteX21" fmla="*/ 288227 w 1657350"/>
                  <a:gd name="connsiteY21" fmla="*/ 239993 h 1676400"/>
                  <a:gd name="connsiteX22" fmla="*/ 214503 w 1657350"/>
                  <a:gd name="connsiteY22" fmla="*/ 263424 h 1676400"/>
                  <a:gd name="connsiteX23" fmla="*/ 104870 w 1657350"/>
                  <a:gd name="connsiteY23" fmla="*/ 416681 h 1676400"/>
                  <a:gd name="connsiteX24" fmla="*/ 105442 w 1657350"/>
                  <a:gd name="connsiteY24" fmla="*/ 492024 h 1676400"/>
                  <a:gd name="connsiteX25" fmla="*/ 164021 w 1657350"/>
                  <a:gd name="connsiteY25" fmla="*/ 592989 h 1676400"/>
                  <a:gd name="connsiteX26" fmla="*/ 150686 w 1657350"/>
                  <a:gd name="connsiteY26" fmla="*/ 635661 h 1676400"/>
                  <a:gd name="connsiteX27" fmla="*/ 45434 w 1657350"/>
                  <a:gd name="connsiteY27" fmla="*/ 682143 h 1676400"/>
                  <a:gd name="connsiteX28" fmla="*/ 0 w 1657350"/>
                  <a:gd name="connsiteY28" fmla="*/ 751866 h 1676400"/>
                  <a:gd name="connsiteX29" fmla="*/ 0 w 1657350"/>
                  <a:gd name="connsiteY29" fmla="*/ 924364 h 1676400"/>
                  <a:gd name="connsiteX30" fmla="*/ 45434 w 1657350"/>
                  <a:gd name="connsiteY30" fmla="*/ 994087 h 1676400"/>
                  <a:gd name="connsiteX31" fmla="*/ 150686 w 1657350"/>
                  <a:gd name="connsiteY31" fmla="*/ 1040569 h 1676400"/>
                  <a:gd name="connsiteX32" fmla="*/ 164021 w 1657350"/>
                  <a:gd name="connsiteY32" fmla="*/ 1083241 h 1676400"/>
                  <a:gd name="connsiteX33" fmla="*/ 105346 w 1657350"/>
                  <a:gd name="connsiteY33" fmla="*/ 1184301 h 1676400"/>
                  <a:gd name="connsiteX34" fmla="*/ 104775 w 1657350"/>
                  <a:gd name="connsiteY34" fmla="*/ 1259739 h 1676400"/>
                  <a:gd name="connsiteX35" fmla="*/ 214503 w 1657350"/>
                  <a:gd name="connsiteY35" fmla="*/ 1412996 h 1676400"/>
                  <a:gd name="connsiteX36" fmla="*/ 288322 w 1657350"/>
                  <a:gd name="connsiteY36" fmla="*/ 1436428 h 1676400"/>
                  <a:gd name="connsiteX37" fmla="*/ 398907 w 1657350"/>
                  <a:gd name="connsiteY37" fmla="*/ 1411092 h 1676400"/>
                  <a:gd name="connsiteX38" fmla="*/ 432435 w 1657350"/>
                  <a:gd name="connsiteY38" fmla="*/ 1435857 h 1676400"/>
                  <a:gd name="connsiteX39" fmla="*/ 443198 w 1657350"/>
                  <a:gd name="connsiteY39" fmla="*/ 1553300 h 1676400"/>
                  <a:gd name="connsiteX40" fmla="*/ 487109 w 1657350"/>
                  <a:gd name="connsiteY40" fmla="*/ 1615498 h 1676400"/>
                  <a:gd name="connsiteX41" fmla="*/ 663797 w 1657350"/>
                  <a:gd name="connsiteY41" fmla="*/ 1674839 h 1676400"/>
                  <a:gd name="connsiteX42" fmla="*/ 737140 w 1657350"/>
                  <a:gd name="connsiteY42" fmla="*/ 1649979 h 1676400"/>
                  <a:gd name="connsiteX43" fmla="*/ 814673 w 1657350"/>
                  <a:gd name="connsiteY43" fmla="*/ 1559967 h 1676400"/>
                  <a:gd name="connsiteX44" fmla="*/ 851916 w 1657350"/>
                  <a:gd name="connsiteY44" fmla="*/ 1559967 h 1676400"/>
                  <a:gd name="connsiteX45" fmla="*/ 929450 w 1657350"/>
                  <a:gd name="connsiteY45" fmla="*/ 1649979 h 1676400"/>
                  <a:gd name="connsiteX46" fmla="*/ 987171 w 1657350"/>
                  <a:gd name="connsiteY46" fmla="*/ 1676458 h 1676400"/>
                  <a:gd name="connsiteX47" fmla="*/ 1002792 w 1657350"/>
                  <a:gd name="connsiteY47" fmla="*/ 1674839 h 1676400"/>
                  <a:gd name="connsiteX48" fmla="*/ 1179481 w 1657350"/>
                  <a:gd name="connsiteY48" fmla="*/ 1615498 h 1676400"/>
                  <a:gd name="connsiteX49" fmla="*/ 1223391 w 1657350"/>
                  <a:gd name="connsiteY49" fmla="*/ 1553300 h 1676400"/>
                  <a:gd name="connsiteX50" fmla="*/ 1234154 w 1657350"/>
                  <a:gd name="connsiteY50" fmla="*/ 1435857 h 1676400"/>
                  <a:gd name="connsiteX51" fmla="*/ 1267682 w 1657350"/>
                  <a:gd name="connsiteY51" fmla="*/ 1411187 h 1676400"/>
                  <a:gd name="connsiteX52" fmla="*/ 1378458 w 1657350"/>
                  <a:gd name="connsiteY52" fmla="*/ 1436523 h 1676400"/>
                  <a:gd name="connsiteX53" fmla="*/ 1452181 w 1657350"/>
                  <a:gd name="connsiteY53" fmla="*/ 1413092 h 1676400"/>
                  <a:gd name="connsiteX54" fmla="*/ 1561910 w 1657350"/>
                  <a:gd name="connsiteY54" fmla="*/ 1259834 h 1676400"/>
                  <a:gd name="connsiteX55" fmla="*/ 1561338 w 1657350"/>
                  <a:gd name="connsiteY55" fmla="*/ 1184396 h 1676400"/>
                  <a:gd name="connsiteX56" fmla="*/ 1502664 w 1657350"/>
                  <a:gd name="connsiteY56" fmla="*/ 1083336 h 1676400"/>
                  <a:gd name="connsiteX57" fmla="*/ 1515999 w 1657350"/>
                  <a:gd name="connsiteY57" fmla="*/ 1040664 h 1676400"/>
                  <a:gd name="connsiteX58" fmla="*/ 1621250 w 1657350"/>
                  <a:gd name="connsiteY58" fmla="*/ 994182 h 1676400"/>
                  <a:gd name="connsiteX59" fmla="*/ 1666685 w 1657350"/>
                  <a:gd name="connsiteY59" fmla="*/ 924459 h 1676400"/>
                  <a:gd name="connsiteX60" fmla="*/ 1666685 w 1657350"/>
                  <a:gd name="connsiteY60" fmla="*/ 752057 h 1676400"/>
                  <a:gd name="connsiteX61" fmla="*/ 1621346 w 1657350"/>
                  <a:gd name="connsiteY61" fmla="*/ 682334 h 1676400"/>
                  <a:gd name="connsiteX62" fmla="*/ 1514380 w 1657350"/>
                  <a:gd name="connsiteY62" fmla="*/ 874929 h 1676400"/>
                  <a:gd name="connsiteX63" fmla="*/ 1420559 w 1657350"/>
                  <a:gd name="connsiteY63" fmla="*/ 916268 h 1676400"/>
                  <a:gd name="connsiteX64" fmla="*/ 1377029 w 1657350"/>
                  <a:gd name="connsiteY64" fmla="*/ 969131 h 1676400"/>
                  <a:gd name="connsiteX65" fmla="*/ 1348264 w 1657350"/>
                  <a:gd name="connsiteY65" fmla="*/ 1061048 h 1676400"/>
                  <a:gd name="connsiteX66" fmla="*/ 1352741 w 1657350"/>
                  <a:gd name="connsiteY66" fmla="*/ 1128580 h 1676400"/>
                  <a:gd name="connsiteX67" fmla="*/ 1407033 w 1657350"/>
                  <a:gd name="connsiteY67" fmla="*/ 1222020 h 1676400"/>
                  <a:gd name="connsiteX68" fmla="*/ 1367314 w 1657350"/>
                  <a:gd name="connsiteY68" fmla="*/ 1277646 h 1676400"/>
                  <a:gd name="connsiteX69" fmla="*/ 1265206 w 1657350"/>
                  <a:gd name="connsiteY69" fmla="*/ 1254310 h 1676400"/>
                  <a:gd name="connsiteX70" fmla="*/ 1197864 w 1657350"/>
                  <a:gd name="connsiteY70" fmla="*/ 1271455 h 1676400"/>
                  <a:gd name="connsiteX71" fmla="*/ 1121855 w 1657350"/>
                  <a:gd name="connsiteY71" fmla="*/ 1327653 h 1676400"/>
                  <a:gd name="connsiteX72" fmla="*/ 1085945 w 1657350"/>
                  <a:gd name="connsiteY72" fmla="*/ 1385565 h 1676400"/>
                  <a:gd name="connsiteX73" fmla="*/ 1076039 w 1657350"/>
                  <a:gd name="connsiteY73" fmla="*/ 1494340 h 1676400"/>
                  <a:gd name="connsiteX74" fmla="*/ 1014603 w 1657350"/>
                  <a:gd name="connsiteY74" fmla="*/ 1515200 h 1676400"/>
                  <a:gd name="connsiteX75" fmla="*/ 944785 w 1657350"/>
                  <a:gd name="connsiteY75" fmla="*/ 1434142 h 1676400"/>
                  <a:gd name="connsiteX76" fmla="*/ 887063 w 1657350"/>
                  <a:gd name="connsiteY76" fmla="*/ 1407663 h 1676400"/>
                  <a:gd name="connsiteX77" fmla="*/ 780097 w 1657350"/>
                  <a:gd name="connsiteY77" fmla="*/ 1407663 h 1676400"/>
                  <a:gd name="connsiteX78" fmla="*/ 722376 w 1657350"/>
                  <a:gd name="connsiteY78" fmla="*/ 1434142 h 1676400"/>
                  <a:gd name="connsiteX79" fmla="*/ 652558 w 1657350"/>
                  <a:gd name="connsiteY79" fmla="*/ 1515200 h 1676400"/>
                  <a:gd name="connsiteX80" fmla="*/ 591122 w 1657350"/>
                  <a:gd name="connsiteY80" fmla="*/ 1494340 h 1676400"/>
                  <a:gd name="connsiteX81" fmla="*/ 581216 w 1657350"/>
                  <a:gd name="connsiteY81" fmla="*/ 1385565 h 1676400"/>
                  <a:gd name="connsiteX82" fmla="*/ 545306 w 1657350"/>
                  <a:gd name="connsiteY82" fmla="*/ 1327653 h 1676400"/>
                  <a:gd name="connsiteX83" fmla="*/ 469297 w 1657350"/>
                  <a:gd name="connsiteY83" fmla="*/ 1271455 h 1676400"/>
                  <a:gd name="connsiteX84" fmla="*/ 401764 w 1657350"/>
                  <a:gd name="connsiteY84" fmla="*/ 1254310 h 1676400"/>
                  <a:gd name="connsiteX85" fmla="*/ 299752 w 1657350"/>
                  <a:gd name="connsiteY85" fmla="*/ 1277646 h 1676400"/>
                  <a:gd name="connsiteX86" fmla="*/ 260033 w 1657350"/>
                  <a:gd name="connsiteY86" fmla="*/ 1222020 h 1676400"/>
                  <a:gd name="connsiteX87" fmla="*/ 314325 w 1657350"/>
                  <a:gd name="connsiteY87" fmla="*/ 1128580 h 1676400"/>
                  <a:gd name="connsiteX88" fmla="*/ 318802 w 1657350"/>
                  <a:gd name="connsiteY88" fmla="*/ 1061048 h 1676400"/>
                  <a:gd name="connsiteX89" fmla="*/ 290036 w 1657350"/>
                  <a:gd name="connsiteY89" fmla="*/ 969131 h 1676400"/>
                  <a:gd name="connsiteX90" fmla="*/ 246507 w 1657350"/>
                  <a:gd name="connsiteY90" fmla="*/ 916268 h 1676400"/>
                  <a:gd name="connsiteX91" fmla="*/ 152686 w 1657350"/>
                  <a:gd name="connsiteY91" fmla="*/ 874929 h 1676400"/>
                  <a:gd name="connsiteX92" fmla="*/ 152686 w 1657350"/>
                  <a:gd name="connsiteY92" fmla="*/ 801682 h 1676400"/>
                  <a:gd name="connsiteX93" fmla="*/ 246507 w 1657350"/>
                  <a:gd name="connsiteY93" fmla="*/ 760343 h 1676400"/>
                  <a:gd name="connsiteX94" fmla="*/ 290036 w 1657350"/>
                  <a:gd name="connsiteY94" fmla="*/ 707480 h 1676400"/>
                  <a:gd name="connsiteX95" fmla="*/ 318802 w 1657350"/>
                  <a:gd name="connsiteY95" fmla="*/ 615468 h 1676400"/>
                  <a:gd name="connsiteX96" fmla="*/ 314325 w 1657350"/>
                  <a:gd name="connsiteY96" fmla="*/ 548031 h 1676400"/>
                  <a:gd name="connsiteX97" fmla="*/ 260128 w 1657350"/>
                  <a:gd name="connsiteY97" fmla="*/ 454591 h 1676400"/>
                  <a:gd name="connsiteX98" fmla="*/ 299752 w 1657350"/>
                  <a:gd name="connsiteY98" fmla="*/ 398965 h 1676400"/>
                  <a:gd name="connsiteX99" fmla="*/ 401860 w 1657350"/>
                  <a:gd name="connsiteY99" fmla="*/ 422301 h 1676400"/>
                  <a:gd name="connsiteX100" fmla="*/ 469202 w 1657350"/>
                  <a:gd name="connsiteY100" fmla="*/ 405156 h 1676400"/>
                  <a:gd name="connsiteX101" fmla="*/ 545211 w 1657350"/>
                  <a:gd name="connsiteY101" fmla="*/ 348959 h 1676400"/>
                  <a:gd name="connsiteX102" fmla="*/ 581120 w 1657350"/>
                  <a:gd name="connsiteY102" fmla="*/ 291047 h 1676400"/>
                  <a:gd name="connsiteX103" fmla="*/ 591026 w 1657350"/>
                  <a:gd name="connsiteY103" fmla="*/ 182271 h 1676400"/>
                  <a:gd name="connsiteX104" fmla="*/ 652463 w 1657350"/>
                  <a:gd name="connsiteY104" fmla="*/ 161411 h 1676400"/>
                  <a:gd name="connsiteX105" fmla="*/ 722281 w 1657350"/>
                  <a:gd name="connsiteY105" fmla="*/ 242469 h 1676400"/>
                  <a:gd name="connsiteX106" fmla="*/ 780002 w 1657350"/>
                  <a:gd name="connsiteY106" fmla="*/ 268949 h 1676400"/>
                  <a:gd name="connsiteX107" fmla="*/ 886968 w 1657350"/>
                  <a:gd name="connsiteY107" fmla="*/ 268949 h 1676400"/>
                  <a:gd name="connsiteX108" fmla="*/ 944689 w 1657350"/>
                  <a:gd name="connsiteY108" fmla="*/ 242469 h 1676400"/>
                  <a:gd name="connsiteX109" fmla="*/ 1014508 w 1657350"/>
                  <a:gd name="connsiteY109" fmla="*/ 161411 h 1676400"/>
                  <a:gd name="connsiteX110" fmla="*/ 1075944 w 1657350"/>
                  <a:gd name="connsiteY110" fmla="*/ 182271 h 1676400"/>
                  <a:gd name="connsiteX111" fmla="*/ 1085850 w 1657350"/>
                  <a:gd name="connsiteY111" fmla="*/ 291047 h 1676400"/>
                  <a:gd name="connsiteX112" fmla="*/ 1121759 w 1657350"/>
                  <a:gd name="connsiteY112" fmla="*/ 348959 h 1676400"/>
                  <a:gd name="connsiteX113" fmla="*/ 1197769 w 1657350"/>
                  <a:gd name="connsiteY113" fmla="*/ 405156 h 1676400"/>
                  <a:gd name="connsiteX114" fmla="*/ 1265111 w 1657350"/>
                  <a:gd name="connsiteY114" fmla="*/ 422301 h 1676400"/>
                  <a:gd name="connsiteX115" fmla="*/ 1367219 w 1657350"/>
                  <a:gd name="connsiteY115" fmla="*/ 398965 h 1676400"/>
                  <a:gd name="connsiteX116" fmla="*/ 1406938 w 1657350"/>
                  <a:gd name="connsiteY116" fmla="*/ 454591 h 1676400"/>
                  <a:gd name="connsiteX117" fmla="*/ 1352645 w 1657350"/>
                  <a:gd name="connsiteY117" fmla="*/ 548031 h 1676400"/>
                  <a:gd name="connsiteX118" fmla="*/ 1348169 w 1657350"/>
                  <a:gd name="connsiteY118" fmla="*/ 615564 h 1676400"/>
                  <a:gd name="connsiteX119" fmla="*/ 1376934 w 1657350"/>
                  <a:gd name="connsiteY119" fmla="*/ 707480 h 1676400"/>
                  <a:gd name="connsiteX120" fmla="*/ 1420463 w 1657350"/>
                  <a:gd name="connsiteY120" fmla="*/ 760343 h 1676400"/>
                  <a:gd name="connsiteX121" fmla="*/ 1514285 w 1657350"/>
                  <a:gd name="connsiteY121" fmla="*/ 801682 h 1676400"/>
                  <a:gd name="connsiteX122" fmla="*/ 1514285 w 1657350"/>
                  <a:gd name="connsiteY122" fmla="*/ 874929 h 16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1657350" h="1676400">
                    <a:moveTo>
                      <a:pt x="1621346" y="682334"/>
                    </a:moveTo>
                    <a:lnTo>
                      <a:pt x="1516094" y="635852"/>
                    </a:lnTo>
                    <a:cubicBezTo>
                      <a:pt x="1511998" y="621088"/>
                      <a:pt x="1507522" y="606991"/>
                      <a:pt x="1502759" y="593180"/>
                    </a:cubicBezTo>
                    <a:lnTo>
                      <a:pt x="1561433" y="492119"/>
                    </a:lnTo>
                    <a:cubicBezTo>
                      <a:pt x="1574864" y="468783"/>
                      <a:pt x="1575149" y="440208"/>
                      <a:pt x="1562005" y="416681"/>
                    </a:cubicBezTo>
                    <a:cubicBezTo>
                      <a:pt x="1531144" y="361722"/>
                      <a:pt x="1494377" y="310382"/>
                      <a:pt x="1452277" y="263424"/>
                    </a:cubicBezTo>
                    <a:cubicBezTo>
                      <a:pt x="1433894" y="242660"/>
                      <a:pt x="1405604" y="233706"/>
                      <a:pt x="1378553" y="239993"/>
                    </a:cubicBezTo>
                    <a:lnTo>
                      <a:pt x="1267778" y="265329"/>
                    </a:lnTo>
                    <a:cubicBezTo>
                      <a:pt x="1256919" y="256852"/>
                      <a:pt x="1245775" y="248660"/>
                      <a:pt x="1234250" y="240659"/>
                    </a:cubicBezTo>
                    <a:lnTo>
                      <a:pt x="1223486" y="123216"/>
                    </a:lnTo>
                    <a:cubicBezTo>
                      <a:pt x="1221010" y="96165"/>
                      <a:pt x="1204246" y="72353"/>
                      <a:pt x="1179576" y="61018"/>
                    </a:cubicBezTo>
                    <a:cubicBezTo>
                      <a:pt x="1123093" y="34634"/>
                      <a:pt x="1063847" y="14726"/>
                      <a:pt x="1002887" y="1677"/>
                    </a:cubicBezTo>
                    <a:cubicBezTo>
                      <a:pt x="975741" y="-4133"/>
                      <a:pt x="947547" y="5392"/>
                      <a:pt x="929545" y="26537"/>
                    </a:cubicBezTo>
                    <a:lnTo>
                      <a:pt x="852011" y="116549"/>
                    </a:lnTo>
                    <a:lnTo>
                      <a:pt x="814769" y="116549"/>
                    </a:lnTo>
                    <a:lnTo>
                      <a:pt x="737235" y="26537"/>
                    </a:lnTo>
                    <a:cubicBezTo>
                      <a:pt x="719233" y="5392"/>
                      <a:pt x="691039" y="-4133"/>
                      <a:pt x="663893" y="1677"/>
                    </a:cubicBezTo>
                    <a:cubicBezTo>
                      <a:pt x="602933" y="14726"/>
                      <a:pt x="543592" y="34634"/>
                      <a:pt x="487204" y="61018"/>
                    </a:cubicBezTo>
                    <a:cubicBezTo>
                      <a:pt x="462534" y="72448"/>
                      <a:pt x="445770" y="96165"/>
                      <a:pt x="443294" y="123216"/>
                    </a:cubicBezTo>
                    <a:lnTo>
                      <a:pt x="432530" y="240659"/>
                    </a:lnTo>
                    <a:cubicBezTo>
                      <a:pt x="421100" y="248660"/>
                      <a:pt x="409861" y="256852"/>
                      <a:pt x="399002" y="265329"/>
                    </a:cubicBezTo>
                    <a:lnTo>
                      <a:pt x="288227" y="239993"/>
                    </a:lnTo>
                    <a:cubicBezTo>
                      <a:pt x="261176" y="233706"/>
                      <a:pt x="232981" y="242755"/>
                      <a:pt x="214503" y="263424"/>
                    </a:cubicBezTo>
                    <a:cubicBezTo>
                      <a:pt x="172403" y="310287"/>
                      <a:pt x="135636" y="361722"/>
                      <a:pt x="104870" y="416681"/>
                    </a:cubicBezTo>
                    <a:cubicBezTo>
                      <a:pt x="91726" y="440208"/>
                      <a:pt x="92012" y="468783"/>
                      <a:pt x="105442" y="492024"/>
                    </a:cubicBezTo>
                    <a:lnTo>
                      <a:pt x="164021" y="592989"/>
                    </a:lnTo>
                    <a:cubicBezTo>
                      <a:pt x="159258" y="606705"/>
                      <a:pt x="154781" y="620993"/>
                      <a:pt x="150686" y="635661"/>
                    </a:cubicBezTo>
                    <a:lnTo>
                      <a:pt x="45434" y="682143"/>
                    </a:lnTo>
                    <a:cubicBezTo>
                      <a:pt x="17812" y="694335"/>
                      <a:pt x="0" y="721672"/>
                      <a:pt x="0" y="751866"/>
                    </a:cubicBezTo>
                    <a:lnTo>
                      <a:pt x="0" y="924364"/>
                    </a:lnTo>
                    <a:cubicBezTo>
                      <a:pt x="0" y="954558"/>
                      <a:pt x="17812" y="981895"/>
                      <a:pt x="45434" y="994087"/>
                    </a:cubicBezTo>
                    <a:lnTo>
                      <a:pt x="150686" y="1040569"/>
                    </a:lnTo>
                    <a:cubicBezTo>
                      <a:pt x="154781" y="1055333"/>
                      <a:pt x="159258" y="1069430"/>
                      <a:pt x="164021" y="1083241"/>
                    </a:cubicBezTo>
                    <a:lnTo>
                      <a:pt x="105346" y="1184301"/>
                    </a:lnTo>
                    <a:cubicBezTo>
                      <a:pt x="91916" y="1207638"/>
                      <a:pt x="91630" y="1236213"/>
                      <a:pt x="104775" y="1259739"/>
                    </a:cubicBezTo>
                    <a:cubicBezTo>
                      <a:pt x="135636" y="1314699"/>
                      <a:pt x="172403" y="1366038"/>
                      <a:pt x="214503" y="1412996"/>
                    </a:cubicBezTo>
                    <a:cubicBezTo>
                      <a:pt x="232981" y="1433761"/>
                      <a:pt x="261271" y="1442715"/>
                      <a:pt x="288322" y="1436428"/>
                    </a:cubicBezTo>
                    <a:lnTo>
                      <a:pt x="398907" y="1411092"/>
                    </a:lnTo>
                    <a:cubicBezTo>
                      <a:pt x="409766" y="1419664"/>
                      <a:pt x="421005" y="1427951"/>
                      <a:pt x="432435" y="1435857"/>
                    </a:cubicBezTo>
                    <a:lnTo>
                      <a:pt x="443198" y="1553300"/>
                    </a:lnTo>
                    <a:cubicBezTo>
                      <a:pt x="445675" y="1580446"/>
                      <a:pt x="462439" y="1604163"/>
                      <a:pt x="487109" y="1615498"/>
                    </a:cubicBezTo>
                    <a:cubicBezTo>
                      <a:pt x="543592" y="1641882"/>
                      <a:pt x="602837" y="1661790"/>
                      <a:pt x="663797" y="1674839"/>
                    </a:cubicBezTo>
                    <a:cubicBezTo>
                      <a:pt x="690944" y="1680554"/>
                      <a:pt x="719138" y="1671029"/>
                      <a:pt x="737140" y="1649979"/>
                    </a:cubicBezTo>
                    <a:lnTo>
                      <a:pt x="814673" y="1559967"/>
                    </a:lnTo>
                    <a:lnTo>
                      <a:pt x="851916" y="1559967"/>
                    </a:lnTo>
                    <a:lnTo>
                      <a:pt x="929450" y="1649979"/>
                    </a:lnTo>
                    <a:cubicBezTo>
                      <a:pt x="943928" y="1666838"/>
                      <a:pt x="964978" y="1676458"/>
                      <a:pt x="987171" y="1676458"/>
                    </a:cubicBezTo>
                    <a:cubicBezTo>
                      <a:pt x="992410" y="1676458"/>
                      <a:pt x="997648" y="1675887"/>
                      <a:pt x="1002792" y="1674839"/>
                    </a:cubicBezTo>
                    <a:cubicBezTo>
                      <a:pt x="1063752" y="1661790"/>
                      <a:pt x="1123093" y="1641882"/>
                      <a:pt x="1179481" y="1615498"/>
                    </a:cubicBezTo>
                    <a:cubicBezTo>
                      <a:pt x="1204151" y="1604068"/>
                      <a:pt x="1220914" y="1580351"/>
                      <a:pt x="1223391" y="1553300"/>
                    </a:cubicBezTo>
                    <a:lnTo>
                      <a:pt x="1234154" y="1435857"/>
                    </a:lnTo>
                    <a:cubicBezTo>
                      <a:pt x="1245584" y="1427855"/>
                      <a:pt x="1256824" y="1419664"/>
                      <a:pt x="1267682" y="1411187"/>
                    </a:cubicBezTo>
                    <a:lnTo>
                      <a:pt x="1378458" y="1436523"/>
                    </a:lnTo>
                    <a:cubicBezTo>
                      <a:pt x="1405509" y="1442810"/>
                      <a:pt x="1433798" y="1433761"/>
                      <a:pt x="1452181" y="1413092"/>
                    </a:cubicBezTo>
                    <a:cubicBezTo>
                      <a:pt x="1494282" y="1366229"/>
                      <a:pt x="1531048" y="1314794"/>
                      <a:pt x="1561910" y="1259834"/>
                    </a:cubicBezTo>
                    <a:cubicBezTo>
                      <a:pt x="1575054" y="1236308"/>
                      <a:pt x="1574768" y="1207638"/>
                      <a:pt x="1561338" y="1184396"/>
                    </a:cubicBezTo>
                    <a:lnTo>
                      <a:pt x="1502664" y="1083336"/>
                    </a:lnTo>
                    <a:cubicBezTo>
                      <a:pt x="1507427" y="1069620"/>
                      <a:pt x="1511903" y="1055428"/>
                      <a:pt x="1515999" y="1040664"/>
                    </a:cubicBezTo>
                    <a:lnTo>
                      <a:pt x="1621250" y="994182"/>
                    </a:lnTo>
                    <a:cubicBezTo>
                      <a:pt x="1648873" y="981990"/>
                      <a:pt x="1666685" y="954654"/>
                      <a:pt x="1666685" y="924459"/>
                    </a:cubicBezTo>
                    <a:lnTo>
                      <a:pt x="1666685" y="752057"/>
                    </a:lnTo>
                    <a:cubicBezTo>
                      <a:pt x="1666780" y="721862"/>
                      <a:pt x="1648968" y="694526"/>
                      <a:pt x="1621346" y="682334"/>
                    </a:cubicBezTo>
                    <a:close/>
                    <a:moveTo>
                      <a:pt x="1514380" y="874929"/>
                    </a:moveTo>
                    <a:lnTo>
                      <a:pt x="1420559" y="916268"/>
                    </a:lnTo>
                    <a:cubicBezTo>
                      <a:pt x="1398461" y="925983"/>
                      <a:pt x="1382363" y="945605"/>
                      <a:pt x="1377029" y="969131"/>
                    </a:cubicBezTo>
                    <a:cubicBezTo>
                      <a:pt x="1370076" y="1000564"/>
                      <a:pt x="1360456" y="1031235"/>
                      <a:pt x="1348264" y="1061048"/>
                    </a:cubicBezTo>
                    <a:cubicBezTo>
                      <a:pt x="1339215" y="1083050"/>
                      <a:pt x="1340834" y="1108006"/>
                      <a:pt x="1352741" y="1128580"/>
                    </a:cubicBezTo>
                    <a:lnTo>
                      <a:pt x="1407033" y="1222020"/>
                    </a:lnTo>
                    <a:cubicBezTo>
                      <a:pt x="1394746" y="1241070"/>
                      <a:pt x="1381506" y="1259644"/>
                      <a:pt x="1367314" y="1277646"/>
                    </a:cubicBezTo>
                    <a:lnTo>
                      <a:pt x="1265206" y="1254310"/>
                    </a:lnTo>
                    <a:cubicBezTo>
                      <a:pt x="1241298" y="1248690"/>
                      <a:pt x="1216152" y="1255072"/>
                      <a:pt x="1197864" y="1271455"/>
                    </a:cubicBezTo>
                    <a:cubicBezTo>
                      <a:pt x="1174147" y="1292315"/>
                      <a:pt x="1148715" y="1311079"/>
                      <a:pt x="1121855" y="1327653"/>
                    </a:cubicBezTo>
                    <a:cubicBezTo>
                      <a:pt x="1101471" y="1340225"/>
                      <a:pt x="1088136" y="1361657"/>
                      <a:pt x="1085945" y="1385565"/>
                    </a:cubicBezTo>
                    <a:lnTo>
                      <a:pt x="1076039" y="1494340"/>
                    </a:lnTo>
                    <a:cubicBezTo>
                      <a:pt x="1055561" y="1502341"/>
                      <a:pt x="1035082" y="1509390"/>
                      <a:pt x="1014603" y="1515200"/>
                    </a:cubicBezTo>
                    <a:lnTo>
                      <a:pt x="944785" y="1434142"/>
                    </a:lnTo>
                    <a:cubicBezTo>
                      <a:pt x="930307" y="1417378"/>
                      <a:pt x="909256" y="1407663"/>
                      <a:pt x="887063" y="1407663"/>
                    </a:cubicBezTo>
                    <a:lnTo>
                      <a:pt x="780097" y="1407663"/>
                    </a:lnTo>
                    <a:cubicBezTo>
                      <a:pt x="757904" y="1407663"/>
                      <a:pt x="736854" y="1417378"/>
                      <a:pt x="722376" y="1434142"/>
                    </a:cubicBezTo>
                    <a:lnTo>
                      <a:pt x="652558" y="1515200"/>
                    </a:lnTo>
                    <a:cubicBezTo>
                      <a:pt x="632079" y="1509390"/>
                      <a:pt x="611600" y="1502436"/>
                      <a:pt x="591122" y="1494340"/>
                    </a:cubicBezTo>
                    <a:lnTo>
                      <a:pt x="581216" y="1385565"/>
                    </a:lnTo>
                    <a:cubicBezTo>
                      <a:pt x="579025" y="1361657"/>
                      <a:pt x="565690" y="1340225"/>
                      <a:pt x="545306" y="1327653"/>
                    </a:cubicBezTo>
                    <a:cubicBezTo>
                      <a:pt x="518446" y="1311079"/>
                      <a:pt x="493014" y="1292315"/>
                      <a:pt x="469297" y="1271455"/>
                    </a:cubicBezTo>
                    <a:cubicBezTo>
                      <a:pt x="450818" y="1255263"/>
                      <a:pt x="425768" y="1248881"/>
                      <a:pt x="401764" y="1254310"/>
                    </a:cubicBezTo>
                    <a:lnTo>
                      <a:pt x="299752" y="1277646"/>
                    </a:lnTo>
                    <a:cubicBezTo>
                      <a:pt x="285560" y="1259739"/>
                      <a:pt x="272320" y="1241070"/>
                      <a:pt x="260033" y="1222020"/>
                    </a:cubicBezTo>
                    <a:lnTo>
                      <a:pt x="314325" y="1128580"/>
                    </a:lnTo>
                    <a:cubicBezTo>
                      <a:pt x="326231" y="1108006"/>
                      <a:pt x="327851" y="1083050"/>
                      <a:pt x="318802" y="1061048"/>
                    </a:cubicBezTo>
                    <a:cubicBezTo>
                      <a:pt x="306610" y="1031235"/>
                      <a:pt x="296989" y="1000564"/>
                      <a:pt x="290036" y="969131"/>
                    </a:cubicBezTo>
                    <a:cubicBezTo>
                      <a:pt x="284702" y="945605"/>
                      <a:pt x="268605" y="925983"/>
                      <a:pt x="246507" y="916268"/>
                    </a:cubicBezTo>
                    <a:lnTo>
                      <a:pt x="152686" y="874929"/>
                    </a:lnTo>
                    <a:lnTo>
                      <a:pt x="152686" y="801682"/>
                    </a:lnTo>
                    <a:lnTo>
                      <a:pt x="246507" y="760343"/>
                    </a:lnTo>
                    <a:cubicBezTo>
                      <a:pt x="268605" y="750628"/>
                      <a:pt x="284702" y="731006"/>
                      <a:pt x="290036" y="707480"/>
                    </a:cubicBezTo>
                    <a:cubicBezTo>
                      <a:pt x="296989" y="676047"/>
                      <a:pt x="306610" y="645281"/>
                      <a:pt x="318802" y="615468"/>
                    </a:cubicBezTo>
                    <a:cubicBezTo>
                      <a:pt x="327851" y="593561"/>
                      <a:pt x="326231" y="568605"/>
                      <a:pt x="314325" y="548031"/>
                    </a:cubicBezTo>
                    <a:lnTo>
                      <a:pt x="260128" y="454591"/>
                    </a:lnTo>
                    <a:cubicBezTo>
                      <a:pt x="272320" y="435636"/>
                      <a:pt x="285560" y="417062"/>
                      <a:pt x="299752" y="398965"/>
                    </a:cubicBezTo>
                    <a:lnTo>
                      <a:pt x="401860" y="422301"/>
                    </a:lnTo>
                    <a:cubicBezTo>
                      <a:pt x="425768" y="427826"/>
                      <a:pt x="450818" y="421444"/>
                      <a:pt x="469202" y="405156"/>
                    </a:cubicBezTo>
                    <a:cubicBezTo>
                      <a:pt x="492919" y="384296"/>
                      <a:pt x="518351" y="365532"/>
                      <a:pt x="545211" y="348959"/>
                    </a:cubicBezTo>
                    <a:cubicBezTo>
                      <a:pt x="565595" y="336386"/>
                      <a:pt x="578930" y="314954"/>
                      <a:pt x="581120" y="291047"/>
                    </a:cubicBezTo>
                    <a:lnTo>
                      <a:pt x="591026" y="182271"/>
                    </a:lnTo>
                    <a:cubicBezTo>
                      <a:pt x="611505" y="174270"/>
                      <a:pt x="631984" y="167222"/>
                      <a:pt x="652463" y="161411"/>
                    </a:cubicBezTo>
                    <a:lnTo>
                      <a:pt x="722281" y="242469"/>
                    </a:lnTo>
                    <a:cubicBezTo>
                      <a:pt x="736759" y="259233"/>
                      <a:pt x="757809" y="268949"/>
                      <a:pt x="780002" y="268949"/>
                    </a:cubicBezTo>
                    <a:lnTo>
                      <a:pt x="886968" y="268949"/>
                    </a:lnTo>
                    <a:cubicBezTo>
                      <a:pt x="909161" y="268949"/>
                      <a:pt x="930212" y="259233"/>
                      <a:pt x="944689" y="242469"/>
                    </a:cubicBezTo>
                    <a:lnTo>
                      <a:pt x="1014508" y="161411"/>
                    </a:lnTo>
                    <a:cubicBezTo>
                      <a:pt x="1034987" y="167222"/>
                      <a:pt x="1055465" y="174175"/>
                      <a:pt x="1075944" y="182271"/>
                    </a:cubicBezTo>
                    <a:lnTo>
                      <a:pt x="1085850" y="291047"/>
                    </a:lnTo>
                    <a:cubicBezTo>
                      <a:pt x="1088041" y="314859"/>
                      <a:pt x="1101376" y="336386"/>
                      <a:pt x="1121759" y="348959"/>
                    </a:cubicBezTo>
                    <a:cubicBezTo>
                      <a:pt x="1148620" y="365532"/>
                      <a:pt x="1174052" y="384296"/>
                      <a:pt x="1197769" y="405156"/>
                    </a:cubicBezTo>
                    <a:cubicBezTo>
                      <a:pt x="1216152" y="421444"/>
                      <a:pt x="1241203" y="427826"/>
                      <a:pt x="1265111" y="422301"/>
                    </a:cubicBezTo>
                    <a:lnTo>
                      <a:pt x="1367219" y="398965"/>
                    </a:lnTo>
                    <a:cubicBezTo>
                      <a:pt x="1381411" y="416967"/>
                      <a:pt x="1394651" y="435541"/>
                      <a:pt x="1406938" y="454591"/>
                    </a:cubicBezTo>
                    <a:lnTo>
                      <a:pt x="1352645" y="548031"/>
                    </a:lnTo>
                    <a:cubicBezTo>
                      <a:pt x="1340739" y="568605"/>
                      <a:pt x="1339120" y="593561"/>
                      <a:pt x="1348169" y="615564"/>
                    </a:cubicBezTo>
                    <a:cubicBezTo>
                      <a:pt x="1360361" y="645377"/>
                      <a:pt x="1369981" y="676047"/>
                      <a:pt x="1376934" y="707480"/>
                    </a:cubicBezTo>
                    <a:cubicBezTo>
                      <a:pt x="1382268" y="731006"/>
                      <a:pt x="1398365" y="750628"/>
                      <a:pt x="1420463" y="760343"/>
                    </a:cubicBezTo>
                    <a:lnTo>
                      <a:pt x="1514285" y="801682"/>
                    </a:lnTo>
                    <a:lnTo>
                      <a:pt x="1514285" y="8749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0" name="Freeform: Shape 882">
                <a:extLst>
                  <a:ext uri="{FF2B5EF4-FFF2-40B4-BE49-F238E27FC236}">
                    <a16:creationId xmlns:a16="http://schemas.microsoft.com/office/drawing/2014/main" id="{2581D8EC-E3F0-43B5-896E-7FC65FB8C5B9}"/>
                  </a:ext>
                </a:extLst>
              </p:cNvPr>
              <p:cNvSpPr/>
              <p:nvPr/>
            </p:nvSpPr>
            <p:spPr bwMode="gray">
              <a:xfrm>
                <a:off x="17333561" y="747807"/>
                <a:ext cx="762000" cy="752475"/>
              </a:xfrm>
              <a:custGeom>
                <a:avLst/>
                <a:gdLst>
                  <a:gd name="connsiteX0" fmla="*/ 381000 w 762000"/>
                  <a:gd name="connsiteY0" fmla="*/ 0 h 752475"/>
                  <a:gd name="connsiteX1" fmla="*/ 0 w 762000"/>
                  <a:gd name="connsiteY1" fmla="*/ 381000 h 752475"/>
                  <a:gd name="connsiteX2" fmla="*/ 381000 w 762000"/>
                  <a:gd name="connsiteY2" fmla="*/ 762000 h 752475"/>
                  <a:gd name="connsiteX3" fmla="*/ 762000 w 762000"/>
                  <a:gd name="connsiteY3" fmla="*/ 381000 h 752475"/>
                  <a:gd name="connsiteX4" fmla="*/ 381000 w 762000"/>
                  <a:gd name="connsiteY4" fmla="*/ 0 h 752475"/>
                  <a:gd name="connsiteX5" fmla="*/ 381000 w 762000"/>
                  <a:gd name="connsiteY5" fmla="*/ 609600 h 752475"/>
                  <a:gd name="connsiteX6" fmla="*/ 152400 w 762000"/>
                  <a:gd name="connsiteY6" fmla="*/ 381000 h 752475"/>
                  <a:gd name="connsiteX7" fmla="*/ 381000 w 762000"/>
                  <a:gd name="connsiteY7" fmla="*/ 152400 h 752475"/>
                  <a:gd name="connsiteX8" fmla="*/ 609600 w 762000"/>
                  <a:gd name="connsiteY8" fmla="*/ 381000 h 752475"/>
                  <a:gd name="connsiteX9" fmla="*/ 381000 w 762000"/>
                  <a:gd name="connsiteY9" fmla="*/ 609600 h 752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752475">
                    <a:moveTo>
                      <a:pt x="381000" y="0"/>
                    </a:moveTo>
                    <a:cubicBezTo>
                      <a:pt x="170593" y="0"/>
                      <a:pt x="0" y="170593"/>
                      <a:pt x="0" y="381000"/>
                    </a:cubicBezTo>
                    <a:cubicBezTo>
                      <a:pt x="286" y="591312"/>
                      <a:pt x="170688" y="761714"/>
                      <a:pt x="381000" y="762000"/>
                    </a:cubicBezTo>
                    <a:cubicBezTo>
                      <a:pt x="591407" y="762000"/>
                      <a:pt x="762000" y="591407"/>
                      <a:pt x="762000" y="381000"/>
                    </a:cubicBezTo>
                    <a:cubicBezTo>
                      <a:pt x="762000" y="170593"/>
                      <a:pt x="591407" y="0"/>
                      <a:pt x="381000" y="0"/>
                    </a:cubicBezTo>
                    <a:close/>
                    <a:moveTo>
                      <a:pt x="381000" y="609600"/>
                    </a:moveTo>
                    <a:cubicBezTo>
                      <a:pt x="254698" y="609600"/>
                      <a:pt x="152400" y="507206"/>
                      <a:pt x="152400" y="381000"/>
                    </a:cubicBezTo>
                    <a:cubicBezTo>
                      <a:pt x="152495" y="254794"/>
                      <a:pt x="254794" y="152495"/>
                      <a:pt x="381000" y="152400"/>
                    </a:cubicBezTo>
                    <a:cubicBezTo>
                      <a:pt x="507302" y="152400"/>
                      <a:pt x="609600" y="254794"/>
                      <a:pt x="609600" y="381000"/>
                    </a:cubicBezTo>
                    <a:cubicBezTo>
                      <a:pt x="609600" y="507206"/>
                      <a:pt x="507206" y="609600"/>
                      <a:pt x="381000" y="609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1" name="Freeform: Shape 883">
                <a:extLst>
                  <a:ext uri="{FF2B5EF4-FFF2-40B4-BE49-F238E27FC236}">
                    <a16:creationId xmlns:a16="http://schemas.microsoft.com/office/drawing/2014/main" id="{B3E5F176-1329-4289-B552-390A887F3077}"/>
                  </a:ext>
                </a:extLst>
              </p:cNvPr>
              <p:cNvSpPr/>
              <p:nvPr/>
            </p:nvSpPr>
            <p:spPr bwMode="gray">
              <a:xfrm>
                <a:off x="16275238" y="2585275"/>
                <a:ext cx="2266950" cy="2266950"/>
              </a:xfrm>
              <a:custGeom>
                <a:avLst/>
                <a:gdLst>
                  <a:gd name="connsiteX0" fmla="*/ 2208276 w 2266950"/>
                  <a:gd name="connsiteY0" fmla="*/ 929831 h 2266950"/>
                  <a:gd name="connsiteX1" fmla="*/ 2097881 w 2266950"/>
                  <a:gd name="connsiteY1" fmla="*/ 906590 h 2266950"/>
                  <a:gd name="connsiteX2" fmla="*/ 2082451 w 2266950"/>
                  <a:gd name="connsiteY2" fmla="*/ 849344 h 2266950"/>
                  <a:gd name="connsiteX3" fmla="*/ 2167128 w 2266950"/>
                  <a:gd name="connsiteY3" fmla="*/ 773430 h 2266950"/>
                  <a:gd name="connsiteX4" fmla="*/ 2186369 w 2266950"/>
                  <a:gd name="connsiteY4" fmla="*/ 686848 h 2266950"/>
                  <a:gd name="connsiteX5" fmla="*/ 2046351 w 2266950"/>
                  <a:gd name="connsiteY5" fmla="*/ 447103 h 2266950"/>
                  <a:gd name="connsiteX6" fmla="*/ 1961674 w 2266950"/>
                  <a:gd name="connsiteY6" fmla="*/ 420529 h 2266950"/>
                  <a:gd name="connsiteX7" fmla="*/ 1855184 w 2266950"/>
                  <a:gd name="connsiteY7" fmla="*/ 455485 h 2266950"/>
                  <a:gd name="connsiteX8" fmla="*/ 1813179 w 2266950"/>
                  <a:gd name="connsiteY8" fmla="*/ 413480 h 2266950"/>
                  <a:gd name="connsiteX9" fmla="*/ 1848136 w 2266950"/>
                  <a:gd name="connsiteY9" fmla="*/ 307086 h 2266950"/>
                  <a:gd name="connsiteX10" fmla="*/ 1821656 w 2266950"/>
                  <a:gd name="connsiteY10" fmla="*/ 222504 h 2266950"/>
                  <a:gd name="connsiteX11" fmla="*/ 1581817 w 2266950"/>
                  <a:gd name="connsiteY11" fmla="*/ 82391 h 2266950"/>
                  <a:gd name="connsiteX12" fmla="*/ 1495235 w 2266950"/>
                  <a:gd name="connsiteY12" fmla="*/ 101632 h 2266950"/>
                  <a:gd name="connsiteX13" fmla="*/ 1419320 w 2266950"/>
                  <a:gd name="connsiteY13" fmla="*/ 186404 h 2266950"/>
                  <a:gd name="connsiteX14" fmla="*/ 1362075 w 2266950"/>
                  <a:gd name="connsiteY14" fmla="*/ 170878 h 2266950"/>
                  <a:gd name="connsiteX15" fmla="*/ 1338834 w 2266950"/>
                  <a:gd name="connsiteY15" fmla="*/ 60484 h 2266950"/>
                  <a:gd name="connsiteX16" fmla="*/ 1264253 w 2266950"/>
                  <a:gd name="connsiteY16" fmla="*/ 0 h 2266950"/>
                  <a:gd name="connsiteX17" fmla="*/ 1004411 w 2266950"/>
                  <a:gd name="connsiteY17" fmla="*/ 0 h 2266950"/>
                  <a:gd name="connsiteX18" fmla="*/ 929831 w 2266950"/>
                  <a:gd name="connsiteY18" fmla="*/ 60484 h 2266950"/>
                  <a:gd name="connsiteX19" fmla="*/ 906590 w 2266950"/>
                  <a:gd name="connsiteY19" fmla="*/ 170878 h 2266950"/>
                  <a:gd name="connsiteX20" fmla="*/ 849344 w 2266950"/>
                  <a:gd name="connsiteY20" fmla="*/ 186309 h 2266950"/>
                  <a:gd name="connsiteX21" fmla="*/ 773430 w 2266950"/>
                  <a:gd name="connsiteY21" fmla="*/ 101632 h 2266950"/>
                  <a:gd name="connsiteX22" fmla="*/ 686848 w 2266950"/>
                  <a:gd name="connsiteY22" fmla="*/ 82391 h 2266950"/>
                  <a:gd name="connsiteX23" fmla="*/ 447103 w 2266950"/>
                  <a:gd name="connsiteY23" fmla="*/ 222409 h 2266950"/>
                  <a:gd name="connsiteX24" fmla="*/ 420529 w 2266950"/>
                  <a:gd name="connsiteY24" fmla="*/ 307086 h 2266950"/>
                  <a:gd name="connsiteX25" fmla="*/ 455485 w 2266950"/>
                  <a:gd name="connsiteY25" fmla="*/ 413575 h 2266950"/>
                  <a:gd name="connsiteX26" fmla="*/ 413480 w 2266950"/>
                  <a:gd name="connsiteY26" fmla="*/ 455581 h 2266950"/>
                  <a:gd name="connsiteX27" fmla="*/ 307086 w 2266950"/>
                  <a:gd name="connsiteY27" fmla="*/ 420624 h 2266950"/>
                  <a:gd name="connsiteX28" fmla="*/ 222504 w 2266950"/>
                  <a:gd name="connsiteY28" fmla="*/ 447103 h 2266950"/>
                  <a:gd name="connsiteX29" fmla="*/ 82391 w 2266950"/>
                  <a:gd name="connsiteY29" fmla="*/ 686943 h 2266950"/>
                  <a:gd name="connsiteX30" fmla="*/ 101632 w 2266950"/>
                  <a:gd name="connsiteY30" fmla="*/ 773525 h 2266950"/>
                  <a:gd name="connsiteX31" fmla="*/ 186404 w 2266950"/>
                  <a:gd name="connsiteY31" fmla="*/ 849440 h 2266950"/>
                  <a:gd name="connsiteX32" fmla="*/ 170878 w 2266950"/>
                  <a:gd name="connsiteY32" fmla="*/ 906685 h 2266950"/>
                  <a:gd name="connsiteX33" fmla="*/ 60484 w 2266950"/>
                  <a:gd name="connsiteY33" fmla="*/ 929926 h 2266950"/>
                  <a:gd name="connsiteX34" fmla="*/ 0 w 2266950"/>
                  <a:gd name="connsiteY34" fmla="*/ 1004507 h 2266950"/>
                  <a:gd name="connsiteX35" fmla="*/ 0 w 2266950"/>
                  <a:gd name="connsiteY35" fmla="*/ 1264349 h 2266950"/>
                  <a:gd name="connsiteX36" fmla="*/ 60484 w 2266950"/>
                  <a:gd name="connsiteY36" fmla="*/ 1338929 h 2266950"/>
                  <a:gd name="connsiteX37" fmla="*/ 170878 w 2266950"/>
                  <a:gd name="connsiteY37" fmla="*/ 1362170 h 2266950"/>
                  <a:gd name="connsiteX38" fmla="*/ 186309 w 2266950"/>
                  <a:gd name="connsiteY38" fmla="*/ 1419416 h 2266950"/>
                  <a:gd name="connsiteX39" fmla="*/ 101632 w 2266950"/>
                  <a:gd name="connsiteY39" fmla="*/ 1495330 h 2266950"/>
                  <a:gd name="connsiteX40" fmla="*/ 82391 w 2266950"/>
                  <a:gd name="connsiteY40" fmla="*/ 1581912 h 2266950"/>
                  <a:gd name="connsiteX41" fmla="*/ 222409 w 2266950"/>
                  <a:gd name="connsiteY41" fmla="*/ 1821656 h 2266950"/>
                  <a:gd name="connsiteX42" fmla="*/ 307086 w 2266950"/>
                  <a:gd name="connsiteY42" fmla="*/ 1848231 h 2266950"/>
                  <a:gd name="connsiteX43" fmla="*/ 413575 w 2266950"/>
                  <a:gd name="connsiteY43" fmla="*/ 1813274 h 2266950"/>
                  <a:gd name="connsiteX44" fmla="*/ 455581 w 2266950"/>
                  <a:gd name="connsiteY44" fmla="*/ 1855280 h 2266950"/>
                  <a:gd name="connsiteX45" fmla="*/ 420624 w 2266950"/>
                  <a:gd name="connsiteY45" fmla="*/ 1961674 h 2266950"/>
                  <a:gd name="connsiteX46" fmla="*/ 447103 w 2266950"/>
                  <a:gd name="connsiteY46" fmla="*/ 2046256 h 2266950"/>
                  <a:gd name="connsiteX47" fmla="*/ 686943 w 2266950"/>
                  <a:gd name="connsiteY47" fmla="*/ 2186369 h 2266950"/>
                  <a:gd name="connsiteX48" fmla="*/ 773525 w 2266950"/>
                  <a:gd name="connsiteY48" fmla="*/ 2167128 h 2266950"/>
                  <a:gd name="connsiteX49" fmla="*/ 849440 w 2266950"/>
                  <a:gd name="connsiteY49" fmla="*/ 2082356 h 2266950"/>
                  <a:gd name="connsiteX50" fmla="*/ 906685 w 2266950"/>
                  <a:gd name="connsiteY50" fmla="*/ 2097882 h 2266950"/>
                  <a:gd name="connsiteX51" fmla="*/ 929926 w 2266950"/>
                  <a:gd name="connsiteY51" fmla="*/ 2208276 h 2266950"/>
                  <a:gd name="connsiteX52" fmla="*/ 1004507 w 2266950"/>
                  <a:gd name="connsiteY52" fmla="*/ 2268760 h 2266950"/>
                  <a:gd name="connsiteX53" fmla="*/ 1264349 w 2266950"/>
                  <a:gd name="connsiteY53" fmla="*/ 2268760 h 2266950"/>
                  <a:gd name="connsiteX54" fmla="*/ 1338929 w 2266950"/>
                  <a:gd name="connsiteY54" fmla="*/ 2208276 h 2266950"/>
                  <a:gd name="connsiteX55" fmla="*/ 1362170 w 2266950"/>
                  <a:gd name="connsiteY55" fmla="*/ 2097882 h 2266950"/>
                  <a:gd name="connsiteX56" fmla="*/ 1419416 w 2266950"/>
                  <a:gd name="connsiteY56" fmla="*/ 2082451 h 2266950"/>
                  <a:gd name="connsiteX57" fmla="*/ 1495330 w 2266950"/>
                  <a:gd name="connsiteY57" fmla="*/ 2167128 h 2266950"/>
                  <a:gd name="connsiteX58" fmla="*/ 1581912 w 2266950"/>
                  <a:gd name="connsiteY58" fmla="*/ 2186369 h 2266950"/>
                  <a:gd name="connsiteX59" fmla="*/ 1821656 w 2266950"/>
                  <a:gd name="connsiteY59" fmla="*/ 2046351 h 2266950"/>
                  <a:gd name="connsiteX60" fmla="*/ 1848231 w 2266950"/>
                  <a:gd name="connsiteY60" fmla="*/ 1961674 h 2266950"/>
                  <a:gd name="connsiteX61" fmla="*/ 1813274 w 2266950"/>
                  <a:gd name="connsiteY61" fmla="*/ 1855184 h 2266950"/>
                  <a:gd name="connsiteX62" fmla="*/ 1855279 w 2266950"/>
                  <a:gd name="connsiteY62" fmla="*/ 1813179 h 2266950"/>
                  <a:gd name="connsiteX63" fmla="*/ 1961674 w 2266950"/>
                  <a:gd name="connsiteY63" fmla="*/ 1848136 h 2266950"/>
                  <a:gd name="connsiteX64" fmla="*/ 2046256 w 2266950"/>
                  <a:gd name="connsiteY64" fmla="*/ 1821656 h 2266950"/>
                  <a:gd name="connsiteX65" fmla="*/ 2186369 w 2266950"/>
                  <a:gd name="connsiteY65" fmla="*/ 1581817 h 2266950"/>
                  <a:gd name="connsiteX66" fmla="*/ 2167128 w 2266950"/>
                  <a:gd name="connsiteY66" fmla="*/ 1495235 h 2266950"/>
                  <a:gd name="connsiteX67" fmla="*/ 2082356 w 2266950"/>
                  <a:gd name="connsiteY67" fmla="*/ 1419320 h 2266950"/>
                  <a:gd name="connsiteX68" fmla="*/ 2097881 w 2266950"/>
                  <a:gd name="connsiteY68" fmla="*/ 1362075 h 2266950"/>
                  <a:gd name="connsiteX69" fmla="*/ 2208276 w 2266950"/>
                  <a:gd name="connsiteY69" fmla="*/ 1338834 h 2266950"/>
                  <a:gd name="connsiteX70" fmla="*/ 2268760 w 2266950"/>
                  <a:gd name="connsiteY70" fmla="*/ 1264253 h 2266950"/>
                  <a:gd name="connsiteX71" fmla="*/ 2268760 w 2266950"/>
                  <a:gd name="connsiteY71" fmla="*/ 1004411 h 2266950"/>
                  <a:gd name="connsiteX72" fmla="*/ 2208276 w 2266950"/>
                  <a:gd name="connsiteY72" fmla="*/ 929831 h 2266950"/>
                  <a:gd name="connsiteX73" fmla="*/ 2116360 w 2266950"/>
                  <a:gd name="connsiteY73" fmla="*/ 1202341 h 2266950"/>
                  <a:gd name="connsiteX74" fmla="*/ 2017776 w 2266950"/>
                  <a:gd name="connsiteY74" fmla="*/ 1223105 h 2266950"/>
                  <a:gd name="connsiteX75" fmla="*/ 1958435 w 2266950"/>
                  <a:gd name="connsiteY75" fmla="*/ 1284160 h 2266950"/>
                  <a:gd name="connsiteX76" fmla="*/ 1922621 w 2266950"/>
                  <a:gd name="connsiteY76" fmla="*/ 1417034 h 2266950"/>
                  <a:gd name="connsiteX77" fmla="*/ 1943576 w 2266950"/>
                  <a:gd name="connsiteY77" fmla="*/ 1499521 h 2266950"/>
                  <a:gd name="connsiteX78" fmla="*/ 2023491 w 2266950"/>
                  <a:gd name="connsiteY78" fmla="*/ 1571149 h 2266950"/>
                  <a:gd name="connsiteX79" fmla="*/ 1956149 w 2266950"/>
                  <a:gd name="connsiteY79" fmla="*/ 1685925 h 2266950"/>
                  <a:gd name="connsiteX80" fmla="*/ 1855470 w 2266950"/>
                  <a:gd name="connsiteY80" fmla="*/ 1652778 h 2266950"/>
                  <a:gd name="connsiteX81" fmla="*/ 1773460 w 2266950"/>
                  <a:gd name="connsiteY81" fmla="*/ 1675924 h 2266950"/>
                  <a:gd name="connsiteX82" fmla="*/ 1676019 w 2266950"/>
                  <a:gd name="connsiteY82" fmla="*/ 1773460 h 2266950"/>
                  <a:gd name="connsiteX83" fmla="*/ 1652968 w 2266950"/>
                  <a:gd name="connsiteY83" fmla="*/ 1855375 h 2266950"/>
                  <a:gd name="connsiteX84" fmla="*/ 1686116 w 2266950"/>
                  <a:gd name="connsiteY84" fmla="*/ 1955959 h 2266950"/>
                  <a:gd name="connsiteX85" fmla="*/ 1571339 w 2266950"/>
                  <a:gd name="connsiteY85" fmla="*/ 2023301 h 2266950"/>
                  <a:gd name="connsiteX86" fmla="*/ 1499711 w 2266950"/>
                  <a:gd name="connsiteY86" fmla="*/ 1943386 h 2266950"/>
                  <a:gd name="connsiteX87" fmla="*/ 1417129 w 2266950"/>
                  <a:gd name="connsiteY87" fmla="*/ 1922431 h 2266950"/>
                  <a:gd name="connsiteX88" fmla="*/ 1284446 w 2266950"/>
                  <a:gd name="connsiteY88" fmla="*/ 1958245 h 2266950"/>
                  <a:gd name="connsiteX89" fmla="*/ 1223391 w 2266950"/>
                  <a:gd name="connsiteY89" fmla="*/ 2017585 h 2266950"/>
                  <a:gd name="connsiteX90" fmla="*/ 1202627 w 2266950"/>
                  <a:gd name="connsiteY90" fmla="*/ 2116169 h 2266950"/>
                  <a:gd name="connsiteX91" fmla="*/ 1066419 w 2266950"/>
                  <a:gd name="connsiteY91" fmla="*/ 2116169 h 2266950"/>
                  <a:gd name="connsiteX92" fmla="*/ 1045654 w 2266950"/>
                  <a:gd name="connsiteY92" fmla="*/ 2017585 h 2266950"/>
                  <a:gd name="connsiteX93" fmla="*/ 984599 w 2266950"/>
                  <a:gd name="connsiteY93" fmla="*/ 1958245 h 2266950"/>
                  <a:gd name="connsiteX94" fmla="*/ 851726 w 2266950"/>
                  <a:gd name="connsiteY94" fmla="*/ 1922431 h 2266950"/>
                  <a:gd name="connsiteX95" fmla="*/ 851726 w 2266950"/>
                  <a:gd name="connsiteY95" fmla="*/ 1922431 h 2266950"/>
                  <a:gd name="connsiteX96" fmla="*/ 769239 w 2266950"/>
                  <a:gd name="connsiteY96" fmla="*/ 1943386 h 2266950"/>
                  <a:gd name="connsiteX97" fmla="*/ 697611 w 2266950"/>
                  <a:gd name="connsiteY97" fmla="*/ 2023301 h 2266950"/>
                  <a:gd name="connsiteX98" fmla="*/ 582835 w 2266950"/>
                  <a:gd name="connsiteY98" fmla="*/ 1955959 h 2266950"/>
                  <a:gd name="connsiteX99" fmla="*/ 615982 w 2266950"/>
                  <a:gd name="connsiteY99" fmla="*/ 1855280 h 2266950"/>
                  <a:gd name="connsiteX100" fmla="*/ 592836 w 2266950"/>
                  <a:gd name="connsiteY100" fmla="*/ 1773269 h 2266950"/>
                  <a:gd name="connsiteX101" fmla="*/ 495300 w 2266950"/>
                  <a:gd name="connsiteY101" fmla="*/ 1675828 h 2266950"/>
                  <a:gd name="connsiteX102" fmla="*/ 413385 w 2266950"/>
                  <a:gd name="connsiteY102" fmla="*/ 1652778 h 2266950"/>
                  <a:gd name="connsiteX103" fmla="*/ 312801 w 2266950"/>
                  <a:gd name="connsiteY103" fmla="*/ 1685925 h 2266950"/>
                  <a:gd name="connsiteX104" fmla="*/ 245459 w 2266950"/>
                  <a:gd name="connsiteY104" fmla="*/ 1571149 h 2266950"/>
                  <a:gd name="connsiteX105" fmla="*/ 325374 w 2266950"/>
                  <a:gd name="connsiteY105" fmla="*/ 1499521 h 2266950"/>
                  <a:gd name="connsiteX106" fmla="*/ 346329 w 2266950"/>
                  <a:gd name="connsiteY106" fmla="*/ 1416939 h 2266950"/>
                  <a:gd name="connsiteX107" fmla="*/ 310515 w 2266950"/>
                  <a:gd name="connsiteY107" fmla="*/ 1284256 h 2266950"/>
                  <a:gd name="connsiteX108" fmla="*/ 251174 w 2266950"/>
                  <a:gd name="connsiteY108" fmla="*/ 1223201 h 2266950"/>
                  <a:gd name="connsiteX109" fmla="*/ 152591 w 2266950"/>
                  <a:gd name="connsiteY109" fmla="*/ 1202436 h 2266950"/>
                  <a:gd name="connsiteX110" fmla="*/ 152591 w 2266950"/>
                  <a:gd name="connsiteY110" fmla="*/ 1066228 h 2266950"/>
                  <a:gd name="connsiteX111" fmla="*/ 251174 w 2266950"/>
                  <a:gd name="connsiteY111" fmla="*/ 1045464 h 2266950"/>
                  <a:gd name="connsiteX112" fmla="*/ 310515 w 2266950"/>
                  <a:gd name="connsiteY112" fmla="*/ 984409 h 2266950"/>
                  <a:gd name="connsiteX113" fmla="*/ 346329 w 2266950"/>
                  <a:gd name="connsiteY113" fmla="*/ 851535 h 2266950"/>
                  <a:gd name="connsiteX114" fmla="*/ 325374 w 2266950"/>
                  <a:gd name="connsiteY114" fmla="*/ 769049 h 2266950"/>
                  <a:gd name="connsiteX115" fmla="*/ 245459 w 2266950"/>
                  <a:gd name="connsiteY115" fmla="*/ 697421 h 2266950"/>
                  <a:gd name="connsiteX116" fmla="*/ 312801 w 2266950"/>
                  <a:gd name="connsiteY116" fmla="*/ 582644 h 2266950"/>
                  <a:gd name="connsiteX117" fmla="*/ 413480 w 2266950"/>
                  <a:gd name="connsiteY117" fmla="*/ 615791 h 2266950"/>
                  <a:gd name="connsiteX118" fmla="*/ 495491 w 2266950"/>
                  <a:gd name="connsiteY118" fmla="*/ 592646 h 2266950"/>
                  <a:gd name="connsiteX119" fmla="*/ 592931 w 2266950"/>
                  <a:gd name="connsiteY119" fmla="*/ 495109 h 2266950"/>
                  <a:gd name="connsiteX120" fmla="*/ 615982 w 2266950"/>
                  <a:gd name="connsiteY120" fmla="*/ 413194 h 2266950"/>
                  <a:gd name="connsiteX121" fmla="*/ 582835 w 2266950"/>
                  <a:gd name="connsiteY121" fmla="*/ 312610 h 2266950"/>
                  <a:gd name="connsiteX122" fmla="*/ 697611 w 2266950"/>
                  <a:gd name="connsiteY122" fmla="*/ 245269 h 2266950"/>
                  <a:gd name="connsiteX123" fmla="*/ 769239 w 2266950"/>
                  <a:gd name="connsiteY123" fmla="*/ 325184 h 2266950"/>
                  <a:gd name="connsiteX124" fmla="*/ 851821 w 2266950"/>
                  <a:gd name="connsiteY124" fmla="*/ 346139 h 2266950"/>
                  <a:gd name="connsiteX125" fmla="*/ 984504 w 2266950"/>
                  <a:gd name="connsiteY125" fmla="*/ 310325 h 2266950"/>
                  <a:gd name="connsiteX126" fmla="*/ 1045559 w 2266950"/>
                  <a:gd name="connsiteY126" fmla="*/ 250984 h 2266950"/>
                  <a:gd name="connsiteX127" fmla="*/ 1066324 w 2266950"/>
                  <a:gd name="connsiteY127" fmla="*/ 152400 h 2266950"/>
                  <a:gd name="connsiteX128" fmla="*/ 1202531 w 2266950"/>
                  <a:gd name="connsiteY128" fmla="*/ 152400 h 2266950"/>
                  <a:gd name="connsiteX129" fmla="*/ 1223296 w 2266950"/>
                  <a:gd name="connsiteY129" fmla="*/ 250984 h 2266950"/>
                  <a:gd name="connsiteX130" fmla="*/ 1284351 w 2266950"/>
                  <a:gd name="connsiteY130" fmla="*/ 310325 h 2266950"/>
                  <a:gd name="connsiteX131" fmla="*/ 1417225 w 2266950"/>
                  <a:gd name="connsiteY131" fmla="*/ 346139 h 2266950"/>
                  <a:gd name="connsiteX132" fmla="*/ 1499711 w 2266950"/>
                  <a:gd name="connsiteY132" fmla="*/ 325184 h 2266950"/>
                  <a:gd name="connsiteX133" fmla="*/ 1571339 w 2266950"/>
                  <a:gd name="connsiteY133" fmla="*/ 245269 h 2266950"/>
                  <a:gd name="connsiteX134" fmla="*/ 1686116 w 2266950"/>
                  <a:gd name="connsiteY134" fmla="*/ 312610 h 2266950"/>
                  <a:gd name="connsiteX135" fmla="*/ 1652968 w 2266950"/>
                  <a:gd name="connsiteY135" fmla="*/ 413290 h 2266950"/>
                  <a:gd name="connsiteX136" fmla="*/ 1676114 w 2266950"/>
                  <a:gd name="connsiteY136" fmla="*/ 495300 h 2266950"/>
                  <a:gd name="connsiteX137" fmla="*/ 1773650 w 2266950"/>
                  <a:gd name="connsiteY137" fmla="*/ 592741 h 2266950"/>
                  <a:gd name="connsiteX138" fmla="*/ 1855565 w 2266950"/>
                  <a:gd name="connsiteY138" fmla="*/ 615791 h 2266950"/>
                  <a:gd name="connsiteX139" fmla="*/ 1956149 w 2266950"/>
                  <a:gd name="connsiteY139" fmla="*/ 582644 h 2266950"/>
                  <a:gd name="connsiteX140" fmla="*/ 2023491 w 2266950"/>
                  <a:gd name="connsiteY140" fmla="*/ 697421 h 2266950"/>
                  <a:gd name="connsiteX141" fmla="*/ 1943576 w 2266950"/>
                  <a:gd name="connsiteY141" fmla="*/ 769049 h 2266950"/>
                  <a:gd name="connsiteX142" fmla="*/ 1922621 w 2266950"/>
                  <a:gd name="connsiteY142" fmla="*/ 851630 h 2266950"/>
                  <a:gd name="connsiteX143" fmla="*/ 1958435 w 2266950"/>
                  <a:gd name="connsiteY143" fmla="*/ 984314 h 2266950"/>
                  <a:gd name="connsiteX144" fmla="*/ 2017776 w 2266950"/>
                  <a:gd name="connsiteY144" fmla="*/ 1045369 h 2266950"/>
                  <a:gd name="connsiteX145" fmla="*/ 2116360 w 2266950"/>
                  <a:gd name="connsiteY145" fmla="*/ 1066133 h 2266950"/>
                  <a:gd name="connsiteX146" fmla="*/ 2116360 w 2266950"/>
                  <a:gd name="connsiteY146" fmla="*/ 1202341 h 226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2266950" h="2266950">
                    <a:moveTo>
                      <a:pt x="2208276" y="929831"/>
                    </a:moveTo>
                    <a:lnTo>
                      <a:pt x="2097881" y="906590"/>
                    </a:lnTo>
                    <a:cubicBezTo>
                      <a:pt x="2093309" y="887444"/>
                      <a:pt x="2088166" y="868299"/>
                      <a:pt x="2082451" y="849344"/>
                    </a:cubicBezTo>
                    <a:lnTo>
                      <a:pt x="2167128" y="773430"/>
                    </a:lnTo>
                    <a:cubicBezTo>
                      <a:pt x="2191417" y="751618"/>
                      <a:pt x="2199227" y="716851"/>
                      <a:pt x="2186369" y="686848"/>
                    </a:cubicBezTo>
                    <a:cubicBezTo>
                      <a:pt x="2149602" y="601504"/>
                      <a:pt x="2102644" y="521017"/>
                      <a:pt x="2046351" y="447103"/>
                    </a:cubicBezTo>
                    <a:cubicBezTo>
                      <a:pt x="2026634" y="421100"/>
                      <a:pt x="1992630" y="410432"/>
                      <a:pt x="1961674" y="420529"/>
                    </a:cubicBezTo>
                    <a:lnTo>
                      <a:pt x="1855184" y="455485"/>
                    </a:lnTo>
                    <a:cubicBezTo>
                      <a:pt x="1841659" y="441103"/>
                      <a:pt x="1827562" y="427101"/>
                      <a:pt x="1813179" y="413480"/>
                    </a:cubicBezTo>
                    <a:lnTo>
                      <a:pt x="1848136" y="307086"/>
                    </a:lnTo>
                    <a:cubicBezTo>
                      <a:pt x="1858327" y="276130"/>
                      <a:pt x="1847660" y="242125"/>
                      <a:pt x="1821656" y="222504"/>
                    </a:cubicBezTo>
                    <a:cubicBezTo>
                      <a:pt x="1747742" y="166211"/>
                      <a:pt x="1667161" y="119158"/>
                      <a:pt x="1581817" y="82391"/>
                    </a:cubicBezTo>
                    <a:cubicBezTo>
                      <a:pt x="1551813" y="69723"/>
                      <a:pt x="1517047" y="77438"/>
                      <a:pt x="1495235" y="101632"/>
                    </a:cubicBezTo>
                    <a:lnTo>
                      <a:pt x="1419320" y="186404"/>
                    </a:lnTo>
                    <a:cubicBezTo>
                      <a:pt x="1400366" y="180594"/>
                      <a:pt x="1381220" y="175450"/>
                      <a:pt x="1362075" y="170878"/>
                    </a:cubicBezTo>
                    <a:lnTo>
                      <a:pt x="1338834" y="60484"/>
                    </a:lnTo>
                    <a:cubicBezTo>
                      <a:pt x="1331404" y="25241"/>
                      <a:pt x="1300258" y="0"/>
                      <a:pt x="1264253" y="0"/>
                    </a:cubicBezTo>
                    <a:lnTo>
                      <a:pt x="1004411" y="0"/>
                    </a:lnTo>
                    <a:cubicBezTo>
                      <a:pt x="968407" y="0"/>
                      <a:pt x="937260" y="25241"/>
                      <a:pt x="929831" y="60484"/>
                    </a:cubicBezTo>
                    <a:lnTo>
                      <a:pt x="906590" y="170878"/>
                    </a:lnTo>
                    <a:cubicBezTo>
                      <a:pt x="887444" y="175450"/>
                      <a:pt x="868299" y="180594"/>
                      <a:pt x="849344" y="186309"/>
                    </a:cubicBezTo>
                    <a:lnTo>
                      <a:pt x="773430" y="101632"/>
                    </a:lnTo>
                    <a:cubicBezTo>
                      <a:pt x="751618" y="77438"/>
                      <a:pt x="716851" y="69723"/>
                      <a:pt x="686848" y="82391"/>
                    </a:cubicBezTo>
                    <a:cubicBezTo>
                      <a:pt x="601504" y="119158"/>
                      <a:pt x="521017" y="166116"/>
                      <a:pt x="447103" y="222409"/>
                    </a:cubicBezTo>
                    <a:cubicBezTo>
                      <a:pt x="421005" y="242030"/>
                      <a:pt x="410337" y="276130"/>
                      <a:pt x="420529" y="307086"/>
                    </a:cubicBezTo>
                    <a:lnTo>
                      <a:pt x="455485" y="413575"/>
                    </a:lnTo>
                    <a:cubicBezTo>
                      <a:pt x="441103" y="427101"/>
                      <a:pt x="427101" y="441198"/>
                      <a:pt x="413480" y="455581"/>
                    </a:cubicBezTo>
                    <a:lnTo>
                      <a:pt x="307086" y="420624"/>
                    </a:lnTo>
                    <a:cubicBezTo>
                      <a:pt x="276130" y="410623"/>
                      <a:pt x="242221" y="421196"/>
                      <a:pt x="222504" y="447103"/>
                    </a:cubicBezTo>
                    <a:cubicBezTo>
                      <a:pt x="166211" y="521017"/>
                      <a:pt x="119158" y="601599"/>
                      <a:pt x="82391" y="686943"/>
                    </a:cubicBezTo>
                    <a:cubicBezTo>
                      <a:pt x="69628" y="716947"/>
                      <a:pt x="77343" y="751808"/>
                      <a:pt x="101632" y="773525"/>
                    </a:cubicBezTo>
                    <a:lnTo>
                      <a:pt x="186404" y="849440"/>
                    </a:lnTo>
                    <a:cubicBezTo>
                      <a:pt x="180594" y="868394"/>
                      <a:pt x="175450" y="887540"/>
                      <a:pt x="170878" y="906685"/>
                    </a:cubicBezTo>
                    <a:lnTo>
                      <a:pt x="60484" y="929926"/>
                    </a:lnTo>
                    <a:cubicBezTo>
                      <a:pt x="25241" y="937355"/>
                      <a:pt x="0" y="968502"/>
                      <a:pt x="0" y="1004507"/>
                    </a:cubicBezTo>
                    <a:lnTo>
                      <a:pt x="0" y="1264349"/>
                    </a:lnTo>
                    <a:cubicBezTo>
                      <a:pt x="0" y="1300353"/>
                      <a:pt x="25241" y="1331500"/>
                      <a:pt x="60484" y="1338929"/>
                    </a:cubicBezTo>
                    <a:lnTo>
                      <a:pt x="170878" y="1362170"/>
                    </a:lnTo>
                    <a:cubicBezTo>
                      <a:pt x="175450" y="1381316"/>
                      <a:pt x="180594" y="1400461"/>
                      <a:pt x="186309" y="1419416"/>
                    </a:cubicBezTo>
                    <a:lnTo>
                      <a:pt x="101632" y="1495330"/>
                    </a:lnTo>
                    <a:cubicBezTo>
                      <a:pt x="77343" y="1517142"/>
                      <a:pt x="69533" y="1551908"/>
                      <a:pt x="82391" y="1581912"/>
                    </a:cubicBezTo>
                    <a:cubicBezTo>
                      <a:pt x="119158" y="1667256"/>
                      <a:pt x="166116" y="1747742"/>
                      <a:pt x="222409" y="1821656"/>
                    </a:cubicBezTo>
                    <a:cubicBezTo>
                      <a:pt x="242125" y="1847660"/>
                      <a:pt x="276130" y="1858327"/>
                      <a:pt x="307086" y="1848231"/>
                    </a:cubicBezTo>
                    <a:lnTo>
                      <a:pt x="413575" y="1813274"/>
                    </a:lnTo>
                    <a:cubicBezTo>
                      <a:pt x="427101" y="1827657"/>
                      <a:pt x="441198" y="1841659"/>
                      <a:pt x="455581" y="1855280"/>
                    </a:cubicBezTo>
                    <a:lnTo>
                      <a:pt x="420624" y="1961674"/>
                    </a:lnTo>
                    <a:cubicBezTo>
                      <a:pt x="410432" y="1992630"/>
                      <a:pt x="421100" y="2026634"/>
                      <a:pt x="447103" y="2046256"/>
                    </a:cubicBezTo>
                    <a:cubicBezTo>
                      <a:pt x="521017" y="2102549"/>
                      <a:pt x="601599" y="2149602"/>
                      <a:pt x="686943" y="2186369"/>
                    </a:cubicBezTo>
                    <a:cubicBezTo>
                      <a:pt x="716947" y="2199227"/>
                      <a:pt x="751808" y="2191512"/>
                      <a:pt x="773525" y="2167128"/>
                    </a:cubicBezTo>
                    <a:lnTo>
                      <a:pt x="849440" y="2082356"/>
                    </a:lnTo>
                    <a:cubicBezTo>
                      <a:pt x="868394" y="2088166"/>
                      <a:pt x="887540" y="2093309"/>
                      <a:pt x="906685" y="2097882"/>
                    </a:cubicBezTo>
                    <a:lnTo>
                      <a:pt x="929926" y="2208276"/>
                    </a:lnTo>
                    <a:cubicBezTo>
                      <a:pt x="937355" y="2243519"/>
                      <a:pt x="968502" y="2268760"/>
                      <a:pt x="1004507" y="2268760"/>
                    </a:cubicBezTo>
                    <a:lnTo>
                      <a:pt x="1264349" y="2268760"/>
                    </a:lnTo>
                    <a:cubicBezTo>
                      <a:pt x="1300353" y="2268760"/>
                      <a:pt x="1331500" y="2243519"/>
                      <a:pt x="1338929" y="2208276"/>
                    </a:cubicBezTo>
                    <a:lnTo>
                      <a:pt x="1362170" y="2097882"/>
                    </a:lnTo>
                    <a:cubicBezTo>
                      <a:pt x="1381316" y="2093309"/>
                      <a:pt x="1400461" y="2088166"/>
                      <a:pt x="1419416" y="2082451"/>
                    </a:cubicBezTo>
                    <a:lnTo>
                      <a:pt x="1495330" y="2167128"/>
                    </a:lnTo>
                    <a:cubicBezTo>
                      <a:pt x="1517047" y="2191512"/>
                      <a:pt x="1551908" y="2199227"/>
                      <a:pt x="1581912" y="2186369"/>
                    </a:cubicBezTo>
                    <a:cubicBezTo>
                      <a:pt x="1667256" y="2149602"/>
                      <a:pt x="1747742" y="2102644"/>
                      <a:pt x="1821656" y="2046351"/>
                    </a:cubicBezTo>
                    <a:cubicBezTo>
                      <a:pt x="1847755" y="2026730"/>
                      <a:pt x="1858423" y="1992630"/>
                      <a:pt x="1848231" y="1961674"/>
                    </a:cubicBezTo>
                    <a:lnTo>
                      <a:pt x="1813274" y="1855184"/>
                    </a:lnTo>
                    <a:cubicBezTo>
                      <a:pt x="1827657" y="1841659"/>
                      <a:pt x="1841659" y="1827562"/>
                      <a:pt x="1855279" y="1813179"/>
                    </a:cubicBezTo>
                    <a:lnTo>
                      <a:pt x="1961674" y="1848136"/>
                    </a:lnTo>
                    <a:cubicBezTo>
                      <a:pt x="1992630" y="1858232"/>
                      <a:pt x="2026634" y="1847564"/>
                      <a:pt x="2046256" y="1821656"/>
                    </a:cubicBezTo>
                    <a:cubicBezTo>
                      <a:pt x="2102549" y="1747742"/>
                      <a:pt x="2149602" y="1667161"/>
                      <a:pt x="2186369" y="1581817"/>
                    </a:cubicBezTo>
                    <a:cubicBezTo>
                      <a:pt x="2199132" y="1551813"/>
                      <a:pt x="2191417" y="1516952"/>
                      <a:pt x="2167128" y="1495235"/>
                    </a:cubicBezTo>
                    <a:lnTo>
                      <a:pt x="2082356" y="1419320"/>
                    </a:lnTo>
                    <a:cubicBezTo>
                      <a:pt x="2088166" y="1400366"/>
                      <a:pt x="2093309" y="1381220"/>
                      <a:pt x="2097881" y="1362075"/>
                    </a:cubicBezTo>
                    <a:lnTo>
                      <a:pt x="2208276" y="1338834"/>
                    </a:lnTo>
                    <a:cubicBezTo>
                      <a:pt x="2243519" y="1331405"/>
                      <a:pt x="2268760" y="1300258"/>
                      <a:pt x="2268760" y="1264253"/>
                    </a:cubicBezTo>
                    <a:lnTo>
                      <a:pt x="2268760" y="1004411"/>
                    </a:lnTo>
                    <a:cubicBezTo>
                      <a:pt x="2268760" y="968311"/>
                      <a:pt x="2243519" y="937260"/>
                      <a:pt x="2208276" y="929831"/>
                    </a:cubicBezTo>
                    <a:close/>
                    <a:moveTo>
                      <a:pt x="2116360" y="1202341"/>
                    </a:moveTo>
                    <a:lnTo>
                      <a:pt x="2017776" y="1223105"/>
                    </a:lnTo>
                    <a:cubicBezTo>
                      <a:pt x="1987391" y="1229487"/>
                      <a:pt x="1963960" y="1253585"/>
                      <a:pt x="1958435" y="1284160"/>
                    </a:cubicBezTo>
                    <a:cubicBezTo>
                      <a:pt x="1950244" y="1329309"/>
                      <a:pt x="1938242" y="1373791"/>
                      <a:pt x="1922621" y="1417034"/>
                    </a:cubicBezTo>
                    <a:cubicBezTo>
                      <a:pt x="1912144" y="1446276"/>
                      <a:pt x="1920431" y="1478852"/>
                      <a:pt x="1943576" y="1499521"/>
                    </a:cubicBezTo>
                    <a:lnTo>
                      <a:pt x="2023491" y="1571149"/>
                    </a:lnTo>
                    <a:cubicBezTo>
                      <a:pt x="2003584" y="1610868"/>
                      <a:pt x="1981105" y="1649159"/>
                      <a:pt x="1956149" y="1685925"/>
                    </a:cubicBezTo>
                    <a:lnTo>
                      <a:pt x="1855470" y="1652778"/>
                    </a:lnTo>
                    <a:cubicBezTo>
                      <a:pt x="1825943" y="1643158"/>
                      <a:pt x="1793558" y="1652302"/>
                      <a:pt x="1773460" y="1675924"/>
                    </a:cubicBezTo>
                    <a:cubicBezTo>
                      <a:pt x="1743742" y="1711071"/>
                      <a:pt x="1711071" y="1743742"/>
                      <a:pt x="1676019" y="1773460"/>
                    </a:cubicBezTo>
                    <a:cubicBezTo>
                      <a:pt x="1652397" y="1793558"/>
                      <a:pt x="1643253" y="1825943"/>
                      <a:pt x="1652968" y="1855375"/>
                    </a:cubicBezTo>
                    <a:lnTo>
                      <a:pt x="1686116" y="1955959"/>
                    </a:lnTo>
                    <a:cubicBezTo>
                      <a:pt x="1649444" y="1980914"/>
                      <a:pt x="1611059" y="2003393"/>
                      <a:pt x="1571339" y="2023301"/>
                    </a:cubicBezTo>
                    <a:lnTo>
                      <a:pt x="1499711" y="1943386"/>
                    </a:lnTo>
                    <a:cubicBezTo>
                      <a:pt x="1478947" y="1920335"/>
                      <a:pt x="1446371" y="1912049"/>
                      <a:pt x="1417129" y="1922431"/>
                    </a:cubicBezTo>
                    <a:cubicBezTo>
                      <a:pt x="1373981" y="1938052"/>
                      <a:pt x="1329595" y="1950053"/>
                      <a:pt x="1284446" y="1958245"/>
                    </a:cubicBezTo>
                    <a:cubicBezTo>
                      <a:pt x="1253966" y="1963769"/>
                      <a:pt x="1229773" y="1987201"/>
                      <a:pt x="1223391" y="2017585"/>
                    </a:cubicBezTo>
                    <a:lnTo>
                      <a:pt x="1202627" y="2116169"/>
                    </a:lnTo>
                    <a:lnTo>
                      <a:pt x="1066419" y="2116169"/>
                    </a:lnTo>
                    <a:lnTo>
                      <a:pt x="1045654" y="2017585"/>
                    </a:lnTo>
                    <a:cubicBezTo>
                      <a:pt x="1039273" y="1987201"/>
                      <a:pt x="1015175" y="1963769"/>
                      <a:pt x="984599" y="1958245"/>
                    </a:cubicBezTo>
                    <a:cubicBezTo>
                      <a:pt x="939451" y="1950053"/>
                      <a:pt x="894969" y="1938052"/>
                      <a:pt x="851726" y="1922431"/>
                    </a:cubicBezTo>
                    <a:lnTo>
                      <a:pt x="851726" y="1922431"/>
                    </a:lnTo>
                    <a:cubicBezTo>
                      <a:pt x="822484" y="1912144"/>
                      <a:pt x="790003" y="1920335"/>
                      <a:pt x="769239" y="1943386"/>
                    </a:cubicBezTo>
                    <a:lnTo>
                      <a:pt x="697611" y="2023301"/>
                    </a:lnTo>
                    <a:cubicBezTo>
                      <a:pt x="657892" y="2003393"/>
                      <a:pt x="619601" y="1980914"/>
                      <a:pt x="582835" y="1955959"/>
                    </a:cubicBezTo>
                    <a:lnTo>
                      <a:pt x="615982" y="1855280"/>
                    </a:lnTo>
                    <a:cubicBezTo>
                      <a:pt x="625697" y="1825752"/>
                      <a:pt x="616458" y="1793367"/>
                      <a:pt x="592836" y="1773269"/>
                    </a:cubicBezTo>
                    <a:cubicBezTo>
                      <a:pt x="557689" y="1743551"/>
                      <a:pt x="525018" y="1710881"/>
                      <a:pt x="495300" y="1675828"/>
                    </a:cubicBezTo>
                    <a:cubicBezTo>
                      <a:pt x="475202" y="1652302"/>
                      <a:pt x="442817" y="1643158"/>
                      <a:pt x="413385" y="1652778"/>
                    </a:cubicBezTo>
                    <a:lnTo>
                      <a:pt x="312801" y="1685925"/>
                    </a:lnTo>
                    <a:cubicBezTo>
                      <a:pt x="287845" y="1649254"/>
                      <a:pt x="265367" y="1610868"/>
                      <a:pt x="245459" y="1571149"/>
                    </a:cubicBezTo>
                    <a:lnTo>
                      <a:pt x="325374" y="1499521"/>
                    </a:lnTo>
                    <a:cubicBezTo>
                      <a:pt x="348520" y="1478852"/>
                      <a:pt x="356807" y="1446181"/>
                      <a:pt x="346329" y="1416939"/>
                    </a:cubicBezTo>
                    <a:cubicBezTo>
                      <a:pt x="330708" y="1373791"/>
                      <a:pt x="318707" y="1329404"/>
                      <a:pt x="310515" y="1284256"/>
                    </a:cubicBezTo>
                    <a:cubicBezTo>
                      <a:pt x="304991" y="1253776"/>
                      <a:pt x="281559" y="1229582"/>
                      <a:pt x="251174" y="1223201"/>
                    </a:cubicBezTo>
                    <a:lnTo>
                      <a:pt x="152591" y="1202436"/>
                    </a:lnTo>
                    <a:lnTo>
                      <a:pt x="152591" y="1066228"/>
                    </a:lnTo>
                    <a:lnTo>
                      <a:pt x="251174" y="1045464"/>
                    </a:lnTo>
                    <a:cubicBezTo>
                      <a:pt x="281559" y="1039082"/>
                      <a:pt x="304991" y="1014984"/>
                      <a:pt x="310515" y="984409"/>
                    </a:cubicBezTo>
                    <a:cubicBezTo>
                      <a:pt x="318707" y="939260"/>
                      <a:pt x="330708" y="894778"/>
                      <a:pt x="346329" y="851535"/>
                    </a:cubicBezTo>
                    <a:cubicBezTo>
                      <a:pt x="356807" y="822293"/>
                      <a:pt x="348520" y="789718"/>
                      <a:pt x="325374" y="769049"/>
                    </a:cubicBezTo>
                    <a:lnTo>
                      <a:pt x="245459" y="697421"/>
                    </a:lnTo>
                    <a:cubicBezTo>
                      <a:pt x="265367" y="657701"/>
                      <a:pt x="287845" y="619411"/>
                      <a:pt x="312801" y="582644"/>
                    </a:cubicBezTo>
                    <a:lnTo>
                      <a:pt x="413480" y="615791"/>
                    </a:lnTo>
                    <a:cubicBezTo>
                      <a:pt x="443008" y="625411"/>
                      <a:pt x="475393" y="616268"/>
                      <a:pt x="495491" y="592646"/>
                    </a:cubicBezTo>
                    <a:cubicBezTo>
                      <a:pt x="525209" y="557498"/>
                      <a:pt x="557879" y="524827"/>
                      <a:pt x="592931" y="495109"/>
                    </a:cubicBezTo>
                    <a:cubicBezTo>
                      <a:pt x="616553" y="475012"/>
                      <a:pt x="625697" y="442627"/>
                      <a:pt x="615982" y="413194"/>
                    </a:cubicBezTo>
                    <a:lnTo>
                      <a:pt x="582835" y="312610"/>
                    </a:lnTo>
                    <a:cubicBezTo>
                      <a:pt x="619506" y="287655"/>
                      <a:pt x="657892" y="265176"/>
                      <a:pt x="697611" y="245269"/>
                    </a:cubicBezTo>
                    <a:lnTo>
                      <a:pt x="769239" y="325184"/>
                    </a:lnTo>
                    <a:cubicBezTo>
                      <a:pt x="790003" y="348234"/>
                      <a:pt x="822579" y="356521"/>
                      <a:pt x="851821" y="346139"/>
                    </a:cubicBezTo>
                    <a:cubicBezTo>
                      <a:pt x="894969" y="330517"/>
                      <a:pt x="939356" y="318516"/>
                      <a:pt x="984504" y="310325"/>
                    </a:cubicBezTo>
                    <a:cubicBezTo>
                      <a:pt x="1014984" y="304800"/>
                      <a:pt x="1039177" y="281368"/>
                      <a:pt x="1045559" y="250984"/>
                    </a:cubicBezTo>
                    <a:lnTo>
                      <a:pt x="1066324" y="152400"/>
                    </a:lnTo>
                    <a:lnTo>
                      <a:pt x="1202531" y="152400"/>
                    </a:lnTo>
                    <a:lnTo>
                      <a:pt x="1223296" y="250984"/>
                    </a:lnTo>
                    <a:cubicBezTo>
                      <a:pt x="1229677" y="281368"/>
                      <a:pt x="1253776" y="304800"/>
                      <a:pt x="1284351" y="310325"/>
                    </a:cubicBezTo>
                    <a:cubicBezTo>
                      <a:pt x="1329500" y="318516"/>
                      <a:pt x="1373981" y="330517"/>
                      <a:pt x="1417225" y="346139"/>
                    </a:cubicBezTo>
                    <a:cubicBezTo>
                      <a:pt x="1446467" y="356616"/>
                      <a:pt x="1479042" y="348329"/>
                      <a:pt x="1499711" y="325184"/>
                    </a:cubicBezTo>
                    <a:lnTo>
                      <a:pt x="1571339" y="245269"/>
                    </a:lnTo>
                    <a:cubicBezTo>
                      <a:pt x="1611059" y="265176"/>
                      <a:pt x="1649349" y="287655"/>
                      <a:pt x="1686116" y="312610"/>
                    </a:cubicBezTo>
                    <a:lnTo>
                      <a:pt x="1652968" y="413290"/>
                    </a:lnTo>
                    <a:cubicBezTo>
                      <a:pt x="1643253" y="442817"/>
                      <a:pt x="1652492" y="475202"/>
                      <a:pt x="1676114" y="495300"/>
                    </a:cubicBezTo>
                    <a:cubicBezTo>
                      <a:pt x="1711261" y="525018"/>
                      <a:pt x="1743932" y="557689"/>
                      <a:pt x="1773650" y="592741"/>
                    </a:cubicBezTo>
                    <a:cubicBezTo>
                      <a:pt x="1793843" y="616268"/>
                      <a:pt x="1826133" y="625316"/>
                      <a:pt x="1855565" y="615791"/>
                    </a:cubicBezTo>
                    <a:lnTo>
                      <a:pt x="1956149" y="582644"/>
                    </a:lnTo>
                    <a:cubicBezTo>
                      <a:pt x="1981105" y="619316"/>
                      <a:pt x="2003584" y="657701"/>
                      <a:pt x="2023491" y="697421"/>
                    </a:cubicBezTo>
                    <a:lnTo>
                      <a:pt x="1943576" y="769049"/>
                    </a:lnTo>
                    <a:cubicBezTo>
                      <a:pt x="1920431" y="789718"/>
                      <a:pt x="1912144" y="822389"/>
                      <a:pt x="1922621" y="851630"/>
                    </a:cubicBezTo>
                    <a:cubicBezTo>
                      <a:pt x="1938242" y="894778"/>
                      <a:pt x="1950244" y="939165"/>
                      <a:pt x="1958435" y="984314"/>
                    </a:cubicBezTo>
                    <a:cubicBezTo>
                      <a:pt x="1963960" y="1014793"/>
                      <a:pt x="1987391" y="1038987"/>
                      <a:pt x="2017776" y="1045369"/>
                    </a:cubicBezTo>
                    <a:lnTo>
                      <a:pt x="2116360" y="1066133"/>
                    </a:lnTo>
                    <a:lnTo>
                      <a:pt x="2116360" y="12023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6" name="Freeform: Shape 884">
                <a:extLst>
                  <a:ext uri="{FF2B5EF4-FFF2-40B4-BE49-F238E27FC236}">
                    <a16:creationId xmlns:a16="http://schemas.microsoft.com/office/drawing/2014/main" id="{68D9C7D1-37AC-478D-AF6C-04086369B76E}"/>
                  </a:ext>
                </a:extLst>
              </p:cNvPr>
              <p:cNvSpPr/>
              <p:nvPr/>
            </p:nvSpPr>
            <p:spPr bwMode="gray">
              <a:xfrm>
                <a:off x="16723961" y="3033807"/>
                <a:ext cx="1371600" cy="1371600"/>
              </a:xfrm>
              <a:custGeom>
                <a:avLst/>
                <a:gdLst>
                  <a:gd name="connsiteX0" fmla="*/ 685800 w 1371600"/>
                  <a:gd name="connsiteY0" fmla="*/ 0 h 1371600"/>
                  <a:gd name="connsiteX1" fmla="*/ 0 w 1371600"/>
                  <a:gd name="connsiteY1" fmla="*/ 685800 h 1371600"/>
                  <a:gd name="connsiteX2" fmla="*/ 685800 w 1371600"/>
                  <a:gd name="connsiteY2" fmla="*/ 1371600 h 1371600"/>
                  <a:gd name="connsiteX3" fmla="*/ 1371600 w 1371600"/>
                  <a:gd name="connsiteY3" fmla="*/ 685800 h 1371600"/>
                  <a:gd name="connsiteX4" fmla="*/ 685800 w 1371600"/>
                  <a:gd name="connsiteY4" fmla="*/ 0 h 1371600"/>
                  <a:gd name="connsiteX5" fmla="*/ 685800 w 1371600"/>
                  <a:gd name="connsiteY5" fmla="*/ 1219200 h 1371600"/>
                  <a:gd name="connsiteX6" fmla="*/ 152400 w 1371600"/>
                  <a:gd name="connsiteY6" fmla="*/ 685800 h 1371600"/>
                  <a:gd name="connsiteX7" fmla="*/ 685800 w 1371600"/>
                  <a:gd name="connsiteY7" fmla="*/ 152400 h 1371600"/>
                  <a:gd name="connsiteX8" fmla="*/ 1219200 w 1371600"/>
                  <a:gd name="connsiteY8" fmla="*/ 685800 h 1371600"/>
                  <a:gd name="connsiteX9" fmla="*/ 685800 w 1371600"/>
                  <a:gd name="connsiteY9" fmla="*/ 1219200 h 137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71600" h="1371600">
                    <a:moveTo>
                      <a:pt x="685800" y="0"/>
                    </a:moveTo>
                    <a:cubicBezTo>
                      <a:pt x="307086" y="0"/>
                      <a:pt x="0" y="306991"/>
                      <a:pt x="0" y="685800"/>
                    </a:cubicBezTo>
                    <a:cubicBezTo>
                      <a:pt x="0" y="1064514"/>
                      <a:pt x="307086" y="1371600"/>
                      <a:pt x="685800" y="1371600"/>
                    </a:cubicBezTo>
                    <a:cubicBezTo>
                      <a:pt x="1064419" y="1371219"/>
                      <a:pt x="1371219" y="1064419"/>
                      <a:pt x="1371600" y="685800"/>
                    </a:cubicBezTo>
                    <a:cubicBezTo>
                      <a:pt x="1371600" y="306991"/>
                      <a:pt x="1064514" y="0"/>
                      <a:pt x="685800" y="0"/>
                    </a:cubicBezTo>
                    <a:close/>
                    <a:moveTo>
                      <a:pt x="685800" y="1219200"/>
                    </a:moveTo>
                    <a:cubicBezTo>
                      <a:pt x="391382" y="1218819"/>
                      <a:pt x="152781" y="980218"/>
                      <a:pt x="152400" y="685800"/>
                    </a:cubicBezTo>
                    <a:cubicBezTo>
                      <a:pt x="152400" y="391192"/>
                      <a:pt x="391192" y="152400"/>
                      <a:pt x="685800" y="152400"/>
                    </a:cubicBezTo>
                    <a:cubicBezTo>
                      <a:pt x="980408" y="152400"/>
                      <a:pt x="1219200" y="391192"/>
                      <a:pt x="1219200" y="685800"/>
                    </a:cubicBezTo>
                    <a:cubicBezTo>
                      <a:pt x="1219200" y="980408"/>
                      <a:pt x="980313" y="1219200"/>
                      <a:pt x="685800" y="1219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7" name="Freeform: Shape 885">
                <a:extLst>
                  <a:ext uri="{FF2B5EF4-FFF2-40B4-BE49-F238E27FC236}">
                    <a16:creationId xmlns:a16="http://schemas.microsoft.com/office/drawing/2014/main" id="{C63B0779-96AA-45E3-9398-A21FAD67E077}"/>
                  </a:ext>
                </a:extLst>
              </p:cNvPr>
              <p:cNvSpPr/>
              <p:nvPr/>
            </p:nvSpPr>
            <p:spPr bwMode="gray">
              <a:xfrm>
                <a:off x="16114361" y="1128807"/>
                <a:ext cx="609600" cy="152400"/>
              </a:xfrm>
              <a:custGeom>
                <a:avLst/>
                <a:gdLst>
                  <a:gd name="connsiteX0" fmla="*/ 0 w 609600"/>
                  <a:gd name="connsiteY0" fmla="*/ 0 h 152400"/>
                  <a:gd name="connsiteX1" fmla="*/ 609600 w 609600"/>
                  <a:gd name="connsiteY1" fmla="*/ 0 h 152400"/>
                  <a:gd name="connsiteX2" fmla="*/ 609600 w 609600"/>
                  <a:gd name="connsiteY2" fmla="*/ 152400 h 152400"/>
                  <a:gd name="connsiteX3" fmla="*/ 0 w 6096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9600" h="152400">
                    <a:moveTo>
                      <a:pt x="0" y="0"/>
                    </a:moveTo>
                    <a:lnTo>
                      <a:pt x="609600" y="0"/>
                    </a:lnTo>
                    <a:lnTo>
                      <a:pt x="6096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8" name="Freeform: Shape 886">
                <a:extLst>
                  <a:ext uri="{FF2B5EF4-FFF2-40B4-BE49-F238E27FC236}">
                    <a16:creationId xmlns:a16="http://schemas.microsoft.com/office/drawing/2014/main" id="{6399D324-099F-4901-BB09-7F20D831274E}"/>
                  </a:ext>
                </a:extLst>
              </p:cNvPr>
              <p:cNvSpPr/>
              <p:nvPr/>
            </p:nvSpPr>
            <p:spPr bwMode="gray">
              <a:xfrm>
                <a:off x="14361665" y="2347912"/>
                <a:ext cx="1752600" cy="1600200"/>
              </a:xfrm>
              <a:custGeom>
                <a:avLst/>
                <a:gdLst>
                  <a:gd name="connsiteX0" fmla="*/ 1746504 w 1752600"/>
                  <a:gd name="connsiteY0" fmla="*/ 1265491 h 1600200"/>
                  <a:gd name="connsiteX1" fmla="*/ 1706404 w 1752600"/>
                  <a:gd name="connsiteY1" fmla="*/ 1225391 h 1600200"/>
                  <a:gd name="connsiteX2" fmla="*/ 1706404 w 1752600"/>
                  <a:gd name="connsiteY2" fmla="*/ 1225391 h 1600200"/>
                  <a:gd name="connsiteX3" fmla="*/ 1173004 w 1752600"/>
                  <a:gd name="connsiteY3" fmla="*/ 996791 h 1600200"/>
                  <a:gd name="connsiteX4" fmla="*/ 1072991 w 1752600"/>
                  <a:gd name="connsiteY4" fmla="*/ 1036701 h 1600200"/>
                  <a:gd name="connsiteX5" fmla="*/ 1066800 w 1752600"/>
                  <a:gd name="connsiteY5" fmla="*/ 1066800 h 1600200"/>
                  <a:gd name="connsiteX6" fmla="*/ 1066800 w 1752600"/>
                  <a:gd name="connsiteY6" fmla="*/ 1219200 h 1600200"/>
                  <a:gd name="connsiteX7" fmla="*/ 152400 w 1752600"/>
                  <a:gd name="connsiteY7" fmla="*/ 1219200 h 1600200"/>
                  <a:gd name="connsiteX8" fmla="*/ 152400 w 1752600"/>
                  <a:gd name="connsiteY8" fmla="*/ 0 h 1600200"/>
                  <a:gd name="connsiteX9" fmla="*/ 0 w 1752600"/>
                  <a:gd name="connsiteY9" fmla="*/ 0 h 1600200"/>
                  <a:gd name="connsiteX10" fmla="*/ 0 w 1752600"/>
                  <a:gd name="connsiteY10" fmla="*/ 1295400 h 1600200"/>
                  <a:gd name="connsiteX11" fmla="*/ 76105 w 1752600"/>
                  <a:gd name="connsiteY11" fmla="*/ 1371600 h 1600200"/>
                  <a:gd name="connsiteX12" fmla="*/ 76200 w 1752600"/>
                  <a:gd name="connsiteY12" fmla="*/ 1371600 h 1600200"/>
                  <a:gd name="connsiteX13" fmla="*/ 1066800 w 1752600"/>
                  <a:gd name="connsiteY13" fmla="*/ 1371600 h 1600200"/>
                  <a:gd name="connsiteX14" fmla="*/ 1066800 w 1752600"/>
                  <a:gd name="connsiteY14" fmla="*/ 1524000 h 1600200"/>
                  <a:gd name="connsiteX15" fmla="*/ 1142905 w 1752600"/>
                  <a:gd name="connsiteY15" fmla="*/ 1600200 h 1600200"/>
                  <a:gd name="connsiteX16" fmla="*/ 1143000 w 1752600"/>
                  <a:gd name="connsiteY16" fmla="*/ 1600200 h 1600200"/>
                  <a:gd name="connsiteX17" fmla="*/ 1173004 w 1752600"/>
                  <a:gd name="connsiteY17" fmla="*/ 1594009 h 1600200"/>
                  <a:gd name="connsiteX18" fmla="*/ 1706404 w 1752600"/>
                  <a:gd name="connsiteY18" fmla="*/ 1365409 h 1600200"/>
                  <a:gd name="connsiteX19" fmla="*/ 1746504 w 1752600"/>
                  <a:gd name="connsiteY19" fmla="*/ 1265491 h 1600200"/>
                  <a:gd name="connsiteX20" fmla="*/ 1219295 w 1752600"/>
                  <a:gd name="connsiteY20" fmla="*/ 1408462 h 1600200"/>
                  <a:gd name="connsiteX21" fmla="*/ 1219295 w 1752600"/>
                  <a:gd name="connsiteY21" fmla="*/ 1182434 h 1600200"/>
                  <a:gd name="connsiteX22" fmla="*/ 1483043 w 1752600"/>
                  <a:gd name="connsiteY22" fmla="*/ 1295495 h 1600200"/>
                  <a:gd name="connsiteX23" fmla="*/ 1219295 w 1752600"/>
                  <a:gd name="connsiteY23" fmla="*/ 1408462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752600" h="1600200">
                    <a:moveTo>
                      <a:pt x="1746504" y="1265491"/>
                    </a:moveTo>
                    <a:cubicBezTo>
                      <a:pt x="1738789" y="1247489"/>
                      <a:pt x="1724406" y="1233106"/>
                      <a:pt x="1706404" y="1225391"/>
                    </a:cubicBezTo>
                    <a:lnTo>
                      <a:pt x="1706404" y="1225391"/>
                    </a:lnTo>
                    <a:lnTo>
                      <a:pt x="1173004" y="996791"/>
                    </a:lnTo>
                    <a:cubicBezTo>
                      <a:pt x="1134332" y="980218"/>
                      <a:pt x="1089565" y="998125"/>
                      <a:pt x="1072991" y="1036701"/>
                    </a:cubicBezTo>
                    <a:cubicBezTo>
                      <a:pt x="1068896" y="1046226"/>
                      <a:pt x="1066800" y="1056418"/>
                      <a:pt x="1066800" y="1066800"/>
                    </a:cubicBezTo>
                    <a:lnTo>
                      <a:pt x="1066800" y="1219200"/>
                    </a:lnTo>
                    <a:lnTo>
                      <a:pt x="152400" y="1219200"/>
                    </a:lnTo>
                    <a:lnTo>
                      <a:pt x="152400" y="0"/>
                    </a:lnTo>
                    <a:lnTo>
                      <a:pt x="0" y="0"/>
                    </a:lnTo>
                    <a:lnTo>
                      <a:pt x="0" y="1295400"/>
                    </a:lnTo>
                    <a:cubicBezTo>
                      <a:pt x="0" y="1337501"/>
                      <a:pt x="34100" y="1371600"/>
                      <a:pt x="76105" y="1371600"/>
                    </a:cubicBezTo>
                    <a:cubicBezTo>
                      <a:pt x="76105" y="1371600"/>
                      <a:pt x="76200" y="1371600"/>
                      <a:pt x="76200" y="1371600"/>
                    </a:cubicBezTo>
                    <a:lnTo>
                      <a:pt x="1066800" y="1371600"/>
                    </a:lnTo>
                    <a:lnTo>
                      <a:pt x="1066800" y="1524000"/>
                    </a:lnTo>
                    <a:cubicBezTo>
                      <a:pt x="1066800" y="1566101"/>
                      <a:pt x="1100804" y="1600200"/>
                      <a:pt x="1142905" y="1600200"/>
                    </a:cubicBezTo>
                    <a:cubicBezTo>
                      <a:pt x="1142905" y="1600200"/>
                      <a:pt x="1143000" y="1600200"/>
                      <a:pt x="1143000" y="1600200"/>
                    </a:cubicBezTo>
                    <a:cubicBezTo>
                      <a:pt x="1153287" y="1600200"/>
                      <a:pt x="1163479" y="1598105"/>
                      <a:pt x="1173004" y="1594009"/>
                    </a:cubicBezTo>
                    <a:lnTo>
                      <a:pt x="1706404" y="1365409"/>
                    </a:lnTo>
                    <a:cubicBezTo>
                      <a:pt x="1745075" y="1348931"/>
                      <a:pt x="1763078" y="1304163"/>
                      <a:pt x="1746504" y="1265491"/>
                    </a:cubicBezTo>
                    <a:close/>
                    <a:moveTo>
                      <a:pt x="1219295" y="1408462"/>
                    </a:moveTo>
                    <a:lnTo>
                      <a:pt x="1219295" y="1182434"/>
                    </a:lnTo>
                    <a:lnTo>
                      <a:pt x="1483043" y="1295495"/>
                    </a:lnTo>
                    <a:lnTo>
                      <a:pt x="1219295" y="140846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819" name="Freeform: Shape 887">
                <a:extLst>
                  <a:ext uri="{FF2B5EF4-FFF2-40B4-BE49-F238E27FC236}">
                    <a16:creationId xmlns:a16="http://schemas.microsoft.com/office/drawing/2014/main" id="{2FFE6C69-1D38-44EA-B26A-04F2B2E9B9DD}"/>
                  </a:ext>
                </a:extLst>
              </p:cNvPr>
              <p:cNvSpPr/>
              <p:nvPr/>
            </p:nvSpPr>
            <p:spPr bwMode="gray">
              <a:xfrm>
                <a:off x="17051144" y="3442144"/>
                <a:ext cx="714375" cy="581025"/>
              </a:xfrm>
              <a:custGeom>
                <a:avLst/>
                <a:gdLst>
                  <a:gd name="connsiteX0" fmla="*/ 604838 w 714375"/>
                  <a:gd name="connsiteY0" fmla="*/ 0 h 581025"/>
                  <a:gd name="connsiteX1" fmla="*/ 277273 w 714375"/>
                  <a:gd name="connsiteY1" fmla="*/ 393097 h 581025"/>
                  <a:gd name="connsiteX2" fmla="*/ 107728 w 714375"/>
                  <a:gd name="connsiteY2" fmla="*/ 223552 h 581025"/>
                  <a:gd name="connsiteX3" fmla="*/ 0 w 714375"/>
                  <a:gd name="connsiteY3" fmla="*/ 331280 h 581025"/>
                  <a:gd name="connsiteX4" fmla="*/ 228600 w 714375"/>
                  <a:gd name="connsiteY4" fmla="*/ 559880 h 581025"/>
                  <a:gd name="connsiteX5" fmla="*/ 282512 w 714375"/>
                  <a:gd name="connsiteY5" fmla="*/ 582168 h 581025"/>
                  <a:gd name="connsiteX6" fmla="*/ 285940 w 714375"/>
                  <a:gd name="connsiteY6" fmla="*/ 582073 h 581025"/>
                  <a:gd name="connsiteX7" fmla="*/ 341090 w 714375"/>
                  <a:gd name="connsiteY7" fmla="*/ 554736 h 581025"/>
                  <a:gd name="connsiteX8" fmla="*/ 722090 w 714375"/>
                  <a:gd name="connsiteY8" fmla="*/ 97536 h 581025"/>
                  <a:gd name="connsiteX9" fmla="*/ 604838 w 714375"/>
                  <a:gd name="connsiteY9" fmla="*/ 0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4375" h="581025">
                    <a:moveTo>
                      <a:pt x="604838" y="0"/>
                    </a:moveTo>
                    <a:lnTo>
                      <a:pt x="277273" y="393097"/>
                    </a:lnTo>
                    <a:lnTo>
                      <a:pt x="107728" y="223552"/>
                    </a:lnTo>
                    <a:lnTo>
                      <a:pt x="0" y="331280"/>
                    </a:lnTo>
                    <a:lnTo>
                      <a:pt x="228600" y="559880"/>
                    </a:lnTo>
                    <a:cubicBezTo>
                      <a:pt x="242888" y="574167"/>
                      <a:pt x="262223" y="582263"/>
                      <a:pt x="282512" y="582168"/>
                    </a:cubicBezTo>
                    <a:cubicBezTo>
                      <a:pt x="283655" y="582168"/>
                      <a:pt x="284797" y="582168"/>
                      <a:pt x="285940" y="582073"/>
                    </a:cubicBezTo>
                    <a:cubicBezTo>
                      <a:pt x="307372" y="581120"/>
                      <a:pt x="327374" y="571214"/>
                      <a:pt x="341090" y="554736"/>
                    </a:cubicBezTo>
                    <a:lnTo>
                      <a:pt x="722090" y="97536"/>
                    </a:lnTo>
                    <a:lnTo>
                      <a:pt x="60483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</p:grpSp>
        <p:sp>
          <p:nvSpPr>
            <p:cNvPr id="820" name="TextBox 16">
              <a:extLst>
                <a:ext uri="{FF2B5EF4-FFF2-40B4-BE49-F238E27FC236}">
                  <a16:creationId xmlns:a16="http://schemas.microsoft.com/office/drawing/2014/main" id="{8BA1783A-0057-4D5B-A0F5-7C67C32A1846}"/>
                </a:ext>
              </a:extLst>
            </p:cNvPr>
            <p:cNvSpPr txBox="1"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7567552" y="1347272"/>
              <a:ext cx="564412" cy="97183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accent1"/>
                  </a:solidFill>
                  <a:cs typeface="Calibri" panose="020F0502020204030204" pitchFamily="34" charset="0"/>
                </a:rPr>
                <a:t>PROCESS EFFICIENCY IN</a:t>
              </a:r>
              <a:br>
                <a:rPr lang="en-GB" sz="400" b="1">
                  <a:solidFill>
                    <a:schemeClr val="accent1"/>
                  </a:solidFill>
                  <a:cs typeface="Calibri" panose="020F0502020204030204" pitchFamily="34" charset="0"/>
                </a:rPr>
              </a:br>
              <a:r>
                <a:rPr lang="en-GB" sz="400" b="1">
                  <a:solidFill>
                    <a:schemeClr val="accent1"/>
                  </a:solidFill>
                  <a:cs typeface="Calibri" panose="020F0502020204030204" pitchFamily="34" charset="0"/>
                </a:rPr>
                <a:t>REAL ESTATE</a:t>
              </a:r>
              <a:endParaRPr lang="en-GB" sz="400" b="1" dirty="0">
                <a:solidFill>
                  <a:schemeClr val="accent1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6A691C5-E231-412B-98A0-E59BD7157EA7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811472" y="926111"/>
            <a:ext cx="933999" cy="511773"/>
            <a:chOff x="6811472" y="975094"/>
            <a:chExt cx="933999" cy="511773"/>
          </a:xfrm>
        </p:grpSpPr>
        <p:grpSp>
          <p:nvGrpSpPr>
            <p:cNvPr id="827" name="Group 793">
              <a:extLst>
                <a:ext uri="{FF2B5EF4-FFF2-40B4-BE49-F238E27FC236}">
                  <a16:creationId xmlns:a16="http://schemas.microsoft.com/office/drawing/2014/main" id="{F89F4090-51A7-482F-8839-DDEEA1023DA4}"/>
                </a:ext>
              </a:extLst>
            </p:cNvPr>
            <p:cNvGrpSpPr/>
            <p:nvPr>
              <p:custDataLst>
                <p:tags r:id="rId59"/>
              </p:custDataLst>
            </p:nvPr>
          </p:nvGrpSpPr>
          <p:grpSpPr bwMode="gray">
            <a:xfrm>
              <a:off x="7095663" y="975094"/>
              <a:ext cx="374971" cy="317318"/>
              <a:chOff x="9583738" y="150813"/>
              <a:chExt cx="3686175" cy="3119438"/>
            </a:xfrm>
            <a:solidFill>
              <a:schemeClr val="accent2"/>
            </a:solidFill>
          </p:grpSpPr>
          <p:sp>
            <p:nvSpPr>
              <p:cNvPr id="828" name="Freeform 5">
                <a:extLst>
                  <a:ext uri="{FF2B5EF4-FFF2-40B4-BE49-F238E27FC236}">
                    <a16:creationId xmlns:a16="http://schemas.microsoft.com/office/drawing/2014/main" id="{BEADC7A2-56A2-4010-AC86-5DE49C8C5C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83738" y="1905001"/>
                <a:ext cx="2422525" cy="1365250"/>
              </a:xfrm>
              <a:custGeom>
                <a:avLst/>
                <a:gdLst>
                  <a:gd name="T0" fmla="*/ 1222 w 1346"/>
                  <a:gd name="T1" fmla="*/ 511 h 758"/>
                  <a:gd name="T2" fmla="*/ 1067 w 1346"/>
                  <a:gd name="T3" fmla="*/ 511 h 758"/>
                  <a:gd name="T4" fmla="*/ 1027 w 1346"/>
                  <a:gd name="T5" fmla="*/ 551 h 758"/>
                  <a:gd name="T6" fmla="*/ 1067 w 1346"/>
                  <a:gd name="T7" fmla="*/ 591 h 758"/>
                  <a:gd name="T8" fmla="*/ 1222 w 1346"/>
                  <a:gd name="T9" fmla="*/ 591 h 758"/>
                  <a:gd name="T10" fmla="*/ 1266 w 1346"/>
                  <a:gd name="T11" fmla="*/ 634 h 758"/>
                  <a:gd name="T12" fmla="*/ 1222 w 1346"/>
                  <a:gd name="T13" fmla="*/ 678 h 758"/>
                  <a:gd name="T14" fmla="*/ 804 w 1346"/>
                  <a:gd name="T15" fmla="*/ 678 h 758"/>
                  <a:gd name="T16" fmla="*/ 642 w 1346"/>
                  <a:gd name="T17" fmla="*/ 602 h 758"/>
                  <a:gd name="T18" fmla="*/ 543 w 1346"/>
                  <a:gd name="T19" fmla="*/ 482 h 758"/>
                  <a:gd name="T20" fmla="*/ 327 w 1346"/>
                  <a:gd name="T21" fmla="*/ 377 h 758"/>
                  <a:gd name="T22" fmla="*/ 327 w 1346"/>
                  <a:gd name="T23" fmla="*/ 141 h 758"/>
                  <a:gd name="T24" fmla="*/ 475 w 1346"/>
                  <a:gd name="T25" fmla="*/ 141 h 758"/>
                  <a:gd name="T26" fmla="*/ 668 w 1346"/>
                  <a:gd name="T27" fmla="*/ 219 h 758"/>
                  <a:gd name="T28" fmla="*/ 884 w 1346"/>
                  <a:gd name="T29" fmla="*/ 427 h 758"/>
                  <a:gd name="T30" fmla="*/ 886 w 1346"/>
                  <a:gd name="T31" fmla="*/ 482 h 758"/>
                  <a:gd name="T32" fmla="*/ 830 w 1346"/>
                  <a:gd name="T33" fmla="*/ 484 h 758"/>
                  <a:gd name="T34" fmla="*/ 661 w 1346"/>
                  <a:gd name="T35" fmla="*/ 329 h 758"/>
                  <a:gd name="T36" fmla="*/ 604 w 1346"/>
                  <a:gd name="T37" fmla="*/ 332 h 758"/>
                  <a:gd name="T38" fmla="*/ 607 w 1346"/>
                  <a:gd name="T39" fmla="*/ 388 h 758"/>
                  <a:gd name="T40" fmla="*/ 776 w 1346"/>
                  <a:gd name="T41" fmla="*/ 543 h 758"/>
                  <a:gd name="T42" fmla="*/ 857 w 1346"/>
                  <a:gd name="T43" fmla="*/ 575 h 758"/>
                  <a:gd name="T44" fmla="*/ 944 w 1346"/>
                  <a:gd name="T45" fmla="*/ 536 h 758"/>
                  <a:gd name="T46" fmla="*/ 939 w 1346"/>
                  <a:gd name="T47" fmla="*/ 370 h 758"/>
                  <a:gd name="T48" fmla="*/ 724 w 1346"/>
                  <a:gd name="T49" fmla="*/ 162 h 758"/>
                  <a:gd name="T50" fmla="*/ 475 w 1346"/>
                  <a:gd name="T51" fmla="*/ 61 h 758"/>
                  <a:gd name="T52" fmla="*/ 320 w 1346"/>
                  <a:gd name="T53" fmla="*/ 61 h 758"/>
                  <a:gd name="T54" fmla="*/ 228 w 1346"/>
                  <a:gd name="T55" fmla="*/ 0 h 758"/>
                  <a:gd name="T56" fmla="*/ 40 w 1346"/>
                  <a:gd name="T57" fmla="*/ 0 h 758"/>
                  <a:gd name="T58" fmla="*/ 0 w 1346"/>
                  <a:gd name="T59" fmla="*/ 40 h 758"/>
                  <a:gd name="T60" fmla="*/ 0 w 1346"/>
                  <a:gd name="T61" fmla="*/ 333 h 758"/>
                  <a:gd name="T62" fmla="*/ 40 w 1346"/>
                  <a:gd name="T63" fmla="*/ 373 h 758"/>
                  <a:gd name="T64" fmla="*/ 80 w 1346"/>
                  <a:gd name="T65" fmla="*/ 333 h 758"/>
                  <a:gd name="T66" fmla="*/ 80 w 1346"/>
                  <a:gd name="T67" fmla="*/ 80 h 758"/>
                  <a:gd name="T68" fmla="*/ 228 w 1346"/>
                  <a:gd name="T69" fmla="*/ 80 h 758"/>
                  <a:gd name="T70" fmla="*/ 247 w 1346"/>
                  <a:gd name="T71" fmla="*/ 99 h 758"/>
                  <a:gd name="T72" fmla="*/ 247 w 1346"/>
                  <a:gd name="T73" fmla="*/ 420 h 758"/>
                  <a:gd name="T74" fmla="*/ 228 w 1346"/>
                  <a:gd name="T75" fmla="*/ 439 h 758"/>
                  <a:gd name="T76" fmla="*/ 187 w 1346"/>
                  <a:gd name="T77" fmla="*/ 439 h 758"/>
                  <a:gd name="T78" fmla="*/ 147 w 1346"/>
                  <a:gd name="T79" fmla="*/ 479 h 758"/>
                  <a:gd name="T80" fmla="*/ 187 w 1346"/>
                  <a:gd name="T81" fmla="*/ 519 h 758"/>
                  <a:gd name="T82" fmla="*/ 228 w 1346"/>
                  <a:gd name="T83" fmla="*/ 519 h 758"/>
                  <a:gd name="T84" fmla="*/ 320 w 1346"/>
                  <a:gd name="T85" fmla="*/ 457 h 758"/>
                  <a:gd name="T86" fmla="*/ 481 w 1346"/>
                  <a:gd name="T87" fmla="*/ 533 h 758"/>
                  <a:gd name="T88" fmla="*/ 581 w 1346"/>
                  <a:gd name="T89" fmla="*/ 653 h 758"/>
                  <a:gd name="T90" fmla="*/ 804 w 1346"/>
                  <a:gd name="T91" fmla="*/ 758 h 758"/>
                  <a:gd name="T92" fmla="*/ 1222 w 1346"/>
                  <a:gd name="T93" fmla="*/ 758 h 758"/>
                  <a:gd name="T94" fmla="*/ 1346 w 1346"/>
                  <a:gd name="T95" fmla="*/ 634 h 758"/>
                  <a:gd name="T96" fmla="*/ 1222 w 1346"/>
                  <a:gd name="T97" fmla="*/ 511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46" h="758">
                    <a:moveTo>
                      <a:pt x="1222" y="511"/>
                    </a:moveTo>
                    <a:cubicBezTo>
                      <a:pt x="1067" y="511"/>
                      <a:pt x="1067" y="511"/>
                      <a:pt x="1067" y="511"/>
                    </a:cubicBezTo>
                    <a:cubicBezTo>
                      <a:pt x="1045" y="511"/>
                      <a:pt x="1027" y="529"/>
                      <a:pt x="1027" y="551"/>
                    </a:cubicBezTo>
                    <a:cubicBezTo>
                      <a:pt x="1027" y="573"/>
                      <a:pt x="1045" y="591"/>
                      <a:pt x="1067" y="591"/>
                    </a:cubicBezTo>
                    <a:cubicBezTo>
                      <a:pt x="1222" y="591"/>
                      <a:pt x="1222" y="591"/>
                      <a:pt x="1222" y="591"/>
                    </a:cubicBezTo>
                    <a:cubicBezTo>
                      <a:pt x="1246" y="591"/>
                      <a:pt x="1266" y="610"/>
                      <a:pt x="1266" y="634"/>
                    </a:cubicBezTo>
                    <a:cubicBezTo>
                      <a:pt x="1266" y="658"/>
                      <a:pt x="1246" y="678"/>
                      <a:pt x="1222" y="678"/>
                    </a:cubicBezTo>
                    <a:cubicBezTo>
                      <a:pt x="804" y="678"/>
                      <a:pt x="804" y="678"/>
                      <a:pt x="804" y="678"/>
                    </a:cubicBezTo>
                    <a:cubicBezTo>
                      <a:pt x="742" y="678"/>
                      <a:pt x="683" y="650"/>
                      <a:pt x="642" y="602"/>
                    </a:cubicBezTo>
                    <a:cubicBezTo>
                      <a:pt x="543" y="482"/>
                      <a:pt x="543" y="482"/>
                      <a:pt x="543" y="482"/>
                    </a:cubicBezTo>
                    <a:cubicBezTo>
                      <a:pt x="489" y="417"/>
                      <a:pt x="411" y="379"/>
                      <a:pt x="327" y="377"/>
                    </a:cubicBezTo>
                    <a:cubicBezTo>
                      <a:pt x="327" y="141"/>
                      <a:pt x="327" y="141"/>
                      <a:pt x="327" y="141"/>
                    </a:cubicBezTo>
                    <a:cubicBezTo>
                      <a:pt x="475" y="141"/>
                      <a:pt x="475" y="141"/>
                      <a:pt x="475" y="141"/>
                    </a:cubicBezTo>
                    <a:cubicBezTo>
                      <a:pt x="547" y="141"/>
                      <a:pt x="616" y="169"/>
                      <a:pt x="668" y="219"/>
                    </a:cubicBezTo>
                    <a:cubicBezTo>
                      <a:pt x="884" y="427"/>
                      <a:pt x="884" y="427"/>
                      <a:pt x="884" y="427"/>
                    </a:cubicBezTo>
                    <a:cubicBezTo>
                      <a:pt x="899" y="442"/>
                      <a:pt x="900" y="467"/>
                      <a:pt x="886" y="482"/>
                    </a:cubicBezTo>
                    <a:cubicBezTo>
                      <a:pt x="871" y="498"/>
                      <a:pt x="846" y="499"/>
                      <a:pt x="830" y="484"/>
                    </a:cubicBezTo>
                    <a:cubicBezTo>
                      <a:pt x="661" y="329"/>
                      <a:pt x="661" y="329"/>
                      <a:pt x="661" y="329"/>
                    </a:cubicBezTo>
                    <a:cubicBezTo>
                      <a:pt x="645" y="314"/>
                      <a:pt x="619" y="315"/>
                      <a:pt x="604" y="332"/>
                    </a:cubicBezTo>
                    <a:cubicBezTo>
                      <a:pt x="589" y="348"/>
                      <a:pt x="590" y="373"/>
                      <a:pt x="607" y="388"/>
                    </a:cubicBezTo>
                    <a:cubicBezTo>
                      <a:pt x="776" y="543"/>
                      <a:pt x="776" y="543"/>
                      <a:pt x="776" y="543"/>
                    </a:cubicBezTo>
                    <a:cubicBezTo>
                      <a:pt x="799" y="564"/>
                      <a:pt x="828" y="575"/>
                      <a:pt x="857" y="575"/>
                    </a:cubicBezTo>
                    <a:cubicBezTo>
                      <a:pt x="889" y="575"/>
                      <a:pt x="921" y="562"/>
                      <a:pt x="944" y="536"/>
                    </a:cubicBezTo>
                    <a:cubicBezTo>
                      <a:pt x="988" y="489"/>
                      <a:pt x="986" y="414"/>
                      <a:pt x="939" y="370"/>
                    </a:cubicBezTo>
                    <a:cubicBezTo>
                      <a:pt x="724" y="162"/>
                      <a:pt x="724" y="162"/>
                      <a:pt x="724" y="162"/>
                    </a:cubicBezTo>
                    <a:cubicBezTo>
                      <a:pt x="657" y="97"/>
                      <a:pt x="568" y="61"/>
                      <a:pt x="475" y="61"/>
                    </a:cubicBezTo>
                    <a:cubicBezTo>
                      <a:pt x="320" y="61"/>
                      <a:pt x="320" y="61"/>
                      <a:pt x="320" y="61"/>
                    </a:cubicBezTo>
                    <a:cubicBezTo>
                      <a:pt x="305" y="25"/>
                      <a:pt x="269" y="0"/>
                      <a:pt x="228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333"/>
                      <a:pt x="0" y="333"/>
                      <a:pt x="0" y="333"/>
                    </a:cubicBezTo>
                    <a:cubicBezTo>
                      <a:pt x="0" y="355"/>
                      <a:pt x="18" y="373"/>
                      <a:pt x="40" y="373"/>
                    </a:cubicBezTo>
                    <a:cubicBezTo>
                      <a:pt x="62" y="373"/>
                      <a:pt x="80" y="355"/>
                      <a:pt x="80" y="333"/>
                    </a:cubicBezTo>
                    <a:cubicBezTo>
                      <a:pt x="80" y="80"/>
                      <a:pt x="80" y="80"/>
                      <a:pt x="80" y="80"/>
                    </a:cubicBezTo>
                    <a:cubicBezTo>
                      <a:pt x="228" y="80"/>
                      <a:pt x="228" y="80"/>
                      <a:pt x="228" y="80"/>
                    </a:cubicBezTo>
                    <a:cubicBezTo>
                      <a:pt x="239" y="80"/>
                      <a:pt x="247" y="89"/>
                      <a:pt x="247" y="99"/>
                    </a:cubicBezTo>
                    <a:cubicBezTo>
                      <a:pt x="247" y="420"/>
                      <a:pt x="247" y="420"/>
                      <a:pt x="247" y="420"/>
                    </a:cubicBezTo>
                    <a:cubicBezTo>
                      <a:pt x="247" y="430"/>
                      <a:pt x="239" y="439"/>
                      <a:pt x="228" y="439"/>
                    </a:cubicBezTo>
                    <a:cubicBezTo>
                      <a:pt x="187" y="439"/>
                      <a:pt x="187" y="439"/>
                      <a:pt x="187" y="439"/>
                    </a:cubicBezTo>
                    <a:cubicBezTo>
                      <a:pt x="165" y="439"/>
                      <a:pt x="147" y="457"/>
                      <a:pt x="147" y="479"/>
                    </a:cubicBezTo>
                    <a:cubicBezTo>
                      <a:pt x="147" y="501"/>
                      <a:pt x="165" y="519"/>
                      <a:pt x="187" y="519"/>
                    </a:cubicBez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70" y="519"/>
                      <a:pt x="306" y="493"/>
                      <a:pt x="320" y="457"/>
                    </a:cubicBezTo>
                    <a:cubicBezTo>
                      <a:pt x="383" y="457"/>
                      <a:pt x="441" y="485"/>
                      <a:pt x="481" y="533"/>
                    </a:cubicBezTo>
                    <a:cubicBezTo>
                      <a:pt x="581" y="653"/>
                      <a:pt x="581" y="653"/>
                      <a:pt x="581" y="653"/>
                    </a:cubicBezTo>
                    <a:cubicBezTo>
                      <a:pt x="636" y="720"/>
                      <a:pt x="718" y="758"/>
                      <a:pt x="804" y="758"/>
                    </a:cubicBezTo>
                    <a:cubicBezTo>
                      <a:pt x="1222" y="758"/>
                      <a:pt x="1222" y="758"/>
                      <a:pt x="1222" y="758"/>
                    </a:cubicBezTo>
                    <a:cubicBezTo>
                      <a:pt x="1290" y="758"/>
                      <a:pt x="1346" y="702"/>
                      <a:pt x="1346" y="634"/>
                    </a:cubicBezTo>
                    <a:cubicBezTo>
                      <a:pt x="1346" y="566"/>
                      <a:pt x="1290" y="511"/>
                      <a:pt x="1222" y="5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29" name="Freeform 6">
                <a:extLst>
                  <a:ext uri="{FF2B5EF4-FFF2-40B4-BE49-F238E27FC236}">
                    <a16:creationId xmlns:a16="http://schemas.microsoft.com/office/drawing/2014/main" id="{FD9B4DA9-CE74-41F4-B5BD-5F8232A6A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47388" y="150813"/>
                <a:ext cx="2422525" cy="1365250"/>
              </a:xfrm>
              <a:custGeom>
                <a:avLst/>
                <a:gdLst>
                  <a:gd name="T0" fmla="*/ 1306 w 1346"/>
                  <a:gd name="T1" fmla="*/ 370 h 758"/>
                  <a:gd name="T2" fmla="*/ 1266 w 1346"/>
                  <a:gd name="T3" fmla="*/ 410 h 758"/>
                  <a:gd name="T4" fmla="*/ 1266 w 1346"/>
                  <a:gd name="T5" fmla="*/ 678 h 758"/>
                  <a:gd name="T6" fmla="*/ 1118 w 1346"/>
                  <a:gd name="T7" fmla="*/ 678 h 758"/>
                  <a:gd name="T8" fmla="*/ 1099 w 1346"/>
                  <a:gd name="T9" fmla="*/ 659 h 758"/>
                  <a:gd name="T10" fmla="*/ 1099 w 1346"/>
                  <a:gd name="T11" fmla="*/ 338 h 758"/>
                  <a:gd name="T12" fmla="*/ 1118 w 1346"/>
                  <a:gd name="T13" fmla="*/ 319 h 758"/>
                  <a:gd name="T14" fmla="*/ 1156 w 1346"/>
                  <a:gd name="T15" fmla="*/ 319 h 758"/>
                  <a:gd name="T16" fmla="*/ 1196 w 1346"/>
                  <a:gd name="T17" fmla="*/ 279 h 758"/>
                  <a:gd name="T18" fmla="*/ 1156 w 1346"/>
                  <a:gd name="T19" fmla="*/ 239 h 758"/>
                  <a:gd name="T20" fmla="*/ 1118 w 1346"/>
                  <a:gd name="T21" fmla="*/ 239 h 758"/>
                  <a:gd name="T22" fmla="*/ 1026 w 1346"/>
                  <a:gd name="T23" fmla="*/ 301 h 758"/>
                  <a:gd name="T24" fmla="*/ 865 w 1346"/>
                  <a:gd name="T25" fmla="*/ 225 h 758"/>
                  <a:gd name="T26" fmla="*/ 765 w 1346"/>
                  <a:gd name="T27" fmla="*/ 105 h 758"/>
                  <a:gd name="T28" fmla="*/ 542 w 1346"/>
                  <a:gd name="T29" fmla="*/ 0 h 758"/>
                  <a:gd name="T30" fmla="*/ 124 w 1346"/>
                  <a:gd name="T31" fmla="*/ 0 h 758"/>
                  <a:gd name="T32" fmla="*/ 0 w 1346"/>
                  <a:gd name="T33" fmla="*/ 124 h 758"/>
                  <a:gd name="T34" fmla="*/ 124 w 1346"/>
                  <a:gd name="T35" fmla="*/ 247 h 758"/>
                  <a:gd name="T36" fmla="*/ 295 w 1346"/>
                  <a:gd name="T37" fmla="*/ 247 h 758"/>
                  <a:gd name="T38" fmla="*/ 335 w 1346"/>
                  <a:gd name="T39" fmla="*/ 207 h 758"/>
                  <a:gd name="T40" fmla="*/ 295 w 1346"/>
                  <a:gd name="T41" fmla="*/ 167 h 758"/>
                  <a:gd name="T42" fmla="*/ 124 w 1346"/>
                  <a:gd name="T43" fmla="*/ 167 h 758"/>
                  <a:gd name="T44" fmla="*/ 80 w 1346"/>
                  <a:gd name="T45" fmla="*/ 124 h 758"/>
                  <a:gd name="T46" fmla="*/ 124 w 1346"/>
                  <a:gd name="T47" fmla="*/ 80 h 758"/>
                  <a:gd name="T48" fmla="*/ 542 w 1346"/>
                  <a:gd name="T49" fmla="*/ 80 h 758"/>
                  <a:gd name="T50" fmla="*/ 704 w 1346"/>
                  <a:gd name="T51" fmla="*/ 156 h 758"/>
                  <a:gd name="T52" fmla="*/ 803 w 1346"/>
                  <a:gd name="T53" fmla="*/ 276 h 758"/>
                  <a:gd name="T54" fmla="*/ 1019 w 1346"/>
                  <a:gd name="T55" fmla="*/ 381 h 758"/>
                  <a:gd name="T56" fmla="*/ 1019 w 1346"/>
                  <a:gd name="T57" fmla="*/ 617 h 758"/>
                  <a:gd name="T58" fmla="*/ 871 w 1346"/>
                  <a:gd name="T59" fmla="*/ 617 h 758"/>
                  <a:gd name="T60" fmla="*/ 678 w 1346"/>
                  <a:gd name="T61" fmla="*/ 539 h 758"/>
                  <a:gd name="T62" fmla="*/ 462 w 1346"/>
                  <a:gd name="T63" fmla="*/ 331 h 758"/>
                  <a:gd name="T64" fmla="*/ 460 w 1346"/>
                  <a:gd name="T65" fmla="*/ 276 h 758"/>
                  <a:gd name="T66" fmla="*/ 516 w 1346"/>
                  <a:gd name="T67" fmla="*/ 274 h 758"/>
                  <a:gd name="T68" fmla="*/ 685 w 1346"/>
                  <a:gd name="T69" fmla="*/ 429 h 758"/>
                  <a:gd name="T70" fmla="*/ 742 w 1346"/>
                  <a:gd name="T71" fmla="*/ 426 h 758"/>
                  <a:gd name="T72" fmla="*/ 739 w 1346"/>
                  <a:gd name="T73" fmla="*/ 370 h 758"/>
                  <a:gd name="T74" fmla="*/ 570 w 1346"/>
                  <a:gd name="T75" fmla="*/ 215 h 758"/>
                  <a:gd name="T76" fmla="*/ 402 w 1346"/>
                  <a:gd name="T77" fmla="*/ 222 h 758"/>
                  <a:gd name="T78" fmla="*/ 407 w 1346"/>
                  <a:gd name="T79" fmla="*/ 388 h 758"/>
                  <a:gd name="T80" fmla="*/ 622 w 1346"/>
                  <a:gd name="T81" fmla="*/ 596 h 758"/>
                  <a:gd name="T82" fmla="*/ 871 w 1346"/>
                  <a:gd name="T83" fmla="*/ 697 h 758"/>
                  <a:gd name="T84" fmla="*/ 1026 w 1346"/>
                  <a:gd name="T85" fmla="*/ 697 h 758"/>
                  <a:gd name="T86" fmla="*/ 1118 w 1346"/>
                  <a:gd name="T87" fmla="*/ 758 h 758"/>
                  <a:gd name="T88" fmla="*/ 1306 w 1346"/>
                  <a:gd name="T89" fmla="*/ 758 h 758"/>
                  <a:gd name="T90" fmla="*/ 1346 w 1346"/>
                  <a:gd name="T91" fmla="*/ 718 h 758"/>
                  <a:gd name="T92" fmla="*/ 1346 w 1346"/>
                  <a:gd name="T93" fmla="*/ 410 h 758"/>
                  <a:gd name="T94" fmla="*/ 1306 w 1346"/>
                  <a:gd name="T95" fmla="*/ 37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46" h="758">
                    <a:moveTo>
                      <a:pt x="1306" y="370"/>
                    </a:moveTo>
                    <a:cubicBezTo>
                      <a:pt x="1284" y="370"/>
                      <a:pt x="1266" y="388"/>
                      <a:pt x="1266" y="410"/>
                    </a:cubicBezTo>
                    <a:cubicBezTo>
                      <a:pt x="1266" y="678"/>
                      <a:pt x="1266" y="678"/>
                      <a:pt x="1266" y="678"/>
                    </a:cubicBezTo>
                    <a:cubicBezTo>
                      <a:pt x="1118" y="678"/>
                      <a:pt x="1118" y="678"/>
                      <a:pt x="1118" y="678"/>
                    </a:cubicBezTo>
                    <a:cubicBezTo>
                      <a:pt x="1107" y="678"/>
                      <a:pt x="1099" y="669"/>
                      <a:pt x="1099" y="659"/>
                    </a:cubicBezTo>
                    <a:cubicBezTo>
                      <a:pt x="1099" y="338"/>
                      <a:pt x="1099" y="338"/>
                      <a:pt x="1099" y="338"/>
                    </a:cubicBezTo>
                    <a:cubicBezTo>
                      <a:pt x="1099" y="328"/>
                      <a:pt x="1107" y="319"/>
                      <a:pt x="1118" y="319"/>
                    </a:cubicBezTo>
                    <a:cubicBezTo>
                      <a:pt x="1156" y="319"/>
                      <a:pt x="1156" y="319"/>
                      <a:pt x="1156" y="319"/>
                    </a:cubicBezTo>
                    <a:cubicBezTo>
                      <a:pt x="1178" y="319"/>
                      <a:pt x="1196" y="301"/>
                      <a:pt x="1196" y="279"/>
                    </a:cubicBezTo>
                    <a:cubicBezTo>
                      <a:pt x="1196" y="257"/>
                      <a:pt x="1178" y="239"/>
                      <a:pt x="1156" y="239"/>
                    </a:cubicBezTo>
                    <a:cubicBezTo>
                      <a:pt x="1118" y="239"/>
                      <a:pt x="1118" y="239"/>
                      <a:pt x="1118" y="239"/>
                    </a:cubicBezTo>
                    <a:cubicBezTo>
                      <a:pt x="1076" y="239"/>
                      <a:pt x="1040" y="265"/>
                      <a:pt x="1026" y="301"/>
                    </a:cubicBezTo>
                    <a:cubicBezTo>
                      <a:pt x="963" y="301"/>
                      <a:pt x="905" y="273"/>
                      <a:pt x="865" y="225"/>
                    </a:cubicBezTo>
                    <a:cubicBezTo>
                      <a:pt x="765" y="105"/>
                      <a:pt x="765" y="105"/>
                      <a:pt x="765" y="105"/>
                    </a:cubicBezTo>
                    <a:cubicBezTo>
                      <a:pt x="710" y="38"/>
                      <a:pt x="628" y="0"/>
                      <a:pt x="542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56" y="0"/>
                      <a:pt x="0" y="56"/>
                      <a:pt x="0" y="124"/>
                    </a:cubicBezTo>
                    <a:cubicBezTo>
                      <a:pt x="0" y="192"/>
                      <a:pt x="56" y="247"/>
                      <a:pt x="124" y="247"/>
                    </a:cubicBezTo>
                    <a:cubicBezTo>
                      <a:pt x="295" y="247"/>
                      <a:pt x="295" y="247"/>
                      <a:pt x="295" y="247"/>
                    </a:cubicBezTo>
                    <a:cubicBezTo>
                      <a:pt x="317" y="247"/>
                      <a:pt x="335" y="229"/>
                      <a:pt x="335" y="207"/>
                    </a:cubicBezTo>
                    <a:cubicBezTo>
                      <a:pt x="335" y="185"/>
                      <a:pt x="317" y="167"/>
                      <a:pt x="295" y="167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00" y="167"/>
                      <a:pt x="80" y="148"/>
                      <a:pt x="80" y="124"/>
                    </a:cubicBezTo>
                    <a:cubicBezTo>
                      <a:pt x="80" y="100"/>
                      <a:pt x="100" y="80"/>
                      <a:pt x="124" y="80"/>
                    </a:cubicBezTo>
                    <a:cubicBezTo>
                      <a:pt x="542" y="80"/>
                      <a:pt x="542" y="80"/>
                      <a:pt x="542" y="80"/>
                    </a:cubicBezTo>
                    <a:cubicBezTo>
                      <a:pt x="604" y="80"/>
                      <a:pt x="663" y="108"/>
                      <a:pt x="704" y="156"/>
                    </a:cubicBezTo>
                    <a:cubicBezTo>
                      <a:pt x="803" y="276"/>
                      <a:pt x="803" y="276"/>
                      <a:pt x="803" y="276"/>
                    </a:cubicBezTo>
                    <a:cubicBezTo>
                      <a:pt x="857" y="341"/>
                      <a:pt x="935" y="378"/>
                      <a:pt x="1019" y="381"/>
                    </a:cubicBezTo>
                    <a:cubicBezTo>
                      <a:pt x="1019" y="617"/>
                      <a:pt x="1019" y="617"/>
                      <a:pt x="1019" y="617"/>
                    </a:cubicBezTo>
                    <a:cubicBezTo>
                      <a:pt x="871" y="617"/>
                      <a:pt x="871" y="617"/>
                      <a:pt x="871" y="617"/>
                    </a:cubicBezTo>
                    <a:cubicBezTo>
                      <a:pt x="799" y="617"/>
                      <a:pt x="730" y="589"/>
                      <a:pt x="678" y="539"/>
                    </a:cubicBezTo>
                    <a:cubicBezTo>
                      <a:pt x="462" y="331"/>
                      <a:pt x="462" y="331"/>
                      <a:pt x="462" y="331"/>
                    </a:cubicBezTo>
                    <a:cubicBezTo>
                      <a:pt x="447" y="316"/>
                      <a:pt x="446" y="291"/>
                      <a:pt x="460" y="276"/>
                    </a:cubicBezTo>
                    <a:cubicBezTo>
                      <a:pt x="475" y="260"/>
                      <a:pt x="500" y="259"/>
                      <a:pt x="516" y="274"/>
                    </a:cubicBezTo>
                    <a:cubicBezTo>
                      <a:pt x="685" y="429"/>
                      <a:pt x="685" y="429"/>
                      <a:pt x="685" y="429"/>
                    </a:cubicBezTo>
                    <a:cubicBezTo>
                      <a:pt x="701" y="444"/>
                      <a:pt x="727" y="443"/>
                      <a:pt x="742" y="426"/>
                    </a:cubicBezTo>
                    <a:cubicBezTo>
                      <a:pt x="757" y="410"/>
                      <a:pt x="756" y="385"/>
                      <a:pt x="739" y="370"/>
                    </a:cubicBezTo>
                    <a:cubicBezTo>
                      <a:pt x="570" y="215"/>
                      <a:pt x="570" y="215"/>
                      <a:pt x="570" y="215"/>
                    </a:cubicBezTo>
                    <a:cubicBezTo>
                      <a:pt x="522" y="170"/>
                      <a:pt x="446" y="173"/>
                      <a:pt x="402" y="222"/>
                    </a:cubicBezTo>
                    <a:cubicBezTo>
                      <a:pt x="358" y="269"/>
                      <a:pt x="360" y="344"/>
                      <a:pt x="407" y="388"/>
                    </a:cubicBezTo>
                    <a:cubicBezTo>
                      <a:pt x="622" y="596"/>
                      <a:pt x="622" y="596"/>
                      <a:pt x="622" y="596"/>
                    </a:cubicBezTo>
                    <a:cubicBezTo>
                      <a:pt x="689" y="661"/>
                      <a:pt x="778" y="697"/>
                      <a:pt x="871" y="697"/>
                    </a:cubicBezTo>
                    <a:cubicBezTo>
                      <a:pt x="1026" y="697"/>
                      <a:pt x="1026" y="697"/>
                      <a:pt x="1026" y="697"/>
                    </a:cubicBezTo>
                    <a:cubicBezTo>
                      <a:pt x="1041" y="733"/>
                      <a:pt x="1077" y="758"/>
                      <a:pt x="1118" y="758"/>
                    </a:cubicBezTo>
                    <a:cubicBezTo>
                      <a:pt x="1306" y="758"/>
                      <a:pt x="1306" y="758"/>
                      <a:pt x="1306" y="758"/>
                    </a:cubicBezTo>
                    <a:cubicBezTo>
                      <a:pt x="1328" y="758"/>
                      <a:pt x="1346" y="740"/>
                      <a:pt x="1346" y="718"/>
                    </a:cubicBezTo>
                    <a:cubicBezTo>
                      <a:pt x="1346" y="410"/>
                      <a:pt x="1346" y="410"/>
                      <a:pt x="1346" y="410"/>
                    </a:cubicBezTo>
                    <a:cubicBezTo>
                      <a:pt x="1346" y="388"/>
                      <a:pt x="1328" y="370"/>
                      <a:pt x="1306" y="3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30" name="Freeform 7">
                <a:extLst>
                  <a:ext uri="{FF2B5EF4-FFF2-40B4-BE49-F238E27FC236}">
                    <a16:creationId xmlns:a16="http://schemas.microsoft.com/office/drawing/2014/main" id="{5E9397A7-303E-47CB-A02D-E18ABDA418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760200" y="2547938"/>
                <a:ext cx="163512" cy="155575"/>
              </a:xfrm>
              <a:custGeom>
                <a:avLst/>
                <a:gdLst>
                  <a:gd name="T0" fmla="*/ 30 w 91"/>
                  <a:gd name="T1" fmla="*/ 10 h 86"/>
                  <a:gd name="T2" fmla="*/ 9 w 91"/>
                  <a:gd name="T3" fmla="*/ 62 h 86"/>
                  <a:gd name="T4" fmla="*/ 45 w 91"/>
                  <a:gd name="T5" fmla="*/ 86 h 86"/>
                  <a:gd name="T6" fmla="*/ 61 w 91"/>
                  <a:gd name="T7" fmla="*/ 83 h 86"/>
                  <a:gd name="T8" fmla="*/ 62 w 91"/>
                  <a:gd name="T9" fmla="*/ 83 h 86"/>
                  <a:gd name="T10" fmla="*/ 82 w 91"/>
                  <a:gd name="T11" fmla="*/ 30 h 86"/>
                  <a:gd name="T12" fmla="*/ 30 w 91"/>
                  <a:gd name="T13" fmla="*/ 1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30" y="10"/>
                    </a:moveTo>
                    <a:cubicBezTo>
                      <a:pt x="9" y="18"/>
                      <a:pt x="0" y="42"/>
                      <a:pt x="9" y="62"/>
                    </a:cubicBezTo>
                    <a:cubicBezTo>
                      <a:pt x="15" y="77"/>
                      <a:pt x="30" y="86"/>
                      <a:pt x="45" y="86"/>
                    </a:cubicBezTo>
                    <a:cubicBezTo>
                      <a:pt x="51" y="86"/>
                      <a:pt x="56" y="85"/>
                      <a:pt x="61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82" y="73"/>
                      <a:pt x="91" y="50"/>
                      <a:pt x="82" y="30"/>
                    </a:cubicBezTo>
                    <a:cubicBezTo>
                      <a:pt x="73" y="9"/>
                      <a:pt x="50" y="0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31" name="Freeform 8">
                <a:extLst>
                  <a:ext uri="{FF2B5EF4-FFF2-40B4-BE49-F238E27FC236}">
                    <a16:creationId xmlns:a16="http://schemas.microsoft.com/office/drawing/2014/main" id="{3A8FAEA1-136D-4E08-93E3-AFE1101E5D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47525" y="2441576"/>
                <a:ext cx="163512" cy="153988"/>
              </a:xfrm>
              <a:custGeom>
                <a:avLst/>
                <a:gdLst>
                  <a:gd name="T0" fmla="*/ 22 w 91"/>
                  <a:gd name="T1" fmla="*/ 13 h 85"/>
                  <a:gd name="T2" fmla="*/ 13 w 91"/>
                  <a:gd name="T3" fmla="*/ 69 h 85"/>
                  <a:gd name="T4" fmla="*/ 45 w 91"/>
                  <a:gd name="T5" fmla="*/ 85 h 85"/>
                  <a:gd name="T6" fmla="*/ 69 w 91"/>
                  <a:gd name="T7" fmla="*/ 77 h 85"/>
                  <a:gd name="T8" fmla="*/ 70 w 91"/>
                  <a:gd name="T9" fmla="*/ 77 h 85"/>
                  <a:gd name="T10" fmla="*/ 78 w 91"/>
                  <a:gd name="T11" fmla="*/ 21 h 85"/>
                  <a:gd name="T12" fmla="*/ 22 w 91"/>
                  <a:gd name="T13" fmla="*/ 1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5">
                    <a:moveTo>
                      <a:pt x="22" y="13"/>
                    </a:moveTo>
                    <a:cubicBezTo>
                      <a:pt x="4" y="26"/>
                      <a:pt x="0" y="51"/>
                      <a:pt x="13" y="69"/>
                    </a:cubicBezTo>
                    <a:cubicBezTo>
                      <a:pt x="21" y="79"/>
                      <a:pt x="33" y="85"/>
                      <a:pt x="45" y="85"/>
                    </a:cubicBezTo>
                    <a:cubicBezTo>
                      <a:pt x="54" y="85"/>
                      <a:pt x="62" y="83"/>
                      <a:pt x="69" y="77"/>
                    </a:cubicBezTo>
                    <a:cubicBezTo>
                      <a:pt x="69" y="77"/>
                      <a:pt x="69" y="77"/>
                      <a:pt x="70" y="77"/>
                    </a:cubicBezTo>
                    <a:cubicBezTo>
                      <a:pt x="87" y="64"/>
                      <a:pt x="91" y="39"/>
                      <a:pt x="78" y="21"/>
                    </a:cubicBezTo>
                    <a:cubicBezTo>
                      <a:pt x="65" y="3"/>
                      <a:pt x="40" y="0"/>
                      <a:pt x="2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45" name="Freeform 9">
                <a:extLst>
                  <a:ext uri="{FF2B5EF4-FFF2-40B4-BE49-F238E27FC236}">
                    <a16:creationId xmlns:a16="http://schemas.microsoft.com/office/drawing/2014/main" id="{F935AF36-8450-4060-B46A-32DB4D7920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558588" y="2617788"/>
                <a:ext cx="155575" cy="152400"/>
              </a:xfrm>
              <a:custGeom>
                <a:avLst/>
                <a:gdLst>
                  <a:gd name="T0" fmla="*/ 35 w 87"/>
                  <a:gd name="T1" fmla="*/ 5 h 84"/>
                  <a:gd name="T2" fmla="*/ 4 w 87"/>
                  <a:gd name="T3" fmla="*/ 51 h 84"/>
                  <a:gd name="T4" fmla="*/ 43 w 87"/>
                  <a:gd name="T5" fmla="*/ 84 h 84"/>
                  <a:gd name="T6" fmla="*/ 51 w 87"/>
                  <a:gd name="T7" fmla="*/ 83 h 84"/>
                  <a:gd name="T8" fmla="*/ 52 w 87"/>
                  <a:gd name="T9" fmla="*/ 83 h 84"/>
                  <a:gd name="T10" fmla="*/ 83 w 87"/>
                  <a:gd name="T11" fmla="*/ 35 h 84"/>
                  <a:gd name="T12" fmla="*/ 35 w 87"/>
                  <a:gd name="T13" fmla="*/ 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84">
                    <a:moveTo>
                      <a:pt x="35" y="5"/>
                    </a:moveTo>
                    <a:cubicBezTo>
                      <a:pt x="14" y="9"/>
                      <a:pt x="0" y="30"/>
                      <a:pt x="4" y="51"/>
                    </a:cubicBezTo>
                    <a:cubicBezTo>
                      <a:pt x="7" y="70"/>
                      <a:pt x="24" y="84"/>
                      <a:pt x="43" y="84"/>
                    </a:cubicBezTo>
                    <a:cubicBezTo>
                      <a:pt x="46" y="84"/>
                      <a:pt x="48" y="84"/>
                      <a:pt x="51" y="83"/>
                    </a:cubicBezTo>
                    <a:cubicBezTo>
                      <a:pt x="51" y="83"/>
                      <a:pt x="51" y="83"/>
                      <a:pt x="52" y="83"/>
                    </a:cubicBezTo>
                    <a:cubicBezTo>
                      <a:pt x="73" y="78"/>
                      <a:pt x="87" y="57"/>
                      <a:pt x="83" y="35"/>
                    </a:cubicBezTo>
                    <a:cubicBezTo>
                      <a:pt x="78" y="14"/>
                      <a:pt x="57" y="0"/>
                      <a:pt x="3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46" name="Freeform 10">
                <a:extLst>
                  <a:ext uri="{FF2B5EF4-FFF2-40B4-BE49-F238E27FC236}">
                    <a16:creationId xmlns:a16="http://schemas.microsoft.com/office/drawing/2014/main" id="{8E5924DB-3B35-438E-99FD-C5E9DA2FFB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2109450" y="2295526"/>
                <a:ext cx="158750" cy="153988"/>
              </a:xfrm>
              <a:custGeom>
                <a:avLst/>
                <a:gdLst>
                  <a:gd name="T0" fmla="*/ 71 w 89"/>
                  <a:gd name="T1" fmla="*/ 15 h 85"/>
                  <a:gd name="T2" fmla="*/ 15 w 89"/>
                  <a:gd name="T3" fmla="*/ 18 h 85"/>
                  <a:gd name="T4" fmla="*/ 14 w 89"/>
                  <a:gd name="T5" fmla="*/ 19 h 85"/>
                  <a:gd name="T6" fmla="*/ 18 w 89"/>
                  <a:gd name="T7" fmla="*/ 76 h 85"/>
                  <a:gd name="T8" fmla="*/ 44 w 89"/>
                  <a:gd name="T9" fmla="*/ 85 h 85"/>
                  <a:gd name="T10" fmla="*/ 74 w 89"/>
                  <a:gd name="T11" fmla="*/ 72 h 85"/>
                  <a:gd name="T12" fmla="*/ 71 w 89"/>
                  <a:gd name="T13" fmla="*/ 15 h 85"/>
                  <a:gd name="T14" fmla="*/ 49 w 89"/>
                  <a:gd name="T15" fmla="*/ 49 h 85"/>
                  <a:gd name="T16" fmla="*/ 45 w 89"/>
                  <a:gd name="T17" fmla="*/ 45 h 85"/>
                  <a:gd name="T18" fmla="*/ 49 w 89"/>
                  <a:gd name="T19" fmla="*/ 4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85">
                    <a:moveTo>
                      <a:pt x="71" y="15"/>
                    </a:moveTo>
                    <a:cubicBezTo>
                      <a:pt x="55" y="0"/>
                      <a:pt x="30" y="2"/>
                      <a:pt x="15" y="18"/>
                    </a:cubicBezTo>
                    <a:cubicBezTo>
                      <a:pt x="15" y="18"/>
                      <a:pt x="14" y="19"/>
                      <a:pt x="14" y="19"/>
                    </a:cubicBezTo>
                    <a:cubicBezTo>
                      <a:pt x="0" y="36"/>
                      <a:pt x="1" y="61"/>
                      <a:pt x="18" y="76"/>
                    </a:cubicBezTo>
                    <a:cubicBezTo>
                      <a:pt x="26" y="82"/>
                      <a:pt x="35" y="85"/>
                      <a:pt x="44" y="85"/>
                    </a:cubicBezTo>
                    <a:cubicBezTo>
                      <a:pt x="55" y="85"/>
                      <a:pt x="66" y="81"/>
                      <a:pt x="74" y="72"/>
                    </a:cubicBezTo>
                    <a:cubicBezTo>
                      <a:pt x="89" y="55"/>
                      <a:pt x="88" y="30"/>
                      <a:pt x="71" y="15"/>
                    </a:cubicBezTo>
                    <a:close/>
                    <a:moveTo>
                      <a:pt x="49" y="49"/>
                    </a:moveTo>
                    <a:cubicBezTo>
                      <a:pt x="45" y="45"/>
                      <a:pt x="45" y="45"/>
                      <a:pt x="45" y="45"/>
                    </a:cubicBezTo>
                    <a:cubicBezTo>
                      <a:pt x="49" y="49"/>
                      <a:pt x="49" y="49"/>
                      <a:pt x="49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47" name="Freeform 11">
                <a:extLst>
                  <a:ext uri="{FF2B5EF4-FFF2-40B4-BE49-F238E27FC236}">
                    <a16:creationId xmlns:a16="http://schemas.microsoft.com/office/drawing/2014/main" id="{63E152B5-5FB5-44D5-B6AB-FE8EE8C978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19000" y="1920876"/>
                <a:ext cx="160337" cy="153988"/>
              </a:xfrm>
              <a:custGeom>
                <a:avLst/>
                <a:gdLst>
                  <a:gd name="T0" fmla="*/ 56 w 89"/>
                  <a:gd name="T1" fmla="*/ 6 h 85"/>
                  <a:gd name="T2" fmla="*/ 6 w 89"/>
                  <a:gd name="T3" fmla="*/ 33 h 85"/>
                  <a:gd name="T4" fmla="*/ 33 w 89"/>
                  <a:gd name="T5" fmla="*/ 83 h 85"/>
                  <a:gd name="T6" fmla="*/ 44 w 89"/>
                  <a:gd name="T7" fmla="*/ 85 h 85"/>
                  <a:gd name="T8" fmla="*/ 83 w 89"/>
                  <a:gd name="T9" fmla="*/ 57 h 85"/>
                  <a:gd name="T10" fmla="*/ 83 w 89"/>
                  <a:gd name="T11" fmla="*/ 56 h 85"/>
                  <a:gd name="T12" fmla="*/ 56 w 89"/>
                  <a:gd name="T13" fmla="*/ 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" h="85">
                    <a:moveTo>
                      <a:pt x="56" y="6"/>
                    </a:moveTo>
                    <a:cubicBezTo>
                      <a:pt x="35" y="0"/>
                      <a:pt x="13" y="12"/>
                      <a:pt x="6" y="33"/>
                    </a:cubicBezTo>
                    <a:cubicBezTo>
                      <a:pt x="0" y="54"/>
                      <a:pt x="12" y="77"/>
                      <a:pt x="33" y="83"/>
                    </a:cubicBezTo>
                    <a:cubicBezTo>
                      <a:pt x="37" y="84"/>
                      <a:pt x="41" y="85"/>
                      <a:pt x="44" y="85"/>
                    </a:cubicBezTo>
                    <a:cubicBezTo>
                      <a:pt x="62" y="85"/>
                      <a:pt x="77" y="74"/>
                      <a:pt x="83" y="57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9" y="35"/>
                      <a:pt x="77" y="13"/>
                      <a:pt x="5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48" name="Freeform 12">
                <a:extLst>
                  <a:ext uri="{FF2B5EF4-FFF2-40B4-BE49-F238E27FC236}">
                    <a16:creationId xmlns:a16="http://schemas.microsoft.com/office/drawing/2014/main" id="{763DE854-7322-434B-A6D5-64439B30DE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61863" y="1495426"/>
                <a:ext cx="157162" cy="150813"/>
              </a:xfrm>
              <a:custGeom>
                <a:avLst/>
                <a:gdLst>
                  <a:gd name="T0" fmla="*/ 83 w 87"/>
                  <a:gd name="T1" fmla="*/ 36 h 84"/>
                  <a:gd name="T2" fmla="*/ 36 w 87"/>
                  <a:gd name="T3" fmla="*/ 5 h 84"/>
                  <a:gd name="T4" fmla="*/ 5 w 87"/>
                  <a:gd name="T5" fmla="*/ 52 h 84"/>
                  <a:gd name="T6" fmla="*/ 44 w 87"/>
                  <a:gd name="T7" fmla="*/ 84 h 84"/>
                  <a:gd name="T8" fmla="*/ 51 w 87"/>
                  <a:gd name="T9" fmla="*/ 83 h 84"/>
                  <a:gd name="T10" fmla="*/ 83 w 87"/>
                  <a:gd name="T11" fmla="*/ 37 h 84"/>
                  <a:gd name="T12" fmla="*/ 83 w 87"/>
                  <a:gd name="T13" fmla="*/ 3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84">
                    <a:moveTo>
                      <a:pt x="83" y="36"/>
                    </a:moveTo>
                    <a:cubicBezTo>
                      <a:pt x="79" y="14"/>
                      <a:pt x="57" y="0"/>
                      <a:pt x="36" y="5"/>
                    </a:cubicBezTo>
                    <a:cubicBezTo>
                      <a:pt x="14" y="9"/>
                      <a:pt x="0" y="30"/>
                      <a:pt x="5" y="52"/>
                    </a:cubicBezTo>
                    <a:cubicBezTo>
                      <a:pt x="8" y="71"/>
                      <a:pt x="25" y="84"/>
                      <a:pt x="44" y="84"/>
                    </a:cubicBezTo>
                    <a:cubicBezTo>
                      <a:pt x="46" y="84"/>
                      <a:pt x="49" y="84"/>
                      <a:pt x="51" y="83"/>
                    </a:cubicBezTo>
                    <a:cubicBezTo>
                      <a:pt x="73" y="80"/>
                      <a:pt x="87" y="59"/>
                      <a:pt x="83" y="37"/>
                    </a:cubicBezTo>
                    <a:cubicBezTo>
                      <a:pt x="83" y="37"/>
                      <a:pt x="83" y="36"/>
                      <a:pt x="8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49" name="Freeform 13">
                <a:extLst>
                  <a:ext uri="{FF2B5EF4-FFF2-40B4-BE49-F238E27FC236}">
                    <a16:creationId xmlns:a16="http://schemas.microsoft.com/office/drawing/2014/main" id="{7C0416B0-9929-452E-87E2-17723FBEE7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66625" y="1714501"/>
                <a:ext cx="149225" cy="147638"/>
              </a:xfrm>
              <a:custGeom>
                <a:avLst/>
                <a:gdLst>
                  <a:gd name="T0" fmla="*/ 45 w 83"/>
                  <a:gd name="T1" fmla="*/ 2 h 82"/>
                  <a:gd name="T2" fmla="*/ 1 w 83"/>
                  <a:gd name="T3" fmla="*/ 38 h 82"/>
                  <a:gd name="T4" fmla="*/ 1 w 83"/>
                  <a:gd name="T5" fmla="*/ 40 h 82"/>
                  <a:gd name="T6" fmla="*/ 39 w 83"/>
                  <a:gd name="T7" fmla="*/ 82 h 82"/>
                  <a:gd name="T8" fmla="*/ 41 w 83"/>
                  <a:gd name="T9" fmla="*/ 82 h 82"/>
                  <a:gd name="T10" fmla="*/ 81 w 83"/>
                  <a:gd name="T11" fmla="*/ 45 h 82"/>
                  <a:gd name="T12" fmla="*/ 45 w 83"/>
                  <a:gd name="T13" fmla="*/ 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82">
                    <a:moveTo>
                      <a:pt x="45" y="2"/>
                    </a:moveTo>
                    <a:cubicBezTo>
                      <a:pt x="23" y="0"/>
                      <a:pt x="3" y="16"/>
                      <a:pt x="1" y="38"/>
                    </a:cubicBezTo>
                    <a:cubicBezTo>
                      <a:pt x="1" y="39"/>
                      <a:pt x="1" y="39"/>
                      <a:pt x="1" y="40"/>
                    </a:cubicBezTo>
                    <a:cubicBezTo>
                      <a:pt x="0" y="62"/>
                      <a:pt x="17" y="81"/>
                      <a:pt x="39" y="82"/>
                    </a:cubicBezTo>
                    <a:cubicBezTo>
                      <a:pt x="40" y="82"/>
                      <a:pt x="40" y="82"/>
                      <a:pt x="41" y="82"/>
                    </a:cubicBezTo>
                    <a:cubicBezTo>
                      <a:pt x="62" y="82"/>
                      <a:pt x="79" y="66"/>
                      <a:pt x="81" y="45"/>
                    </a:cubicBezTo>
                    <a:cubicBezTo>
                      <a:pt x="83" y="23"/>
                      <a:pt x="67" y="4"/>
                      <a:pt x="4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50" name="Freeform 14">
                <a:extLst>
                  <a:ext uri="{FF2B5EF4-FFF2-40B4-BE49-F238E27FC236}">
                    <a16:creationId xmlns:a16="http://schemas.microsoft.com/office/drawing/2014/main" id="{A89EDAB1-0B7F-4F20-AE0F-AA6969514D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231688" y="2117726"/>
                <a:ext cx="165100" cy="157163"/>
              </a:xfrm>
              <a:custGeom>
                <a:avLst/>
                <a:gdLst>
                  <a:gd name="T0" fmla="*/ 66 w 92"/>
                  <a:gd name="T1" fmla="*/ 11 h 87"/>
                  <a:gd name="T2" fmla="*/ 11 w 92"/>
                  <a:gd name="T3" fmla="*/ 26 h 87"/>
                  <a:gd name="T4" fmla="*/ 11 w 92"/>
                  <a:gd name="T5" fmla="*/ 27 h 87"/>
                  <a:gd name="T6" fmla="*/ 27 w 92"/>
                  <a:gd name="T7" fmla="*/ 82 h 87"/>
                  <a:gd name="T8" fmla="*/ 46 w 92"/>
                  <a:gd name="T9" fmla="*/ 87 h 87"/>
                  <a:gd name="T10" fmla="*/ 81 w 92"/>
                  <a:gd name="T11" fmla="*/ 66 h 87"/>
                  <a:gd name="T12" fmla="*/ 46 w 92"/>
                  <a:gd name="T13" fmla="*/ 46 h 87"/>
                  <a:gd name="T14" fmla="*/ 81 w 92"/>
                  <a:gd name="T15" fmla="*/ 66 h 87"/>
                  <a:gd name="T16" fmla="*/ 66 w 92"/>
                  <a:gd name="T17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87">
                    <a:moveTo>
                      <a:pt x="66" y="11"/>
                    </a:moveTo>
                    <a:cubicBezTo>
                      <a:pt x="47" y="0"/>
                      <a:pt x="22" y="7"/>
                      <a:pt x="11" y="26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0" y="47"/>
                      <a:pt x="7" y="71"/>
                      <a:pt x="27" y="82"/>
                    </a:cubicBezTo>
                    <a:cubicBezTo>
                      <a:pt x="33" y="85"/>
                      <a:pt x="40" y="87"/>
                      <a:pt x="46" y="87"/>
                    </a:cubicBezTo>
                    <a:cubicBezTo>
                      <a:pt x="60" y="87"/>
                      <a:pt x="74" y="79"/>
                      <a:pt x="81" y="66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81" y="66"/>
                      <a:pt x="81" y="66"/>
                      <a:pt x="81" y="66"/>
                    </a:cubicBezTo>
                    <a:cubicBezTo>
                      <a:pt x="92" y="47"/>
                      <a:pt x="85" y="22"/>
                      <a:pt x="6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51" name="Freeform 15">
                <a:extLst>
                  <a:ext uri="{FF2B5EF4-FFF2-40B4-BE49-F238E27FC236}">
                    <a16:creationId xmlns:a16="http://schemas.microsoft.com/office/drawing/2014/main" id="{62E8F3E5-6FD7-4DEC-9A04-028D1B110A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98188" y="715963"/>
                <a:ext cx="163512" cy="155575"/>
              </a:xfrm>
              <a:custGeom>
                <a:avLst/>
                <a:gdLst>
                  <a:gd name="T0" fmla="*/ 46 w 91"/>
                  <a:gd name="T1" fmla="*/ 86 h 86"/>
                  <a:gd name="T2" fmla="*/ 64 w 91"/>
                  <a:gd name="T3" fmla="*/ 81 h 86"/>
                  <a:gd name="T4" fmla="*/ 82 w 91"/>
                  <a:gd name="T5" fmla="*/ 28 h 86"/>
                  <a:gd name="T6" fmla="*/ 28 w 91"/>
                  <a:gd name="T7" fmla="*/ 10 h 86"/>
                  <a:gd name="T8" fmla="*/ 28 w 91"/>
                  <a:gd name="T9" fmla="*/ 10 h 86"/>
                  <a:gd name="T10" fmla="*/ 10 w 91"/>
                  <a:gd name="T11" fmla="*/ 63 h 86"/>
                  <a:gd name="T12" fmla="*/ 46 w 91"/>
                  <a:gd name="T13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46" y="86"/>
                    </a:moveTo>
                    <a:cubicBezTo>
                      <a:pt x="52" y="86"/>
                      <a:pt x="58" y="84"/>
                      <a:pt x="64" y="81"/>
                    </a:cubicBezTo>
                    <a:cubicBezTo>
                      <a:pt x="83" y="71"/>
                      <a:pt x="91" y="47"/>
                      <a:pt x="82" y="28"/>
                    </a:cubicBezTo>
                    <a:cubicBezTo>
                      <a:pt x="72" y="8"/>
                      <a:pt x="48" y="0"/>
                      <a:pt x="28" y="1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8" y="20"/>
                      <a:pt x="0" y="44"/>
                      <a:pt x="10" y="63"/>
                    </a:cubicBezTo>
                    <a:cubicBezTo>
                      <a:pt x="17" y="77"/>
                      <a:pt x="31" y="86"/>
                      <a:pt x="46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58" name="Freeform 16">
                <a:extLst>
                  <a:ext uri="{FF2B5EF4-FFF2-40B4-BE49-F238E27FC236}">
                    <a16:creationId xmlns:a16="http://schemas.microsoft.com/office/drawing/2014/main" id="{1CD67E12-5621-4E5A-B1EF-DC4182388B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102975" y="644526"/>
                <a:ext cx="158750" cy="150813"/>
              </a:xfrm>
              <a:custGeom>
                <a:avLst/>
                <a:gdLst>
                  <a:gd name="T0" fmla="*/ 44 w 88"/>
                  <a:gd name="T1" fmla="*/ 84 h 84"/>
                  <a:gd name="T2" fmla="*/ 54 w 88"/>
                  <a:gd name="T3" fmla="*/ 83 h 84"/>
                  <a:gd name="T4" fmla="*/ 83 w 88"/>
                  <a:gd name="T5" fmla="*/ 34 h 84"/>
                  <a:gd name="T6" fmla="*/ 35 w 88"/>
                  <a:gd name="T7" fmla="*/ 5 h 84"/>
                  <a:gd name="T8" fmla="*/ 34 w 88"/>
                  <a:gd name="T9" fmla="*/ 5 h 84"/>
                  <a:gd name="T10" fmla="*/ 5 w 88"/>
                  <a:gd name="T11" fmla="*/ 54 h 84"/>
                  <a:gd name="T12" fmla="*/ 44 w 88"/>
                  <a:gd name="T1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4">
                    <a:moveTo>
                      <a:pt x="44" y="84"/>
                    </a:moveTo>
                    <a:cubicBezTo>
                      <a:pt x="47" y="84"/>
                      <a:pt x="51" y="83"/>
                      <a:pt x="54" y="83"/>
                    </a:cubicBezTo>
                    <a:cubicBezTo>
                      <a:pt x="75" y="77"/>
                      <a:pt x="88" y="56"/>
                      <a:pt x="83" y="34"/>
                    </a:cubicBezTo>
                    <a:cubicBezTo>
                      <a:pt x="78" y="13"/>
                      <a:pt x="56" y="0"/>
                      <a:pt x="35" y="5"/>
                    </a:cubicBezTo>
                    <a:cubicBezTo>
                      <a:pt x="35" y="5"/>
                      <a:pt x="34" y="5"/>
                      <a:pt x="34" y="5"/>
                    </a:cubicBezTo>
                    <a:cubicBezTo>
                      <a:pt x="13" y="11"/>
                      <a:pt x="0" y="32"/>
                      <a:pt x="5" y="54"/>
                    </a:cubicBezTo>
                    <a:cubicBezTo>
                      <a:pt x="10" y="72"/>
                      <a:pt x="26" y="84"/>
                      <a:pt x="44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59" name="Freeform 17">
                <a:extLst>
                  <a:ext uri="{FF2B5EF4-FFF2-40B4-BE49-F238E27FC236}">
                    <a16:creationId xmlns:a16="http://schemas.microsoft.com/office/drawing/2014/main" id="{04FDAB1F-FC7E-456B-94F1-E39FA608FE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715625" y="833438"/>
                <a:ext cx="163512" cy="155575"/>
              </a:xfrm>
              <a:custGeom>
                <a:avLst/>
                <a:gdLst>
                  <a:gd name="T0" fmla="*/ 45 w 91"/>
                  <a:gd name="T1" fmla="*/ 86 h 86"/>
                  <a:gd name="T2" fmla="*/ 70 w 91"/>
                  <a:gd name="T3" fmla="*/ 77 h 86"/>
                  <a:gd name="T4" fmla="*/ 71 w 91"/>
                  <a:gd name="T5" fmla="*/ 76 h 86"/>
                  <a:gd name="T6" fmla="*/ 77 w 91"/>
                  <a:gd name="T7" fmla="*/ 20 h 86"/>
                  <a:gd name="T8" fmla="*/ 21 w 91"/>
                  <a:gd name="T9" fmla="*/ 14 h 86"/>
                  <a:gd name="T10" fmla="*/ 45 w 91"/>
                  <a:gd name="T11" fmla="*/ 46 h 86"/>
                  <a:gd name="T12" fmla="*/ 20 w 91"/>
                  <a:gd name="T13" fmla="*/ 14 h 86"/>
                  <a:gd name="T14" fmla="*/ 14 w 91"/>
                  <a:gd name="T15" fmla="*/ 70 h 86"/>
                  <a:gd name="T16" fmla="*/ 45 w 91"/>
                  <a:gd name="T17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86">
                    <a:moveTo>
                      <a:pt x="45" y="86"/>
                    </a:moveTo>
                    <a:cubicBezTo>
                      <a:pt x="54" y="86"/>
                      <a:pt x="63" y="83"/>
                      <a:pt x="70" y="77"/>
                    </a:cubicBezTo>
                    <a:cubicBezTo>
                      <a:pt x="71" y="76"/>
                      <a:pt x="71" y="76"/>
                      <a:pt x="71" y="76"/>
                    </a:cubicBezTo>
                    <a:cubicBezTo>
                      <a:pt x="88" y="63"/>
                      <a:pt x="91" y="37"/>
                      <a:pt x="77" y="20"/>
                    </a:cubicBezTo>
                    <a:cubicBezTo>
                      <a:pt x="63" y="3"/>
                      <a:pt x="38" y="0"/>
                      <a:pt x="21" y="14"/>
                    </a:cubicBezTo>
                    <a:cubicBezTo>
                      <a:pt x="45" y="46"/>
                      <a:pt x="45" y="46"/>
                      <a:pt x="45" y="46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3" y="28"/>
                      <a:pt x="0" y="53"/>
                      <a:pt x="14" y="70"/>
                    </a:cubicBezTo>
                    <a:cubicBezTo>
                      <a:pt x="22" y="80"/>
                      <a:pt x="34" y="86"/>
                      <a:pt x="45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60" name="Freeform 18">
                <a:extLst>
                  <a:ext uri="{FF2B5EF4-FFF2-40B4-BE49-F238E27FC236}">
                    <a16:creationId xmlns:a16="http://schemas.microsoft.com/office/drawing/2014/main" id="{B9094BA2-15FD-4FE9-9096-2B2C061CCD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72725" y="1371601"/>
                <a:ext cx="157162" cy="153988"/>
              </a:xfrm>
              <a:custGeom>
                <a:avLst/>
                <a:gdLst>
                  <a:gd name="T0" fmla="*/ 35 w 88"/>
                  <a:gd name="T1" fmla="*/ 84 h 85"/>
                  <a:gd name="T2" fmla="*/ 44 w 88"/>
                  <a:gd name="T3" fmla="*/ 85 h 85"/>
                  <a:gd name="T4" fmla="*/ 83 w 88"/>
                  <a:gd name="T5" fmla="*/ 54 h 85"/>
                  <a:gd name="T6" fmla="*/ 55 w 88"/>
                  <a:gd name="T7" fmla="*/ 6 h 85"/>
                  <a:gd name="T8" fmla="*/ 5 w 88"/>
                  <a:gd name="T9" fmla="*/ 34 h 85"/>
                  <a:gd name="T10" fmla="*/ 5 w 88"/>
                  <a:gd name="T11" fmla="*/ 35 h 85"/>
                  <a:gd name="T12" fmla="*/ 35 w 88"/>
                  <a:gd name="T13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5">
                    <a:moveTo>
                      <a:pt x="35" y="84"/>
                    </a:moveTo>
                    <a:cubicBezTo>
                      <a:pt x="38" y="84"/>
                      <a:pt x="41" y="85"/>
                      <a:pt x="44" y="85"/>
                    </a:cubicBezTo>
                    <a:cubicBezTo>
                      <a:pt x="62" y="85"/>
                      <a:pt x="78" y="73"/>
                      <a:pt x="83" y="54"/>
                    </a:cubicBezTo>
                    <a:cubicBezTo>
                      <a:pt x="88" y="33"/>
                      <a:pt x="76" y="12"/>
                      <a:pt x="55" y="6"/>
                    </a:cubicBezTo>
                    <a:cubicBezTo>
                      <a:pt x="33" y="0"/>
                      <a:pt x="11" y="13"/>
                      <a:pt x="5" y="34"/>
                    </a:cubicBezTo>
                    <a:cubicBezTo>
                      <a:pt x="5" y="34"/>
                      <a:pt x="5" y="35"/>
                      <a:pt x="5" y="35"/>
                    </a:cubicBezTo>
                    <a:cubicBezTo>
                      <a:pt x="0" y="57"/>
                      <a:pt x="13" y="78"/>
                      <a:pt x="35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861" name="Freeform 19">
                <a:extLst>
                  <a:ext uri="{FF2B5EF4-FFF2-40B4-BE49-F238E27FC236}">
                    <a16:creationId xmlns:a16="http://schemas.microsoft.com/office/drawing/2014/main" id="{C73B3045-803A-4C16-821F-0139045ABF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47325" y="1592263"/>
                <a:ext cx="147637" cy="147638"/>
              </a:xfrm>
              <a:custGeom>
                <a:avLst/>
                <a:gdLst>
                  <a:gd name="T0" fmla="*/ 40 w 82"/>
                  <a:gd name="T1" fmla="*/ 82 h 82"/>
                  <a:gd name="T2" fmla="*/ 41 w 82"/>
                  <a:gd name="T3" fmla="*/ 82 h 82"/>
                  <a:gd name="T4" fmla="*/ 81 w 82"/>
                  <a:gd name="T5" fmla="*/ 43 h 82"/>
                  <a:gd name="T6" fmla="*/ 43 w 82"/>
                  <a:gd name="T7" fmla="*/ 1 h 82"/>
                  <a:gd name="T8" fmla="*/ 1 w 82"/>
                  <a:gd name="T9" fmla="*/ 39 h 82"/>
                  <a:gd name="T10" fmla="*/ 1 w 82"/>
                  <a:gd name="T11" fmla="*/ 41 h 82"/>
                  <a:gd name="T12" fmla="*/ 40 w 82"/>
                  <a:gd name="T1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82">
                    <a:moveTo>
                      <a:pt x="40" y="82"/>
                    </a:moveTo>
                    <a:cubicBezTo>
                      <a:pt x="40" y="82"/>
                      <a:pt x="40" y="82"/>
                      <a:pt x="41" y="82"/>
                    </a:cubicBezTo>
                    <a:cubicBezTo>
                      <a:pt x="62" y="82"/>
                      <a:pt x="80" y="65"/>
                      <a:pt x="81" y="43"/>
                    </a:cubicBezTo>
                    <a:cubicBezTo>
                      <a:pt x="82" y="21"/>
                      <a:pt x="65" y="3"/>
                      <a:pt x="43" y="1"/>
                    </a:cubicBezTo>
                    <a:cubicBezTo>
                      <a:pt x="21" y="0"/>
                      <a:pt x="2" y="17"/>
                      <a:pt x="1" y="39"/>
                    </a:cubicBezTo>
                    <a:cubicBezTo>
                      <a:pt x="1" y="39"/>
                      <a:pt x="1" y="40"/>
                      <a:pt x="1" y="41"/>
                    </a:cubicBezTo>
                    <a:cubicBezTo>
                      <a:pt x="0" y="63"/>
                      <a:pt x="17" y="81"/>
                      <a:pt x="40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995" name="Freeform 20">
                <a:extLst>
                  <a:ext uri="{FF2B5EF4-FFF2-40B4-BE49-F238E27FC236}">
                    <a16:creationId xmlns:a16="http://schemas.microsoft.com/office/drawing/2014/main" id="{81587D46-BC60-457A-9BD6-57B590F2BD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45750" y="1166813"/>
                <a:ext cx="163512" cy="155575"/>
              </a:xfrm>
              <a:custGeom>
                <a:avLst/>
                <a:gdLst>
                  <a:gd name="T0" fmla="*/ 27 w 91"/>
                  <a:gd name="T1" fmla="*/ 82 h 86"/>
                  <a:gd name="T2" fmla="*/ 45 w 91"/>
                  <a:gd name="T3" fmla="*/ 86 h 86"/>
                  <a:gd name="T4" fmla="*/ 81 w 91"/>
                  <a:gd name="T5" fmla="*/ 64 h 86"/>
                  <a:gd name="T6" fmla="*/ 64 w 91"/>
                  <a:gd name="T7" fmla="*/ 11 h 86"/>
                  <a:gd name="T8" fmla="*/ 10 w 91"/>
                  <a:gd name="T9" fmla="*/ 27 h 86"/>
                  <a:gd name="T10" fmla="*/ 9 w 91"/>
                  <a:gd name="T11" fmla="*/ 29 h 86"/>
                  <a:gd name="T12" fmla="*/ 27 w 91"/>
                  <a:gd name="T13" fmla="*/ 8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27" y="82"/>
                    </a:moveTo>
                    <a:cubicBezTo>
                      <a:pt x="33" y="85"/>
                      <a:pt x="39" y="86"/>
                      <a:pt x="45" y="86"/>
                    </a:cubicBezTo>
                    <a:cubicBezTo>
                      <a:pt x="60" y="86"/>
                      <a:pt x="74" y="78"/>
                      <a:pt x="81" y="64"/>
                    </a:cubicBezTo>
                    <a:cubicBezTo>
                      <a:pt x="91" y="45"/>
                      <a:pt x="83" y="21"/>
                      <a:pt x="64" y="11"/>
                    </a:cubicBezTo>
                    <a:cubicBezTo>
                      <a:pt x="44" y="0"/>
                      <a:pt x="20" y="8"/>
                      <a:pt x="10" y="27"/>
                    </a:cubicBezTo>
                    <a:cubicBezTo>
                      <a:pt x="9" y="29"/>
                      <a:pt x="9" y="29"/>
                      <a:pt x="9" y="29"/>
                    </a:cubicBezTo>
                    <a:cubicBezTo>
                      <a:pt x="0" y="48"/>
                      <a:pt x="8" y="72"/>
                      <a:pt x="27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996" name="Freeform 21">
                <a:extLst>
                  <a:ext uri="{FF2B5EF4-FFF2-40B4-BE49-F238E27FC236}">
                    <a16:creationId xmlns:a16="http://schemas.microsoft.com/office/drawing/2014/main" id="{652BC305-9DA2-48B5-9147-D6A4A8B74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63225" y="987426"/>
                <a:ext cx="161925" cy="152400"/>
              </a:xfrm>
              <a:custGeom>
                <a:avLst/>
                <a:gdLst>
                  <a:gd name="T0" fmla="*/ 21 w 90"/>
                  <a:gd name="T1" fmla="*/ 77 h 85"/>
                  <a:gd name="T2" fmla="*/ 45 w 90"/>
                  <a:gd name="T3" fmla="*/ 85 h 85"/>
                  <a:gd name="T4" fmla="*/ 77 w 90"/>
                  <a:gd name="T5" fmla="*/ 70 h 85"/>
                  <a:gd name="T6" fmla="*/ 71 w 90"/>
                  <a:gd name="T7" fmla="*/ 14 h 85"/>
                  <a:gd name="T8" fmla="*/ 15 w 90"/>
                  <a:gd name="T9" fmla="*/ 20 h 85"/>
                  <a:gd name="T10" fmla="*/ 14 w 90"/>
                  <a:gd name="T11" fmla="*/ 21 h 85"/>
                  <a:gd name="T12" fmla="*/ 21 w 90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85">
                    <a:moveTo>
                      <a:pt x="21" y="77"/>
                    </a:moveTo>
                    <a:cubicBezTo>
                      <a:pt x="28" y="83"/>
                      <a:pt x="37" y="85"/>
                      <a:pt x="45" y="85"/>
                    </a:cubicBezTo>
                    <a:cubicBezTo>
                      <a:pt x="57" y="85"/>
                      <a:pt x="69" y="80"/>
                      <a:pt x="77" y="70"/>
                    </a:cubicBezTo>
                    <a:cubicBezTo>
                      <a:pt x="90" y="53"/>
                      <a:pt x="88" y="28"/>
                      <a:pt x="71" y="14"/>
                    </a:cubicBezTo>
                    <a:cubicBezTo>
                      <a:pt x="54" y="0"/>
                      <a:pt x="29" y="3"/>
                      <a:pt x="15" y="20"/>
                    </a:cubicBezTo>
                    <a:cubicBezTo>
                      <a:pt x="15" y="20"/>
                      <a:pt x="14" y="20"/>
                      <a:pt x="14" y="21"/>
                    </a:cubicBezTo>
                    <a:cubicBezTo>
                      <a:pt x="0" y="38"/>
                      <a:pt x="3" y="63"/>
                      <a:pt x="21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997" name="Freeform 22">
                <a:extLst>
                  <a:ext uri="{FF2B5EF4-FFF2-40B4-BE49-F238E27FC236}">
                    <a16:creationId xmlns:a16="http://schemas.microsoft.com/office/drawing/2014/main" id="{FA2D84BF-1114-4E78-AF11-682CD9A8D3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6850" y="1804988"/>
                <a:ext cx="155575" cy="149225"/>
              </a:xfrm>
              <a:custGeom>
                <a:avLst/>
                <a:gdLst>
                  <a:gd name="T0" fmla="*/ 36 w 86"/>
                  <a:gd name="T1" fmla="*/ 4 h 83"/>
                  <a:gd name="T2" fmla="*/ 4 w 86"/>
                  <a:gd name="T3" fmla="*/ 50 h 83"/>
                  <a:gd name="T4" fmla="*/ 4 w 86"/>
                  <a:gd name="T5" fmla="*/ 51 h 83"/>
                  <a:gd name="T6" fmla="*/ 43 w 86"/>
                  <a:gd name="T7" fmla="*/ 83 h 83"/>
                  <a:gd name="T8" fmla="*/ 50 w 86"/>
                  <a:gd name="T9" fmla="*/ 83 h 83"/>
                  <a:gd name="T10" fmla="*/ 82 w 86"/>
                  <a:gd name="T11" fmla="*/ 36 h 83"/>
                  <a:gd name="T12" fmla="*/ 36 w 86"/>
                  <a:gd name="T13" fmla="*/ 4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83">
                    <a:moveTo>
                      <a:pt x="36" y="4"/>
                    </a:moveTo>
                    <a:cubicBezTo>
                      <a:pt x="14" y="8"/>
                      <a:pt x="0" y="28"/>
                      <a:pt x="4" y="50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70"/>
                      <a:pt x="24" y="83"/>
                      <a:pt x="43" y="83"/>
                    </a:cubicBezTo>
                    <a:cubicBezTo>
                      <a:pt x="45" y="83"/>
                      <a:pt x="48" y="83"/>
                      <a:pt x="50" y="83"/>
                    </a:cubicBezTo>
                    <a:cubicBezTo>
                      <a:pt x="72" y="79"/>
                      <a:pt x="86" y="58"/>
                      <a:pt x="82" y="36"/>
                    </a:cubicBezTo>
                    <a:cubicBezTo>
                      <a:pt x="78" y="14"/>
                      <a:pt x="58" y="0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998" name="Freeform 23">
                <a:extLst>
                  <a:ext uri="{FF2B5EF4-FFF2-40B4-BE49-F238E27FC236}">
                    <a16:creationId xmlns:a16="http://schemas.microsoft.com/office/drawing/2014/main" id="{75C1B6FE-482B-44D2-9182-432AADECCB5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53738" y="1322388"/>
                <a:ext cx="1154112" cy="933450"/>
              </a:xfrm>
              <a:custGeom>
                <a:avLst/>
                <a:gdLst>
                  <a:gd name="T0" fmla="*/ 67 w 641"/>
                  <a:gd name="T1" fmla="*/ 329 h 519"/>
                  <a:gd name="T2" fmla="*/ 68 w 641"/>
                  <a:gd name="T3" fmla="*/ 330 h 519"/>
                  <a:gd name="T4" fmla="*/ 296 w 641"/>
                  <a:gd name="T5" fmla="*/ 510 h 519"/>
                  <a:gd name="T6" fmla="*/ 321 w 641"/>
                  <a:gd name="T7" fmla="*/ 519 h 519"/>
                  <a:gd name="T8" fmla="*/ 346 w 641"/>
                  <a:gd name="T9" fmla="*/ 510 h 519"/>
                  <a:gd name="T10" fmla="*/ 583 w 641"/>
                  <a:gd name="T11" fmla="*/ 321 h 519"/>
                  <a:gd name="T12" fmla="*/ 586 w 641"/>
                  <a:gd name="T13" fmla="*/ 318 h 519"/>
                  <a:gd name="T14" fmla="*/ 641 w 641"/>
                  <a:gd name="T15" fmla="*/ 186 h 519"/>
                  <a:gd name="T16" fmla="*/ 455 w 641"/>
                  <a:gd name="T17" fmla="*/ 0 h 519"/>
                  <a:gd name="T18" fmla="*/ 321 w 641"/>
                  <a:gd name="T19" fmla="*/ 58 h 519"/>
                  <a:gd name="T20" fmla="*/ 186 w 641"/>
                  <a:gd name="T21" fmla="*/ 0 h 519"/>
                  <a:gd name="T22" fmla="*/ 0 w 641"/>
                  <a:gd name="T23" fmla="*/ 186 h 519"/>
                  <a:gd name="T24" fmla="*/ 67 w 641"/>
                  <a:gd name="T25" fmla="*/ 329 h 519"/>
                  <a:gd name="T26" fmla="*/ 186 w 641"/>
                  <a:gd name="T27" fmla="*/ 80 h 519"/>
                  <a:gd name="T28" fmla="*/ 284 w 641"/>
                  <a:gd name="T29" fmla="*/ 146 h 519"/>
                  <a:gd name="T30" fmla="*/ 321 w 641"/>
                  <a:gd name="T31" fmla="*/ 170 h 519"/>
                  <a:gd name="T32" fmla="*/ 358 w 641"/>
                  <a:gd name="T33" fmla="*/ 146 h 519"/>
                  <a:gd name="T34" fmla="*/ 455 w 641"/>
                  <a:gd name="T35" fmla="*/ 80 h 519"/>
                  <a:gd name="T36" fmla="*/ 561 w 641"/>
                  <a:gd name="T37" fmla="*/ 186 h 519"/>
                  <a:gd name="T38" fmla="*/ 531 w 641"/>
                  <a:gd name="T39" fmla="*/ 260 h 519"/>
                  <a:gd name="T40" fmla="*/ 321 w 641"/>
                  <a:gd name="T41" fmla="*/ 428 h 519"/>
                  <a:gd name="T42" fmla="*/ 118 w 641"/>
                  <a:gd name="T43" fmla="*/ 267 h 519"/>
                  <a:gd name="T44" fmla="*/ 80 w 641"/>
                  <a:gd name="T45" fmla="*/ 186 h 519"/>
                  <a:gd name="T46" fmla="*/ 186 w 641"/>
                  <a:gd name="T47" fmla="*/ 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41" h="519">
                    <a:moveTo>
                      <a:pt x="67" y="329"/>
                    </a:moveTo>
                    <a:cubicBezTo>
                      <a:pt x="67" y="329"/>
                      <a:pt x="68" y="329"/>
                      <a:pt x="68" y="330"/>
                    </a:cubicBezTo>
                    <a:cubicBezTo>
                      <a:pt x="296" y="510"/>
                      <a:pt x="296" y="510"/>
                      <a:pt x="296" y="510"/>
                    </a:cubicBezTo>
                    <a:cubicBezTo>
                      <a:pt x="303" y="516"/>
                      <a:pt x="312" y="519"/>
                      <a:pt x="321" y="519"/>
                    </a:cubicBezTo>
                    <a:cubicBezTo>
                      <a:pt x="329" y="519"/>
                      <a:pt x="338" y="516"/>
                      <a:pt x="346" y="510"/>
                    </a:cubicBezTo>
                    <a:cubicBezTo>
                      <a:pt x="583" y="321"/>
                      <a:pt x="583" y="321"/>
                      <a:pt x="583" y="321"/>
                    </a:cubicBezTo>
                    <a:cubicBezTo>
                      <a:pt x="584" y="320"/>
                      <a:pt x="585" y="319"/>
                      <a:pt x="586" y="318"/>
                    </a:cubicBezTo>
                    <a:cubicBezTo>
                      <a:pt x="622" y="283"/>
                      <a:pt x="641" y="236"/>
                      <a:pt x="641" y="186"/>
                    </a:cubicBezTo>
                    <a:cubicBezTo>
                      <a:pt x="641" y="84"/>
                      <a:pt x="558" y="0"/>
                      <a:pt x="455" y="0"/>
                    </a:cubicBezTo>
                    <a:cubicBezTo>
                      <a:pt x="403" y="0"/>
                      <a:pt x="355" y="22"/>
                      <a:pt x="321" y="58"/>
                    </a:cubicBezTo>
                    <a:cubicBezTo>
                      <a:pt x="286" y="22"/>
                      <a:pt x="238" y="0"/>
                      <a:pt x="186" y="0"/>
                    </a:cubicBezTo>
                    <a:cubicBezTo>
                      <a:pt x="84" y="0"/>
                      <a:pt x="0" y="84"/>
                      <a:pt x="0" y="186"/>
                    </a:cubicBezTo>
                    <a:cubicBezTo>
                      <a:pt x="0" y="241"/>
                      <a:pt x="25" y="293"/>
                      <a:pt x="67" y="329"/>
                    </a:cubicBezTo>
                    <a:close/>
                    <a:moveTo>
                      <a:pt x="186" y="80"/>
                    </a:moveTo>
                    <a:cubicBezTo>
                      <a:pt x="229" y="80"/>
                      <a:pt x="267" y="106"/>
                      <a:pt x="284" y="146"/>
                    </a:cubicBezTo>
                    <a:cubicBezTo>
                      <a:pt x="290" y="161"/>
                      <a:pt x="304" y="170"/>
                      <a:pt x="321" y="170"/>
                    </a:cubicBezTo>
                    <a:cubicBezTo>
                      <a:pt x="337" y="170"/>
                      <a:pt x="351" y="161"/>
                      <a:pt x="358" y="146"/>
                    </a:cubicBezTo>
                    <a:cubicBezTo>
                      <a:pt x="374" y="106"/>
                      <a:pt x="412" y="80"/>
                      <a:pt x="455" y="80"/>
                    </a:cubicBezTo>
                    <a:cubicBezTo>
                      <a:pt x="514" y="80"/>
                      <a:pt x="561" y="128"/>
                      <a:pt x="561" y="186"/>
                    </a:cubicBezTo>
                    <a:cubicBezTo>
                      <a:pt x="561" y="214"/>
                      <a:pt x="551" y="240"/>
                      <a:pt x="531" y="260"/>
                    </a:cubicBezTo>
                    <a:cubicBezTo>
                      <a:pt x="321" y="428"/>
                      <a:pt x="321" y="428"/>
                      <a:pt x="321" y="428"/>
                    </a:cubicBezTo>
                    <a:cubicBezTo>
                      <a:pt x="118" y="267"/>
                      <a:pt x="118" y="267"/>
                      <a:pt x="118" y="267"/>
                    </a:cubicBezTo>
                    <a:cubicBezTo>
                      <a:pt x="94" y="247"/>
                      <a:pt x="80" y="218"/>
                      <a:pt x="80" y="186"/>
                    </a:cubicBezTo>
                    <a:cubicBezTo>
                      <a:pt x="80" y="128"/>
                      <a:pt x="128" y="80"/>
                      <a:pt x="18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999" name="Oval 24">
                <a:extLst>
                  <a:ext uri="{FF2B5EF4-FFF2-40B4-BE49-F238E27FC236}">
                    <a16:creationId xmlns:a16="http://schemas.microsoft.com/office/drawing/2014/main" id="{FA639AD5-2533-4E55-9B70-10F8E60C438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583738" y="2695576"/>
                <a:ext cx="144462" cy="144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000" name="Oval 25">
                <a:extLst>
                  <a:ext uri="{FF2B5EF4-FFF2-40B4-BE49-F238E27FC236}">
                    <a16:creationId xmlns:a16="http://schemas.microsoft.com/office/drawing/2014/main" id="{C67A02E6-5335-4454-9CBD-A5C968AF12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3125450" y="581026"/>
                <a:ext cx="144462" cy="144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</p:grpSp>
        <p:sp>
          <p:nvSpPr>
            <p:cNvPr id="1001" name="TextBox 16">
              <a:extLst>
                <a:ext uri="{FF2B5EF4-FFF2-40B4-BE49-F238E27FC236}">
                  <a16:creationId xmlns:a16="http://schemas.microsoft.com/office/drawing/2014/main" id="{D76E30FA-F291-4521-8B0E-978D48B13111}"/>
                </a:ext>
              </a:extLst>
            </p:cNvPr>
            <p:cNvSpPr txBox="1"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6811472" y="1349249"/>
              <a:ext cx="933999" cy="13761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accent2"/>
                  </a:solidFill>
                  <a:cs typeface="Calibri" panose="020F0502020204030204" pitchFamily="34" charset="0"/>
                </a:rPr>
                <a:t>HEALTHY HOUSING</a:t>
              </a:r>
              <a:endParaRPr lang="en-GB" sz="400" b="1" dirty="0">
                <a:solidFill>
                  <a:schemeClr val="accent2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759" name="Textplatzhalter 6">
            <a:extLst>
              <a:ext uri="{FF2B5EF4-FFF2-40B4-BE49-F238E27FC236}">
                <a16:creationId xmlns:a16="http://schemas.microsoft.com/office/drawing/2014/main" id="{A60752AB-9E5D-4215-A6B4-2F57273F435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sp>
        <p:nvSpPr>
          <p:cNvPr id="766" name="Rechteck 816">
            <a:extLst>
              <a:ext uri="{FF2B5EF4-FFF2-40B4-BE49-F238E27FC236}">
                <a16:creationId xmlns:a16="http://schemas.microsoft.com/office/drawing/2014/main" id="{5F5D1EA0-F232-4326-81FD-2056D6EB4C67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7786323" y="4418973"/>
            <a:ext cx="9541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GB" sz="800" dirty="0">
                <a:ea typeface="ＭＳ Ｐゴシック" pitchFamily="80" charset="-128"/>
                <a:cs typeface="Lucida Sans Unicode" pitchFamily="34" charset="0"/>
              </a:rPr>
              <a:t>Heating system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767" name="Rechteck 817">
            <a:extLst>
              <a:ext uri="{FF2B5EF4-FFF2-40B4-BE49-F238E27FC236}">
                <a16:creationId xmlns:a16="http://schemas.microsoft.com/office/drawing/2014/main" id="{7D645BBE-EBFD-446C-8098-F6BA0877B8E7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786323" y="4562989"/>
            <a:ext cx="100557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GB" sz="800" dirty="0">
                <a:ea typeface="ＭＳ Ｐゴシック" pitchFamily="80" charset="-128"/>
                <a:cs typeface="Lucida Sans Unicode" pitchFamily="34" charset="0"/>
              </a:rPr>
              <a:t>Water system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cxnSp>
        <p:nvCxnSpPr>
          <p:cNvPr id="768" name="Gerade Verbindung 781">
            <a:extLst>
              <a:ext uri="{FF2B5EF4-FFF2-40B4-BE49-F238E27FC236}">
                <a16:creationId xmlns:a16="http://schemas.microsoft.com/office/drawing/2014/main" id="{67DFEC6D-3E01-41B9-98BA-C1EA8FCCE3F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7566555" y="4673589"/>
            <a:ext cx="245926" cy="0"/>
          </a:xfrm>
          <a:prstGeom prst="line">
            <a:avLst/>
          </a:prstGeom>
          <a:ln w="19050" cap="rnd">
            <a:solidFill>
              <a:srgbClr val="006699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Gerade Verbindung 782">
            <a:extLst>
              <a:ext uri="{FF2B5EF4-FFF2-40B4-BE49-F238E27FC236}">
                <a16:creationId xmlns:a16="http://schemas.microsoft.com/office/drawing/2014/main" id="{CABABA66-FDF7-4445-8ACC-D93357CE591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7566555" y="4529573"/>
            <a:ext cx="245926" cy="0"/>
          </a:xfrm>
          <a:prstGeom prst="line">
            <a:avLst/>
          </a:prstGeom>
          <a:ln w="19050" cap="rnd">
            <a:solidFill>
              <a:srgbClr val="FF000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4" name="Gruppieren 1463">
            <a:extLst>
              <a:ext uri="{FF2B5EF4-FFF2-40B4-BE49-F238E27FC236}">
                <a16:creationId xmlns:a16="http://schemas.microsoft.com/office/drawing/2014/main" id="{0F04ADF5-297F-457A-851B-09E83AB62CCB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8140230" y="922567"/>
            <a:ext cx="564412" cy="472905"/>
            <a:chOff x="10706674" y="971550"/>
            <a:chExt cx="564412" cy="472905"/>
          </a:xfrm>
        </p:grpSpPr>
        <p:grpSp>
          <p:nvGrpSpPr>
            <p:cNvPr id="1465" name="Group 789">
              <a:extLst>
                <a:ext uri="{FF2B5EF4-FFF2-40B4-BE49-F238E27FC236}">
                  <a16:creationId xmlns:a16="http://schemas.microsoft.com/office/drawing/2014/main" id="{AFB965B4-1AAF-4D12-8206-45765645AEE9}"/>
                </a:ext>
              </a:extLst>
            </p:cNvPr>
            <p:cNvGrpSpPr/>
            <p:nvPr>
              <p:custDataLst>
                <p:tags r:id="rId57"/>
              </p:custDataLst>
            </p:nvPr>
          </p:nvGrpSpPr>
          <p:grpSpPr bwMode="gray">
            <a:xfrm>
              <a:off x="10813540" y="971550"/>
              <a:ext cx="350681" cy="345009"/>
              <a:chOff x="10330395" y="176211"/>
              <a:chExt cx="4867275" cy="4788553"/>
            </a:xfrm>
            <a:solidFill>
              <a:schemeClr val="tx2"/>
            </a:solidFill>
          </p:grpSpPr>
          <p:sp>
            <p:nvSpPr>
              <p:cNvPr id="1467" name="Freeform: Shape 790">
                <a:extLst>
                  <a:ext uri="{FF2B5EF4-FFF2-40B4-BE49-F238E27FC236}">
                    <a16:creationId xmlns:a16="http://schemas.microsoft.com/office/drawing/2014/main" id="{6CA2AA0D-9A67-498E-A9DF-B92EBC7BB94D}"/>
                  </a:ext>
                </a:extLst>
              </p:cNvPr>
              <p:cNvSpPr/>
              <p:nvPr/>
            </p:nvSpPr>
            <p:spPr bwMode="gray">
              <a:xfrm>
                <a:off x="11008194" y="3839526"/>
                <a:ext cx="190498" cy="190498"/>
              </a:xfrm>
              <a:custGeom>
                <a:avLst/>
                <a:gdLst>
                  <a:gd name="connsiteX0" fmla="*/ 190500 w 190500"/>
                  <a:gd name="connsiteY0" fmla="*/ 95250 h 190500"/>
                  <a:gd name="connsiteX1" fmla="*/ 95250 w 190500"/>
                  <a:gd name="connsiteY1" fmla="*/ 190500 h 190500"/>
                  <a:gd name="connsiteX2" fmla="*/ 0 w 190500"/>
                  <a:gd name="connsiteY2" fmla="*/ 95250 h 190500"/>
                  <a:gd name="connsiteX3" fmla="*/ 95250 w 190500"/>
                  <a:gd name="connsiteY3" fmla="*/ 0 h 190500"/>
                  <a:gd name="connsiteX4" fmla="*/ 190500 w 190500"/>
                  <a:gd name="connsiteY4" fmla="*/ 95250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0" h="190500">
                    <a:moveTo>
                      <a:pt x="190500" y="95250"/>
                    </a:moveTo>
                    <a:cubicBezTo>
                      <a:pt x="190500" y="147855"/>
                      <a:pt x="147855" y="190500"/>
                      <a:pt x="95250" y="190500"/>
                    </a:cubicBezTo>
                    <a:cubicBezTo>
                      <a:pt x="42645" y="190500"/>
                      <a:pt x="0" y="147855"/>
                      <a:pt x="0" y="95250"/>
                    </a:cubicBezTo>
                    <a:cubicBezTo>
                      <a:pt x="0" y="42645"/>
                      <a:pt x="42645" y="0"/>
                      <a:pt x="95250" y="0"/>
                    </a:cubicBezTo>
                    <a:cubicBezTo>
                      <a:pt x="147855" y="0"/>
                      <a:pt x="190500" y="42645"/>
                      <a:pt x="190500" y="952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  <p:sp>
            <p:nvSpPr>
              <p:cNvPr id="1468" name="Freeform: Shape 791">
                <a:extLst>
                  <a:ext uri="{FF2B5EF4-FFF2-40B4-BE49-F238E27FC236}">
                    <a16:creationId xmlns:a16="http://schemas.microsoft.com/office/drawing/2014/main" id="{465E29CA-9D89-476F-971D-AD9D0FC539B5}"/>
                  </a:ext>
                </a:extLst>
              </p:cNvPr>
              <p:cNvSpPr/>
              <p:nvPr/>
            </p:nvSpPr>
            <p:spPr bwMode="gray">
              <a:xfrm>
                <a:off x="12420560" y="176211"/>
                <a:ext cx="2390777" cy="2743203"/>
              </a:xfrm>
              <a:custGeom>
                <a:avLst/>
                <a:gdLst>
                  <a:gd name="connsiteX0" fmla="*/ 2302764 w 2390775"/>
                  <a:gd name="connsiteY0" fmla="*/ 844677 h 2743200"/>
                  <a:gd name="connsiteX1" fmla="*/ 1742313 w 2390775"/>
                  <a:gd name="connsiteY1" fmla="*/ 844677 h 2743200"/>
                  <a:gd name="connsiteX2" fmla="*/ 1409033 w 2390775"/>
                  <a:gd name="connsiteY2" fmla="*/ 964692 h 2743200"/>
                  <a:gd name="connsiteX3" fmla="*/ 1409033 w 2390775"/>
                  <a:gd name="connsiteY3" fmla="*/ 939927 h 2743200"/>
                  <a:gd name="connsiteX4" fmla="*/ 1409033 w 2390775"/>
                  <a:gd name="connsiteY4" fmla="*/ 678371 h 2743200"/>
                  <a:gd name="connsiteX5" fmla="*/ 730663 w 2390775"/>
                  <a:gd name="connsiteY5" fmla="*/ 0 h 2743200"/>
                  <a:gd name="connsiteX6" fmla="*/ 95250 w 2390775"/>
                  <a:gd name="connsiteY6" fmla="*/ 0 h 2743200"/>
                  <a:gd name="connsiteX7" fmla="*/ 0 w 2390775"/>
                  <a:gd name="connsiteY7" fmla="*/ 95250 h 2743200"/>
                  <a:gd name="connsiteX8" fmla="*/ 0 w 2390775"/>
                  <a:gd name="connsiteY8" fmla="*/ 356807 h 2743200"/>
                  <a:gd name="connsiteX9" fmla="*/ 678371 w 2390775"/>
                  <a:gd name="connsiteY9" fmla="*/ 1035177 h 2743200"/>
                  <a:gd name="connsiteX10" fmla="*/ 1218533 w 2390775"/>
                  <a:gd name="connsiteY10" fmla="*/ 1035177 h 2743200"/>
                  <a:gd name="connsiteX11" fmla="*/ 1218533 w 2390775"/>
                  <a:gd name="connsiteY11" fmla="*/ 1368457 h 2743200"/>
                  <a:gd name="connsiteX12" fmla="*/ 1218533 w 2390775"/>
                  <a:gd name="connsiteY12" fmla="*/ 1625441 h 2743200"/>
                  <a:gd name="connsiteX13" fmla="*/ 1218533 w 2390775"/>
                  <a:gd name="connsiteY13" fmla="*/ 2000726 h 2743200"/>
                  <a:gd name="connsiteX14" fmla="*/ 1142714 w 2390775"/>
                  <a:gd name="connsiteY14" fmla="*/ 1998250 h 2743200"/>
                  <a:gd name="connsiteX15" fmla="*/ 450628 w 2390775"/>
                  <a:gd name="connsiteY15" fmla="*/ 2221421 h 2743200"/>
                  <a:gd name="connsiteX16" fmla="*/ 429101 w 2390775"/>
                  <a:gd name="connsiteY16" fmla="*/ 2354390 h 2743200"/>
                  <a:gd name="connsiteX17" fmla="*/ 562070 w 2390775"/>
                  <a:gd name="connsiteY17" fmla="*/ 2375916 h 2743200"/>
                  <a:gd name="connsiteX18" fmla="*/ 1142714 w 2390775"/>
                  <a:gd name="connsiteY18" fmla="*/ 2188750 h 2743200"/>
                  <a:gd name="connsiteX19" fmla="*/ 1293019 w 2390775"/>
                  <a:gd name="connsiteY19" fmla="*/ 2200275 h 2743200"/>
                  <a:gd name="connsiteX20" fmla="*/ 1305592 w 2390775"/>
                  <a:gd name="connsiteY20" fmla="*/ 2202180 h 2743200"/>
                  <a:gd name="connsiteX21" fmla="*/ 2012632 w 2390775"/>
                  <a:gd name="connsiteY21" fmla="*/ 2701576 h 2743200"/>
                  <a:gd name="connsiteX22" fmla="*/ 2096072 w 2390775"/>
                  <a:gd name="connsiteY22" fmla="*/ 2750630 h 2743200"/>
                  <a:gd name="connsiteX23" fmla="*/ 2142173 w 2390775"/>
                  <a:gd name="connsiteY23" fmla="*/ 2738628 h 2743200"/>
                  <a:gd name="connsiteX24" fmla="*/ 2179320 w 2390775"/>
                  <a:gd name="connsiteY24" fmla="*/ 2609183 h 2743200"/>
                  <a:gd name="connsiteX25" fmla="*/ 1409129 w 2390775"/>
                  <a:gd name="connsiteY25" fmla="*/ 2028539 h 2743200"/>
                  <a:gd name="connsiteX26" fmla="*/ 1409129 w 2390775"/>
                  <a:gd name="connsiteY26" fmla="*/ 1720596 h 2743200"/>
                  <a:gd name="connsiteX27" fmla="*/ 1874330 w 2390775"/>
                  <a:gd name="connsiteY27" fmla="*/ 1720596 h 2743200"/>
                  <a:gd name="connsiteX28" fmla="*/ 2398109 w 2390775"/>
                  <a:gd name="connsiteY28" fmla="*/ 1196816 h 2743200"/>
                  <a:gd name="connsiteX29" fmla="*/ 2398109 w 2390775"/>
                  <a:gd name="connsiteY29" fmla="*/ 939927 h 2743200"/>
                  <a:gd name="connsiteX30" fmla="*/ 2302764 w 2390775"/>
                  <a:gd name="connsiteY30" fmla="*/ 844677 h 2743200"/>
                  <a:gd name="connsiteX31" fmla="*/ 1218533 w 2390775"/>
                  <a:gd name="connsiteY31" fmla="*/ 844677 h 2743200"/>
                  <a:gd name="connsiteX32" fmla="*/ 678371 w 2390775"/>
                  <a:gd name="connsiteY32" fmla="*/ 844677 h 2743200"/>
                  <a:gd name="connsiteX33" fmla="*/ 190500 w 2390775"/>
                  <a:gd name="connsiteY33" fmla="*/ 356807 h 2743200"/>
                  <a:gd name="connsiteX34" fmla="*/ 190500 w 2390775"/>
                  <a:gd name="connsiteY34" fmla="*/ 190500 h 2743200"/>
                  <a:gd name="connsiteX35" fmla="*/ 730758 w 2390775"/>
                  <a:gd name="connsiteY35" fmla="*/ 190500 h 2743200"/>
                  <a:gd name="connsiteX36" fmla="*/ 1218629 w 2390775"/>
                  <a:gd name="connsiteY36" fmla="*/ 678371 h 2743200"/>
                  <a:gd name="connsiteX37" fmla="*/ 1218533 w 2390775"/>
                  <a:gd name="connsiteY37" fmla="*/ 844677 h 2743200"/>
                  <a:gd name="connsiteX38" fmla="*/ 1218533 w 2390775"/>
                  <a:gd name="connsiteY38" fmla="*/ 844677 h 2743200"/>
                  <a:gd name="connsiteX39" fmla="*/ 2207514 w 2390775"/>
                  <a:gd name="connsiteY39" fmla="*/ 1196912 h 2743200"/>
                  <a:gd name="connsiteX40" fmla="*/ 1874234 w 2390775"/>
                  <a:gd name="connsiteY40" fmla="*/ 1530191 h 2743200"/>
                  <a:gd name="connsiteX41" fmla="*/ 1409033 w 2390775"/>
                  <a:gd name="connsiteY41" fmla="*/ 1530191 h 2743200"/>
                  <a:gd name="connsiteX42" fmla="*/ 1409033 w 2390775"/>
                  <a:gd name="connsiteY42" fmla="*/ 1368457 h 2743200"/>
                  <a:gd name="connsiteX43" fmla="*/ 1742313 w 2390775"/>
                  <a:gd name="connsiteY43" fmla="*/ 1035177 h 2743200"/>
                  <a:gd name="connsiteX44" fmla="*/ 2207514 w 2390775"/>
                  <a:gd name="connsiteY44" fmla="*/ 1035177 h 2743200"/>
                  <a:gd name="connsiteX45" fmla="*/ 2207514 w 2390775"/>
                  <a:gd name="connsiteY45" fmla="*/ 1196912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390775" h="2743200">
                    <a:moveTo>
                      <a:pt x="2302764" y="844677"/>
                    </a:moveTo>
                    <a:lnTo>
                      <a:pt x="1742313" y="844677"/>
                    </a:lnTo>
                    <a:cubicBezTo>
                      <a:pt x="1615821" y="844677"/>
                      <a:pt x="1499616" y="889730"/>
                      <a:pt x="1409033" y="964692"/>
                    </a:cubicBezTo>
                    <a:lnTo>
                      <a:pt x="1409033" y="939927"/>
                    </a:lnTo>
                    <a:lnTo>
                      <a:pt x="1409033" y="678371"/>
                    </a:lnTo>
                    <a:cubicBezTo>
                      <a:pt x="1409033" y="304324"/>
                      <a:pt x="1104710" y="0"/>
                      <a:pt x="730663" y="0"/>
                    </a:cubicBezTo>
                    <a:lnTo>
                      <a:pt x="95250" y="0"/>
                    </a:lnTo>
                    <a:cubicBezTo>
                      <a:pt x="42672" y="0"/>
                      <a:pt x="0" y="42672"/>
                      <a:pt x="0" y="95250"/>
                    </a:cubicBezTo>
                    <a:lnTo>
                      <a:pt x="0" y="356807"/>
                    </a:lnTo>
                    <a:cubicBezTo>
                      <a:pt x="0" y="730853"/>
                      <a:pt x="304324" y="1035177"/>
                      <a:pt x="678371" y="1035177"/>
                    </a:cubicBezTo>
                    <a:lnTo>
                      <a:pt x="1218533" y="1035177"/>
                    </a:lnTo>
                    <a:lnTo>
                      <a:pt x="1218533" y="1368457"/>
                    </a:lnTo>
                    <a:lnTo>
                      <a:pt x="1218533" y="1625441"/>
                    </a:lnTo>
                    <a:lnTo>
                      <a:pt x="1218533" y="2000726"/>
                    </a:lnTo>
                    <a:cubicBezTo>
                      <a:pt x="1193387" y="1999107"/>
                      <a:pt x="1168146" y="1998250"/>
                      <a:pt x="1142714" y="1998250"/>
                    </a:cubicBezTo>
                    <a:cubicBezTo>
                      <a:pt x="892397" y="1998250"/>
                      <a:pt x="653034" y="2075402"/>
                      <a:pt x="450628" y="2221421"/>
                    </a:cubicBezTo>
                    <a:cubicBezTo>
                      <a:pt x="407956" y="2252186"/>
                      <a:pt x="398336" y="2311718"/>
                      <a:pt x="429101" y="2354390"/>
                    </a:cubicBezTo>
                    <a:cubicBezTo>
                      <a:pt x="459867" y="2397062"/>
                      <a:pt x="519398" y="2406682"/>
                      <a:pt x="562070" y="2375916"/>
                    </a:cubicBezTo>
                    <a:cubicBezTo>
                      <a:pt x="731806" y="2253520"/>
                      <a:pt x="932593" y="2188750"/>
                      <a:pt x="1142714" y="2188750"/>
                    </a:cubicBezTo>
                    <a:cubicBezTo>
                      <a:pt x="1193482" y="2188750"/>
                      <a:pt x="1243679" y="2192750"/>
                      <a:pt x="1293019" y="2200275"/>
                    </a:cubicBezTo>
                    <a:cubicBezTo>
                      <a:pt x="1297114" y="2201228"/>
                      <a:pt x="1301306" y="2201799"/>
                      <a:pt x="1305592" y="2202180"/>
                    </a:cubicBezTo>
                    <a:cubicBezTo>
                      <a:pt x="1602010" y="2251424"/>
                      <a:pt x="1864138" y="2433447"/>
                      <a:pt x="2012632" y="2701576"/>
                    </a:cubicBezTo>
                    <a:cubicBezTo>
                      <a:pt x="2030063" y="2733008"/>
                      <a:pt x="2062544" y="2750630"/>
                      <a:pt x="2096072" y="2750630"/>
                    </a:cubicBezTo>
                    <a:cubicBezTo>
                      <a:pt x="2111693" y="2750630"/>
                      <a:pt x="2127504" y="2746820"/>
                      <a:pt x="2142173" y="2738628"/>
                    </a:cubicBezTo>
                    <a:cubicBezTo>
                      <a:pt x="2188178" y="2713101"/>
                      <a:pt x="2204847" y="2655189"/>
                      <a:pt x="2179320" y="2609183"/>
                    </a:cubicBezTo>
                    <a:cubicBezTo>
                      <a:pt x="2014538" y="2311718"/>
                      <a:pt x="1732312" y="2103311"/>
                      <a:pt x="1409129" y="2028539"/>
                    </a:cubicBezTo>
                    <a:lnTo>
                      <a:pt x="1409129" y="1720596"/>
                    </a:lnTo>
                    <a:lnTo>
                      <a:pt x="1874330" y="1720596"/>
                    </a:lnTo>
                    <a:cubicBezTo>
                      <a:pt x="2163128" y="1720596"/>
                      <a:pt x="2398109" y="1485614"/>
                      <a:pt x="2398109" y="1196816"/>
                    </a:cubicBezTo>
                    <a:lnTo>
                      <a:pt x="2398109" y="939927"/>
                    </a:lnTo>
                    <a:cubicBezTo>
                      <a:pt x="2398014" y="887349"/>
                      <a:pt x="2355342" y="844677"/>
                      <a:pt x="2302764" y="844677"/>
                    </a:cubicBezTo>
                    <a:close/>
                    <a:moveTo>
                      <a:pt x="1218533" y="844677"/>
                    </a:moveTo>
                    <a:lnTo>
                      <a:pt x="678371" y="844677"/>
                    </a:lnTo>
                    <a:cubicBezTo>
                      <a:pt x="409385" y="844677"/>
                      <a:pt x="190500" y="625793"/>
                      <a:pt x="190500" y="356807"/>
                    </a:cubicBezTo>
                    <a:lnTo>
                      <a:pt x="190500" y="190500"/>
                    </a:lnTo>
                    <a:lnTo>
                      <a:pt x="730758" y="190500"/>
                    </a:lnTo>
                    <a:cubicBezTo>
                      <a:pt x="999744" y="190500"/>
                      <a:pt x="1218629" y="409385"/>
                      <a:pt x="1218629" y="678371"/>
                    </a:cubicBezTo>
                    <a:lnTo>
                      <a:pt x="1218533" y="844677"/>
                    </a:lnTo>
                    <a:lnTo>
                      <a:pt x="1218533" y="844677"/>
                    </a:lnTo>
                    <a:close/>
                    <a:moveTo>
                      <a:pt x="2207514" y="1196912"/>
                    </a:moveTo>
                    <a:cubicBezTo>
                      <a:pt x="2207514" y="1380649"/>
                      <a:pt x="2057972" y="1530191"/>
                      <a:pt x="1874234" y="1530191"/>
                    </a:cubicBezTo>
                    <a:lnTo>
                      <a:pt x="1409033" y="1530191"/>
                    </a:lnTo>
                    <a:lnTo>
                      <a:pt x="1409033" y="1368457"/>
                    </a:lnTo>
                    <a:cubicBezTo>
                      <a:pt x="1409033" y="1184624"/>
                      <a:pt x="1558576" y="1035177"/>
                      <a:pt x="1742313" y="1035177"/>
                    </a:cubicBezTo>
                    <a:lnTo>
                      <a:pt x="2207514" y="1035177"/>
                    </a:lnTo>
                    <a:lnTo>
                      <a:pt x="2207514" y="119691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  <p:sp>
            <p:nvSpPr>
              <p:cNvPr id="1469" name="Freeform: Shape 792">
                <a:extLst>
                  <a:ext uri="{FF2B5EF4-FFF2-40B4-BE49-F238E27FC236}">
                    <a16:creationId xmlns:a16="http://schemas.microsoft.com/office/drawing/2014/main" id="{52101C66-08F7-4001-ABF5-68C30768BC32}"/>
                  </a:ext>
                </a:extLst>
              </p:cNvPr>
              <p:cNvSpPr/>
              <p:nvPr/>
            </p:nvSpPr>
            <p:spPr bwMode="gray">
              <a:xfrm>
                <a:off x="10330395" y="2612091"/>
                <a:ext cx="4867275" cy="2352673"/>
              </a:xfrm>
              <a:custGeom>
                <a:avLst/>
                <a:gdLst>
                  <a:gd name="connsiteX0" fmla="*/ 4844987 w 4867275"/>
                  <a:gd name="connsiteY0" fmla="*/ 655366 h 2352675"/>
                  <a:gd name="connsiteX1" fmla="*/ 4352735 w 4867275"/>
                  <a:gd name="connsiteY1" fmla="*/ 464676 h 2352675"/>
                  <a:gd name="connsiteX2" fmla="*/ 4351306 w 4867275"/>
                  <a:gd name="connsiteY2" fmla="*/ 465342 h 2352675"/>
                  <a:gd name="connsiteX3" fmla="*/ 3728942 w 4867275"/>
                  <a:gd name="connsiteY3" fmla="*/ 752331 h 2352675"/>
                  <a:gd name="connsiteX4" fmla="*/ 3682365 w 4867275"/>
                  <a:gd name="connsiteY4" fmla="*/ 878727 h 2352675"/>
                  <a:gd name="connsiteX5" fmla="*/ 3808762 w 4867275"/>
                  <a:gd name="connsiteY5" fmla="*/ 925305 h 2352675"/>
                  <a:gd name="connsiteX6" fmla="*/ 4430364 w 4867275"/>
                  <a:gd name="connsiteY6" fmla="*/ 638698 h 2352675"/>
                  <a:gd name="connsiteX7" fmla="*/ 4670679 w 4867275"/>
                  <a:gd name="connsiteY7" fmla="*/ 732328 h 2352675"/>
                  <a:gd name="connsiteX8" fmla="*/ 4577334 w 4867275"/>
                  <a:gd name="connsiteY8" fmla="*/ 973311 h 2352675"/>
                  <a:gd name="connsiteX9" fmla="*/ 3303746 w 4867275"/>
                  <a:gd name="connsiteY9" fmla="*/ 1535667 h 2352675"/>
                  <a:gd name="connsiteX10" fmla="*/ 2675287 w 4867275"/>
                  <a:gd name="connsiteY10" fmla="*/ 1521475 h 2352675"/>
                  <a:gd name="connsiteX11" fmla="*/ 2209133 w 4867275"/>
                  <a:gd name="connsiteY11" fmla="*/ 1289826 h 2352675"/>
                  <a:gd name="connsiteX12" fmla="*/ 1419035 w 4867275"/>
                  <a:gd name="connsiteY12" fmla="*/ 1271919 h 2352675"/>
                  <a:gd name="connsiteX13" fmla="*/ 1409891 w 4867275"/>
                  <a:gd name="connsiteY13" fmla="*/ 1276015 h 2352675"/>
                  <a:gd name="connsiteX14" fmla="*/ 1061466 w 4867275"/>
                  <a:gd name="connsiteY14" fmla="*/ 486869 h 2352675"/>
                  <a:gd name="connsiteX15" fmla="*/ 1545146 w 4867275"/>
                  <a:gd name="connsiteY15" fmla="*/ 273318 h 2352675"/>
                  <a:gd name="connsiteX16" fmla="*/ 2269141 w 4867275"/>
                  <a:gd name="connsiteY16" fmla="*/ 250173 h 2352675"/>
                  <a:gd name="connsiteX17" fmla="*/ 3206591 w 4867275"/>
                  <a:gd name="connsiteY17" fmla="*/ 594406 h 2352675"/>
                  <a:gd name="connsiteX18" fmla="*/ 3308223 w 4867275"/>
                  <a:gd name="connsiteY18" fmla="*/ 807671 h 2352675"/>
                  <a:gd name="connsiteX19" fmla="*/ 3094196 w 4867275"/>
                  <a:gd name="connsiteY19" fmla="*/ 913017 h 2352675"/>
                  <a:gd name="connsiteX20" fmla="*/ 2369249 w 4867275"/>
                  <a:gd name="connsiteY20" fmla="*/ 667844 h 2352675"/>
                  <a:gd name="connsiteX21" fmla="*/ 2248472 w 4867275"/>
                  <a:gd name="connsiteY21" fmla="*/ 727566 h 2352675"/>
                  <a:gd name="connsiteX22" fmla="*/ 2308193 w 4867275"/>
                  <a:gd name="connsiteY22" fmla="*/ 848343 h 2352675"/>
                  <a:gd name="connsiteX23" fmla="*/ 3033141 w 4867275"/>
                  <a:gd name="connsiteY23" fmla="*/ 1093516 h 2352675"/>
                  <a:gd name="connsiteX24" fmla="*/ 3147822 w 4867275"/>
                  <a:gd name="connsiteY24" fmla="*/ 1112471 h 2352675"/>
                  <a:gd name="connsiteX25" fmla="*/ 3488436 w 4867275"/>
                  <a:gd name="connsiteY25" fmla="*/ 869393 h 2352675"/>
                  <a:gd name="connsiteX26" fmla="*/ 3272219 w 4867275"/>
                  <a:gd name="connsiteY26" fmla="*/ 415622 h 2352675"/>
                  <a:gd name="connsiteX27" fmla="*/ 2334768 w 4867275"/>
                  <a:gd name="connsiteY27" fmla="*/ 71389 h 2352675"/>
                  <a:gd name="connsiteX28" fmla="*/ 1468184 w 4867275"/>
                  <a:gd name="connsiteY28" fmla="*/ 99011 h 2352675"/>
                  <a:gd name="connsiteX29" fmla="*/ 981361 w 4867275"/>
                  <a:gd name="connsiteY29" fmla="*/ 313990 h 2352675"/>
                  <a:gd name="connsiteX30" fmla="*/ 866680 w 4867275"/>
                  <a:gd name="connsiteY30" fmla="*/ 220836 h 2352675"/>
                  <a:gd name="connsiteX31" fmla="*/ 682276 w 4867275"/>
                  <a:gd name="connsiteY31" fmla="*/ 225027 h 2352675"/>
                  <a:gd name="connsiteX32" fmla="*/ 57055 w 4867275"/>
                  <a:gd name="connsiteY32" fmla="*/ 498966 h 2352675"/>
                  <a:gd name="connsiteX33" fmla="*/ 0 w 4867275"/>
                  <a:gd name="connsiteY33" fmla="*/ 586215 h 2352675"/>
                  <a:gd name="connsiteX34" fmla="*/ 0 w 4867275"/>
                  <a:gd name="connsiteY34" fmla="*/ 2264329 h 2352675"/>
                  <a:gd name="connsiteX35" fmla="*/ 45339 w 4867275"/>
                  <a:gd name="connsiteY35" fmla="*/ 2345482 h 2352675"/>
                  <a:gd name="connsiteX36" fmla="*/ 95250 w 4867275"/>
                  <a:gd name="connsiteY36" fmla="*/ 2359579 h 2352675"/>
                  <a:gd name="connsiteX37" fmla="*/ 138208 w 4867275"/>
                  <a:gd name="connsiteY37" fmla="*/ 2349388 h 2352675"/>
                  <a:gd name="connsiteX38" fmla="*/ 1352264 w 4867275"/>
                  <a:gd name="connsiteY38" fmla="*/ 1736073 h 2352675"/>
                  <a:gd name="connsiteX39" fmla="*/ 1477328 w 4867275"/>
                  <a:gd name="connsiteY39" fmla="*/ 1603675 h 2352675"/>
                  <a:gd name="connsiteX40" fmla="*/ 1484662 w 4867275"/>
                  <a:gd name="connsiteY40" fmla="*/ 1451275 h 2352675"/>
                  <a:gd name="connsiteX41" fmla="*/ 1495997 w 4867275"/>
                  <a:gd name="connsiteY41" fmla="*/ 1446227 h 2352675"/>
                  <a:gd name="connsiteX42" fmla="*/ 2124456 w 4867275"/>
                  <a:gd name="connsiteY42" fmla="*/ 1460515 h 2352675"/>
                  <a:gd name="connsiteX43" fmla="*/ 2590610 w 4867275"/>
                  <a:gd name="connsiteY43" fmla="*/ 1692163 h 2352675"/>
                  <a:gd name="connsiteX44" fmla="*/ 3380708 w 4867275"/>
                  <a:gd name="connsiteY44" fmla="*/ 1710069 h 2352675"/>
                  <a:gd name="connsiteX45" fmla="*/ 4654296 w 4867275"/>
                  <a:gd name="connsiteY45" fmla="*/ 1147714 h 2352675"/>
                  <a:gd name="connsiteX46" fmla="*/ 4844987 w 4867275"/>
                  <a:gd name="connsiteY46" fmla="*/ 655366 h 2352675"/>
                  <a:gd name="connsiteX47" fmla="*/ 1299591 w 4867275"/>
                  <a:gd name="connsiteY47" fmla="*/ 1534809 h 2352675"/>
                  <a:gd name="connsiteX48" fmla="*/ 1272731 w 4867275"/>
                  <a:gd name="connsiteY48" fmla="*/ 1562908 h 2352675"/>
                  <a:gd name="connsiteX49" fmla="*/ 1268254 w 4867275"/>
                  <a:gd name="connsiteY49" fmla="*/ 1565004 h 2352675"/>
                  <a:gd name="connsiteX50" fmla="*/ 190500 w 4867275"/>
                  <a:gd name="connsiteY50" fmla="*/ 2109453 h 2352675"/>
                  <a:gd name="connsiteX51" fmla="*/ 190500 w 4867275"/>
                  <a:gd name="connsiteY51" fmla="*/ 1692543 h 2352675"/>
                  <a:gd name="connsiteX52" fmla="*/ 472250 w 4867275"/>
                  <a:gd name="connsiteY52" fmla="*/ 1554241 h 2352675"/>
                  <a:gd name="connsiteX53" fmla="*/ 515779 w 4867275"/>
                  <a:gd name="connsiteY53" fmla="*/ 1426701 h 2352675"/>
                  <a:gd name="connsiteX54" fmla="*/ 388334 w 4867275"/>
                  <a:gd name="connsiteY54" fmla="*/ 1383172 h 2352675"/>
                  <a:gd name="connsiteX55" fmla="*/ 190500 w 4867275"/>
                  <a:gd name="connsiteY55" fmla="*/ 1480326 h 2352675"/>
                  <a:gd name="connsiteX56" fmla="*/ 190500 w 4867275"/>
                  <a:gd name="connsiteY56" fmla="*/ 648508 h 2352675"/>
                  <a:gd name="connsiteX57" fmla="*/ 759047 w 4867275"/>
                  <a:gd name="connsiteY57" fmla="*/ 399430 h 2352675"/>
                  <a:gd name="connsiteX58" fmla="*/ 797909 w 4867275"/>
                  <a:gd name="connsiteY58" fmla="*/ 398477 h 2352675"/>
                  <a:gd name="connsiteX59" fmla="*/ 826008 w 4867275"/>
                  <a:gd name="connsiteY59" fmla="*/ 425338 h 2352675"/>
                  <a:gd name="connsiteX60" fmla="*/ 1274064 w 4867275"/>
                  <a:gd name="connsiteY60" fmla="*/ 1440036 h 2352675"/>
                  <a:gd name="connsiteX61" fmla="*/ 1274159 w 4867275"/>
                  <a:gd name="connsiteY61" fmla="*/ 1440322 h 2352675"/>
                  <a:gd name="connsiteX62" fmla="*/ 1298734 w 4867275"/>
                  <a:gd name="connsiteY62" fmla="*/ 1495948 h 2352675"/>
                  <a:gd name="connsiteX63" fmla="*/ 1299591 w 4867275"/>
                  <a:gd name="connsiteY63" fmla="*/ 1534809 h 235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4867275" h="2352675">
                    <a:moveTo>
                      <a:pt x="4844987" y="655366"/>
                    </a:moveTo>
                    <a:cubicBezTo>
                      <a:pt x="4761833" y="467057"/>
                      <a:pt x="4541044" y="381618"/>
                      <a:pt x="4352735" y="464676"/>
                    </a:cubicBezTo>
                    <a:cubicBezTo>
                      <a:pt x="4352258" y="464866"/>
                      <a:pt x="4351782" y="465152"/>
                      <a:pt x="4351306" y="465342"/>
                    </a:cubicBezTo>
                    <a:lnTo>
                      <a:pt x="3728942" y="752331"/>
                    </a:lnTo>
                    <a:cubicBezTo>
                      <a:pt x="3681127" y="774333"/>
                      <a:pt x="3660267" y="830912"/>
                      <a:pt x="3682365" y="878727"/>
                    </a:cubicBezTo>
                    <a:cubicBezTo>
                      <a:pt x="3704368" y="926543"/>
                      <a:pt x="3760946" y="947308"/>
                      <a:pt x="3808762" y="925305"/>
                    </a:cubicBezTo>
                    <a:lnTo>
                      <a:pt x="4430364" y="638698"/>
                    </a:lnTo>
                    <a:cubicBezTo>
                      <a:pt x="4522375" y="598502"/>
                      <a:pt x="4630103" y="640412"/>
                      <a:pt x="4670679" y="732328"/>
                    </a:cubicBezTo>
                    <a:cubicBezTo>
                      <a:pt x="4711351" y="824530"/>
                      <a:pt x="4669441" y="932639"/>
                      <a:pt x="4577334" y="973311"/>
                    </a:cubicBezTo>
                    <a:lnTo>
                      <a:pt x="3303746" y="1535667"/>
                    </a:lnTo>
                    <a:cubicBezTo>
                      <a:pt x="3101912" y="1624821"/>
                      <a:pt x="2872931" y="1619582"/>
                      <a:pt x="2675287" y="1521475"/>
                    </a:cubicBezTo>
                    <a:lnTo>
                      <a:pt x="2209133" y="1289826"/>
                    </a:lnTo>
                    <a:cubicBezTo>
                      <a:pt x="1960721" y="1166383"/>
                      <a:pt x="1672685" y="1159906"/>
                      <a:pt x="1419035" y="1271919"/>
                    </a:cubicBezTo>
                    <a:lnTo>
                      <a:pt x="1409891" y="1276015"/>
                    </a:lnTo>
                    <a:lnTo>
                      <a:pt x="1061466" y="486869"/>
                    </a:lnTo>
                    <a:lnTo>
                      <a:pt x="1545146" y="273318"/>
                    </a:lnTo>
                    <a:cubicBezTo>
                      <a:pt x="1775555" y="171591"/>
                      <a:pt x="2032730" y="163400"/>
                      <a:pt x="2269141" y="250173"/>
                    </a:cubicBezTo>
                    <a:lnTo>
                      <a:pt x="3206591" y="594406"/>
                    </a:lnTo>
                    <a:cubicBezTo>
                      <a:pt x="3292126" y="625839"/>
                      <a:pt x="3337751" y="721470"/>
                      <a:pt x="3308223" y="807671"/>
                    </a:cubicBezTo>
                    <a:cubicBezTo>
                      <a:pt x="3278220" y="895491"/>
                      <a:pt x="3182207" y="942735"/>
                      <a:pt x="3094196" y="913017"/>
                    </a:cubicBezTo>
                    <a:lnTo>
                      <a:pt x="2369249" y="667844"/>
                    </a:lnTo>
                    <a:cubicBezTo>
                      <a:pt x="2319433" y="650985"/>
                      <a:pt x="2265331" y="677750"/>
                      <a:pt x="2248472" y="727566"/>
                    </a:cubicBezTo>
                    <a:cubicBezTo>
                      <a:pt x="2231612" y="777382"/>
                      <a:pt x="2258378" y="831483"/>
                      <a:pt x="2308193" y="848343"/>
                    </a:cubicBezTo>
                    <a:lnTo>
                      <a:pt x="3033141" y="1093516"/>
                    </a:lnTo>
                    <a:cubicBezTo>
                      <a:pt x="3071051" y="1106375"/>
                      <a:pt x="3109722" y="1112471"/>
                      <a:pt x="3147822" y="1112471"/>
                    </a:cubicBezTo>
                    <a:cubicBezTo>
                      <a:pt x="3297365" y="1112471"/>
                      <a:pt x="3437478" y="1018364"/>
                      <a:pt x="3488436" y="869393"/>
                    </a:cubicBezTo>
                    <a:cubicBezTo>
                      <a:pt x="3551206" y="686037"/>
                      <a:pt x="3454146" y="482392"/>
                      <a:pt x="3272219" y="415622"/>
                    </a:cubicBezTo>
                    <a:lnTo>
                      <a:pt x="2334768" y="71389"/>
                    </a:lnTo>
                    <a:cubicBezTo>
                      <a:pt x="2051780" y="-32529"/>
                      <a:pt x="1743932" y="-22718"/>
                      <a:pt x="1468184" y="99011"/>
                    </a:cubicBezTo>
                    <a:lnTo>
                      <a:pt x="981361" y="313990"/>
                    </a:lnTo>
                    <a:cubicBezTo>
                      <a:pt x="953929" y="271890"/>
                      <a:pt x="914400" y="239409"/>
                      <a:pt x="866680" y="220836"/>
                    </a:cubicBezTo>
                    <a:cubicBezTo>
                      <a:pt x="806577" y="197595"/>
                      <a:pt x="741045" y="199024"/>
                      <a:pt x="682276" y="225027"/>
                    </a:cubicBezTo>
                    <a:lnTo>
                      <a:pt x="57055" y="498966"/>
                    </a:lnTo>
                    <a:cubicBezTo>
                      <a:pt x="22384" y="514206"/>
                      <a:pt x="0" y="548400"/>
                      <a:pt x="0" y="586215"/>
                    </a:cubicBezTo>
                    <a:lnTo>
                      <a:pt x="0" y="2264329"/>
                    </a:lnTo>
                    <a:cubicBezTo>
                      <a:pt x="0" y="2297381"/>
                      <a:pt x="17145" y="2328147"/>
                      <a:pt x="45339" y="2345482"/>
                    </a:cubicBezTo>
                    <a:cubicBezTo>
                      <a:pt x="60579" y="2354817"/>
                      <a:pt x="77915" y="2359579"/>
                      <a:pt x="95250" y="2359579"/>
                    </a:cubicBezTo>
                    <a:cubicBezTo>
                      <a:pt x="109919" y="2359579"/>
                      <a:pt x="124682" y="2356150"/>
                      <a:pt x="138208" y="2349388"/>
                    </a:cubicBezTo>
                    <a:lnTo>
                      <a:pt x="1352264" y="1736073"/>
                    </a:lnTo>
                    <a:cubicBezTo>
                      <a:pt x="1409986" y="1709784"/>
                      <a:pt x="1454372" y="1662825"/>
                      <a:pt x="1477328" y="1603675"/>
                    </a:cubicBezTo>
                    <a:cubicBezTo>
                      <a:pt x="1496473" y="1554336"/>
                      <a:pt x="1498854" y="1501282"/>
                      <a:pt x="1484662" y="1451275"/>
                    </a:cubicBezTo>
                    <a:lnTo>
                      <a:pt x="1495997" y="1446227"/>
                    </a:lnTo>
                    <a:cubicBezTo>
                      <a:pt x="1697831" y="1357073"/>
                      <a:pt x="1926908" y="1362312"/>
                      <a:pt x="2124456" y="1460515"/>
                    </a:cubicBezTo>
                    <a:lnTo>
                      <a:pt x="2590610" y="1692163"/>
                    </a:lnTo>
                    <a:cubicBezTo>
                      <a:pt x="2839022" y="1815607"/>
                      <a:pt x="3127058" y="1822084"/>
                      <a:pt x="3380708" y="1710069"/>
                    </a:cubicBezTo>
                    <a:lnTo>
                      <a:pt x="4654296" y="1147714"/>
                    </a:lnTo>
                    <a:cubicBezTo>
                      <a:pt x="4842606" y="1064465"/>
                      <a:pt x="4928140" y="843675"/>
                      <a:pt x="4844987" y="655366"/>
                    </a:cubicBezTo>
                    <a:close/>
                    <a:moveTo>
                      <a:pt x="1299591" y="1534809"/>
                    </a:moveTo>
                    <a:cubicBezTo>
                      <a:pt x="1294733" y="1547478"/>
                      <a:pt x="1285113" y="1557479"/>
                      <a:pt x="1272731" y="1562908"/>
                    </a:cubicBezTo>
                    <a:cubicBezTo>
                      <a:pt x="1271207" y="1563575"/>
                      <a:pt x="1269683" y="1564242"/>
                      <a:pt x="1268254" y="1565004"/>
                    </a:cubicBezTo>
                    <a:lnTo>
                      <a:pt x="190500" y="2109453"/>
                    </a:lnTo>
                    <a:lnTo>
                      <a:pt x="190500" y="1692543"/>
                    </a:lnTo>
                    <a:lnTo>
                      <a:pt x="472250" y="1554241"/>
                    </a:lnTo>
                    <a:cubicBezTo>
                      <a:pt x="519494" y="1531095"/>
                      <a:pt x="538925" y="1473945"/>
                      <a:pt x="515779" y="1426701"/>
                    </a:cubicBezTo>
                    <a:cubicBezTo>
                      <a:pt x="492633" y="1379457"/>
                      <a:pt x="435483" y="1360026"/>
                      <a:pt x="388334" y="1383172"/>
                    </a:cubicBezTo>
                    <a:lnTo>
                      <a:pt x="190500" y="1480326"/>
                    </a:lnTo>
                    <a:lnTo>
                      <a:pt x="190500" y="648508"/>
                    </a:lnTo>
                    <a:lnTo>
                      <a:pt x="759047" y="399430"/>
                    </a:lnTo>
                    <a:cubicBezTo>
                      <a:pt x="771430" y="393905"/>
                      <a:pt x="785241" y="393619"/>
                      <a:pt x="797909" y="398477"/>
                    </a:cubicBezTo>
                    <a:cubicBezTo>
                      <a:pt x="810578" y="403430"/>
                      <a:pt x="820579" y="412955"/>
                      <a:pt x="826008" y="425338"/>
                    </a:cubicBezTo>
                    <a:lnTo>
                      <a:pt x="1274064" y="1440036"/>
                    </a:lnTo>
                    <a:cubicBezTo>
                      <a:pt x="1274064" y="1440131"/>
                      <a:pt x="1274159" y="1440226"/>
                      <a:pt x="1274159" y="1440322"/>
                    </a:cubicBezTo>
                    <a:lnTo>
                      <a:pt x="1298734" y="1495948"/>
                    </a:lnTo>
                    <a:cubicBezTo>
                      <a:pt x="1304258" y="1508330"/>
                      <a:pt x="1304544" y="1522141"/>
                      <a:pt x="1299591" y="153480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endParaRPr lang="de-DE" sz="700"/>
              </a:p>
            </p:txBody>
          </p:sp>
        </p:grpSp>
        <p:sp>
          <p:nvSpPr>
            <p:cNvPr id="1466" name="TextBox 16">
              <a:extLst>
                <a:ext uri="{FF2B5EF4-FFF2-40B4-BE49-F238E27FC236}">
                  <a16:creationId xmlns:a16="http://schemas.microsoft.com/office/drawing/2014/main" id="{0F694A99-3156-4C2B-BA9B-31E2CFC67789}"/>
                </a:ext>
              </a:extLst>
            </p:cNvPr>
            <p:cNvSpPr txBox="1"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10706674" y="1347272"/>
              <a:ext cx="564412" cy="97183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CLIMATE-</a:t>
              </a:r>
              <a:b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</a:b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RELEVANT RESOURCES</a:t>
              </a:r>
              <a:endParaRPr lang="en-GB" sz="400" b="1" dirty="0">
                <a:solidFill>
                  <a:schemeClr val="tx2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470" name="Gruppieren 1469">
            <a:extLst>
              <a:ext uri="{FF2B5EF4-FFF2-40B4-BE49-F238E27FC236}">
                <a16:creationId xmlns:a16="http://schemas.microsoft.com/office/drawing/2014/main" id="{CE9BDCCC-3434-4F26-B153-BC3038C01927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7567552" y="920563"/>
            <a:ext cx="564412" cy="474909"/>
            <a:chOff x="10133996" y="969546"/>
            <a:chExt cx="564412" cy="474909"/>
          </a:xfrm>
        </p:grpSpPr>
        <p:grpSp>
          <p:nvGrpSpPr>
            <p:cNvPr id="1471" name="Group 878">
              <a:extLst>
                <a:ext uri="{FF2B5EF4-FFF2-40B4-BE49-F238E27FC236}">
                  <a16:creationId xmlns:a16="http://schemas.microsoft.com/office/drawing/2014/main" id="{92DB1607-EC74-4F5E-BE7A-1284B2794E17}"/>
                </a:ext>
              </a:extLst>
            </p:cNvPr>
            <p:cNvGrpSpPr/>
            <p:nvPr>
              <p:custDataLst>
                <p:tags r:id="rId55"/>
              </p:custDataLst>
            </p:nvPr>
          </p:nvGrpSpPr>
          <p:grpSpPr bwMode="gray">
            <a:xfrm>
              <a:off x="10242933" y="969546"/>
              <a:ext cx="346539" cy="347013"/>
              <a:chOff x="13986666" y="290454"/>
              <a:chExt cx="4555522" cy="4561771"/>
            </a:xfrm>
            <a:solidFill>
              <a:schemeClr val="tx2"/>
            </a:solidFill>
          </p:grpSpPr>
          <p:sp>
            <p:nvSpPr>
              <p:cNvPr id="1473" name="Freeform: Shape 879">
                <a:extLst>
                  <a:ext uri="{FF2B5EF4-FFF2-40B4-BE49-F238E27FC236}">
                    <a16:creationId xmlns:a16="http://schemas.microsoft.com/office/drawing/2014/main" id="{8071BCC1-D2C6-4222-AB93-6D4A3F0E4F4A}"/>
                  </a:ext>
                </a:extLst>
              </p:cNvPr>
              <p:cNvSpPr/>
              <p:nvPr/>
            </p:nvSpPr>
            <p:spPr bwMode="gray">
              <a:xfrm>
                <a:off x="13986666" y="290549"/>
                <a:ext cx="1962150" cy="1971675"/>
              </a:xfrm>
              <a:custGeom>
                <a:avLst/>
                <a:gdLst>
                  <a:gd name="connsiteX0" fmla="*/ 1923955 w 1962150"/>
                  <a:gd name="connsiteY0" fmla="*/ 817398 h 1971675"/>
                  <a:gd name="connsiteX1" fmla="*/ 1790986 w 1962150"/>
                  <a:gd name="connsiteY1" fmla="*/ 758724 h 1971675"/>
                  <a:gd name="connsiteX2" fmla="*/ 1771079 w 1962150"/>
                  <a:gd name="connsiteY2" fmla="*/ 694907 h 1971675"/>
                  <a:gd name="connsiteX3" fmla="*/ 1844993 w 1962150"/>
                  <a:gd name="connsiteY3" fmla="*/ 567653 h 1971675"/>
                  <a:gd name="connsiteX4" fmla="*/ 1845564 w 1962150"/>
                  <a:gd name="connsiteY4" fmla="*/ 492310 h 1971675"/>
                  <a:gd name="connsiteX5" fmla="*/ 1715929 w 1962150"/>
                  <a:gd name="connsiteY5" fmla="*/ 311144 h 1971675"/>
                  <a:gd name="connsiteX6" fmla="*/ 1642110 w 1962150"/>
                  <a:gd name="connsiteY6" fmla="*/ 287713 h 1971675"/>
                  <a:gd name="connsiteX7" fmla="*/ 1502188 w 1962150"/>
                  <a:gd name="connsiteY7" fmla="*/ 319717 h 1971675"/>
                  <a:gd name="connsiteX8" fmla="*/ 1451134 w 1962150"/>
                  <a:gd name="connsiteY8" fmla="*/ 282093 h 1971675"/>
                  <a:gd name="connsiteX9" fmla="*/ 1437608 w 1962150"/>
                  <a:gd name="connsiteY9" fmla="*/ 133979 h 1971675"/>
                  <a:gd name="connsiteX10" fmla="*/ 1393698 w 1962150"/>
                  <a:gd name="connsiteY10" fmla="*/ 71876 h 1971675"/>
                  <a:gd name="connsiteX11" fmla="*/ 1185005 w 1962150"/>
                  <a:gd name="connsiteY11" fmla="*/ 1772 h 1971675"/>
                  <a:gd name="connsiteX12" fmla="*/ 1111663 w 1962150"/>
                  <a:gd name="connsiteY12" fmla="*/ 26633 h 1971675"/>
                  <a:gd name="connsiteX13" fmla="*/ 1014032 w 1962150"/>
                  <a:gd name="connsiteY13" fmla="*/ 139980 h 1971675"/>
                  <a:gd name="connsiteX14" fmla="*/ 955358 w 1962150"/>
                  <a:gd name="connsiteY14" fmla="*/ 139980 h 1971675"/>
                  <a:gd name="connsiteX15" fmla="*/ 857726 w 1962150"/>
                  <a:gd name="connsiteY15" fmla="*/ 26537 h 1971675"/>
                  <a:gd name="connsiteX16" fmla="*/ 784384 w 1962150"/>
                  <a:gd name="connsiteY16" fmla="*/ 1677 h 1971675"/>
                  <a:gd name="connsiteX17" fmla="*/ 575691 w 1962150"/>
                  <a:gd name="connsiteY17" fmla="*/ 71781 h 1971675"/>
                  <a:gd name="connsiteX18" fmla="*/ 531781 w 1962150"/>
                  <a:gd name="connsiteY18" fmla="*/ 133979 h 1971675"/>
                  <a:gd name="connsiteX19" fmla="*/ 518160 w 1962150"/>
                  <a:gd name="connsiteY19" fmla="*/ 281998 h 1971675"/>
                  <a:gd name="connsiteX20" fmla="*/ 467106 w 1962150"/>
                  <a:gd name="connsiteY20" fmla="*/ 319622 h 1971675"/>
                  <a:gd name="connsiteX21" fmla="*/ 327184 w 1962150"/>
                  <a:gd name="connsiteY21" fmla="*/ 287618 h 1971675"/>
                  <a:gd name="connsiteX22" fmla="*/ 253365 w 1962150"/>
                  <a:gd name="connsiteY22" fmla="*/ 311049 h 1971675"/>
                  <a:gd name="connsiteX23" fmla="*/ 123730 w 1962150"/>
                  <a:gd name="connsiteY23" fmla="*/ 492215 h 1971675"/>
                  <a:gd name="connsiteX24" fmla="*/ 124301 w 1962150"/>
                  <a:gd name="connsiteY24" fmla="*/ 567557 h 1971675"/>
                  <a:gd name="connsiteX25" fmla="*/ 198215 w 1962150"/>
                  <a:gd name="connsiteY25" fmla="*/ 694811 h 1971675"/>
                  <a:gd name="connsiteX26" fmla="*/ 178308 w 1962150"/>
                  <a:gd name="connsiteY26" fmla="*/ 758629 h 1971675"/>
                  <a:gd name="connsiteX27" fmla="*/ 45434 w 1962150"/>
                  <a:gd name="connsiteY27" fmla="*/ 817398 h 1971675"/>
                  <a:gd name="connsiteX28" fmla="*/ 0 w 1962150"/>
                  <a:gd name="connsiteY28" fmla="*/ 887121 h 1971675"/>
                  <a:gd name="connsiteX29" fmla="*/ 0 w 1962150"/>
                  <a:gd name="connsiteY29" fmla="*/ 1094100 h 1971675"/>
                  <a:gd name="connsiteX30" fmla="*/ 45434 w 1962150"/>
                  <a:gd name="connsiteY30" fmla="*/ 1163823 h 1971675"/>
                  <a:gd name="connsiteX31" fmla="*/ 178403 w 1962150"/>
                  <a:gd name="connsiteY31" fmla="*/ 1222497 h 1971675"/>
                  <a:gd name="connsiteX32" fmla="*/ 198311 w 1962150"/>
                  <a:gd name="connsiteY32" fmla="*/ 1286314 h 1971675"/>
                  <a:gd name="connsiteX33" fmla="*/ 124397 w 1962150"/>
                  <a:gd name="connsiteY33" fmla="*/ 1413568 h 1971675"/>
                  <a:gd name="connsiteX34" fmla="*/ 123825 w 1962150"/>
                  <a:gd name="connsiteY34" fmla="*/ 1488911 h 1971675"/>
                  <a:gd name="connsiteX35" fmla="*/ 253460 w 1962150"/>
                  <a:gd name="connsiteY35" fmla="*/ 1670076 h 1971675"/>
                  <a:gd name="connsiteX36" fmla="*/ 327279 w 1962150"/>
                  <a:gd name="connsiteY36" fmla="*/ 1693508 h 1971675"/>
                  <a:gd name="connsiteX37" fmla="*/ 467201 w 1962150"/>
                  <a:gd name="connsiteY37" fmla="*/ 1661504 h 1971675"/>
                  <a:gd name="connsiteX38" fmla="*/ 518255 w 1962150"/>
                  <a:gd name="connsiteY38" fmla="*/ 1699128 h 1971675"/>
                  <a:gd name="connsiteX39" fmla="*/ 531781 w 1962150"/>
                  <a:gd name="connsiteY39" fmla="*/ 1847241 h 1971675"/>
                  <a:gd name="connsiteX40" fmla="*/ 575691 w 1962150"/>
                  <a:gd name="connsiteY40" fmla="*/ 1909344 h 1971675"/>
                  <a:gd name="connsiteX41" fmla="*/ 784384 w 1962150"/>
                  <a:gd name="connsiteY41" fmla="*/ 1979448 h 1971675"/>
                  <a:gd name="connsiteX42" fmla="*/ 857726 w 1962150"/>
                  <a:gd name="connsiteY42" fmla="*/ 1954588 h 1971675"/>
                  <a:gd name="connsiteX43" fmla="*/ 955358 w 1962150"/>
                  <a:gd name="connsiteY43" fmla="*/ 1841241 h 1971675"/>
                  <a:gd name="connsiteX44" fmla="*/ 1014032 w 1962150"/>
                  <a:gd name="connsiteY44" fmla="*/ 1841241 h 1971675"/>
                  <a:gd name="connsiteX45" fmla="*/ 1111663 w 1962150"/>
                  <a:gd name="connsiteY45" fmla="*/ 1954588 h 1971675"/>
                  <a:gd name="connsiteX46" fmla="*/ 1169384 w 1962150"/>
                  <a:gd name="connsiteY46" fmla="*/ 1981068 h 1971675"/>
                  <a:gd name="connsiteX47" fmla="*/ 1185005 w 1962150"/>
                  <a:gd name="connsiteY47" fmla="*/ 1979448 h 1971675"/>
                  <a:gd name="connsiteX48" fmla="*/ 1393698 w 1962150"/>
                  <a:gd name="connsiteY48" fmla="*/ 1909344 h 1971675"/>
                  <a:gd name="connsiteX49" fmla="*/ 1437608 w 1962150"/>
                  <a:gd name="connsiteY49" fmla="*/ 1847146 h 1971675"/>
                  <a:gd name="connsiteX50" fmla="*/ 1451134 w 1962150"/>
                  <a:gd name="connsiteY50" fmla="*/ 1699128 h 1971675"/>
                  <a:gd name="connsiteX51" fmla="*/ 1502188 w 1962150"/>
                  <a:gd name="connsiteY51" fmla="*/ 1661504 h 1971675"/>
                  <a:gd name="connsiteX52" fmla="*/ 1642110 w 1962150"/>
                  <a:gd name="connsiteY52" fmla="*/ 1693508 h 1971675"/>
                  <a:gd name="connsiteX53" fmla="*/ 1715929 w 1962150"/>
                  <a:gd name="connsiteY53" fmla="*/ 1670076 h 1971675"/>
                  <a:gd name="connsiteX54" fmla="*/ 1845564 w 1962150"/>
                  <a:gd name="connsiteY54" fmla="*/ 1488911 h 1971675"/>
                  <a:gd name="connsiteX55" fmla="*/ 1844993 w 1962150"/>
                  <a:gd name="connsiteY55" fmla="*/ 1413568 h 1971675"/>
                  <a:gd name="connsiteX56" fmla="*/ 1771079 w 1962150"/>
                  <a:gd name="connsiteY56" fmla="*/ 1286314 h 1971675"/>
                  <a:gd name="connsiteX57" fmla="*/ 1790986 w 1962150"/>
                  <a:gd name="connsiteY57" fmla="*/ 1222497 h 1971675"/>
                  <a:gd name="connsiteX58" fmla="*/ 1923955 w 1962150"/>
                  <a:gd name="connsiteY58" fmla="*/ 1163823 h 1971675"/>
                  <a:gd name="connsiteX59" fmla="*/ 1969389 w 1962150"/>
                  <a:gd name="connsiteY59" fmla="*/ 1094100 h 1971675"/>
                  <a:gd name="connsiteX60" fmla="*/ 1969389 w 1962150"/>
                  <a:gd name="connsiteY60" fmla="*/ 887121 h 1971675"/>
                  <a:gd name="connsiteX61" fmla="*/ 1923955 w 1962150"/>
                  <a:gd name="connsiteY61" fmla="*/ 817398 h 1971675"/>
                  <a:gd name="connsiteX62" fmla="*/ 1816894 w 1962150"/>
                  <a:gd name="connsiteY62" fmla="*/ 1044474 h 1971675"/>
                  <a:gd name="connsiteX63" fmla="*/ 1695260 w 1962150"/>
                  <a:gd name="connsiteY63" fmla="*/ 1098100 h 1971675"/>
                  <a:gd name="connsiteX64" fmla="*/ 1651826 w 1962150"/>
                  <a:gd name="connsiteY64" fmla="*/ 1150773 h 1971675"/>
                  <a:gd name="connsiteX65" fmla="*/ 1616583 w 1962150"/>
                  <a:gd name="connsiteY65" fmla="*/ 1263835 h 1971675"/>
                  <a:gd name="connsiteX66" fmla="*/ 1621060 w 1962150"/>
                  <a:gd name="connsiteY66" fmla="*/ 1331272 h 1971675"/>
                  <a:gd name="connsiteX67" fmla="*/ 1690783 w 1962150"/>
                  <a:gd name="connsiteY67" fmla="*/ 1451478 h 1971675"/>
                  <a:gd name="connsiteX68" fmla="*/ 1631156 w 1962150"/>
                  <a:gd name="connsiteY68" fmla="*/ 1534726 h 1971675"/>
                  <a:gd name="connsiteX69" fmla="*/ 1499426 w 1962150"/>
                  <a:gd name="connsiteY69" fmla="*/ 1504627 h 1971675"/>
                  <a:gd name="connsiteX70" fmla="*/ 1431893 w 1962150"/>
                  <a:gd name="connsiteY70" fmla="*/ 1521772 h 1971675"/>
                  <a:gd name="connsiteX71" fmla="*/ 1338453 w 1962150"/>
                  <a:gd name="connsiteY71" fmla="*/ 1590924 h 1971675"/>
                  <a:gd name="connsiteX72" fmla="*/ 1302734 w 1962150"/>
                  <a:gd name="connsiteY72" fmla="*/ 1648740 h 1971675"/>
                  <a:gd name="connsiteX73" fmla="*/ 1289971 w 1962150"/>
                  <a:gd name="connsiteY73" fmla="*/ 1788567 h 1971675"/>
                  <a:gd name="connsiteX74" fmla="*/ 1196816 w 1962150"/>
                  <a:gd name="connsiteY74" fmla="*/ 1820190 h 1971675"/>
                  <a:gd name="connsiteX75" fmla="*/ 1106710 w 1962150"/>
                  <a:gd name="connsiteY75" fmla="*/ 1715606 h 1971675"/>
                  <a:gd name="connsiteX76" fmla="*/ 1048988 w 1962150"/>
                  <a:gd name="connsiteY76" fmla="*/ 1689126 h 1971675"/>
                  <a:gd name="connsiteX77" fmla="*/ 920401 w 1962150"/>
                  <a:gd name="connsiteY77" fmla="*/ 1689126 h 1971675"/>
                  <a:gd name="connsiteX78" fmla="*/ 862679 w 1962150"/>
                  <a:gd name="connsiteY78" fmla="*/ 1715606 h 1971675"/>
                  <a:gd name="connsiteX79" fmla="*/ 772573 w 1962150"/>
                  <a:gd name="connsiteY79" fmla="*/ 1820190 h 1971675"/>
                  <a:gd name="connsiteX80" fmla="*/ 679323 w 1962150"/>
                  <a:gd name="connsiteY80" fmla="*/ 1788567 h 1971675"/>
                  <a:gd name="connsiteX81" fmla="*/ 666560 w 1962150"/>
                  <a:gd name="connsiteY81" fmla="*/ 1648550 h 1971675"/>
                  <a:gd name="connsiteX82" fmla="*/ 630841 w 1962150"/>
                  <a:gd name="connsiteY82" fmla="*/ 1590828 h 1971675"/>
                  <a:gd name="connsiteX83" fmla="*/ 537401 w 1962150"/>
                  <a:gd name="connsiteY83" fmla="*/ 1521772 h 1971675"/>
                  <a:gd name="connsiteX84" fmla="*/ 469868 w 1962150"/>
                  <a:gd name="connsiteY84" fmla="*/ 1504627 h 1971675"/>
                  <a:gd name="connsiteX85" fmla="*/ 338138 w 1962150"/>
                  <a:gd name="connsiteY85" fmla="*/ 1534726 h 1971675"/>
                  <a:gd name="connsiteX86" fmla="*/ 278511 w 1962150"/>
                  <a:gd name="connsiteY86" fmla="*/ 1451478 h 1971675"/>
                  <a:gd name="connsiteX87" fmla="*/ 348234 w 1962150"/>
                  <a:gd name="connsiteY87" fmla="*/ 1331272 h 1971675"/>
                  <a:gd name="connsiteX88" fmla="*/ 352711 w 1962150"/>
                  <a:gd name="connsiteY88" fmla="*/ 1263835 h 1971675"/>
                  <a:gd name="connsiteX89" fmla="*/ 317468 w 1962150"/>
                  <a:gd name="connsiteY89" fmla="*/ 1150773 h 1971675"/>
                  <a:gd name="connsiteX90" fmla="*/ 274034 w 1962150"/>
                  <a:gd name="connsiteY90" fmla="*/ 1098100 h 1971675"/>
                  <a:gd name="connsiteX91" fmla="*/ 152400 w 1962150"/>
                  <a:gd name="connsiteY91" fmla="*/ 1044474 h 1971675"/>
                  <a:gd name="connsiteX92" fmla="*/ 152400 w 1962150"/>
                  <a:gd name="connsiteY92" fmla="*/ 936746 h 1971675"/>
                  <a:gd name="connsiteX93" fmla="*/ 274034 w 1962150"/>
                  <a:gd name="connsiteY93" fmla="*/ 883121 h 1971675"/>
                  <a:gd name="connsiteX94" fmla="*/ 317468 w 1962150"/>
                  <a:gd name="connsiteY94" fmla="*/ 830448 h 1971675"/>
                  <a:gd name="connsiteX95" fmla="*/ 352711 w 1962150"/>
                  <a:gd name="connsiteY95" fmla="*/ 717386 h 1971675"/>
                  <a:gd name="connsiteX96" fmla="*/ 348234 w 1962150"/>
                  <a:gd name="connsiteY96" fmla="*/ 649949 h 1971675"/>
                  <a:gd name="connsiteX97" fmla="*/ 278511 w 1962150"/>
                  <a:gd name="connsiteY97" fmla="*/ 529743 h 1971675"/>
                  <a:gd name="connsiteX98" fmla="*/ 338138 w 1962150"/>
                  <a:gd name="connsiteY98" fmla="*/ 446495 h 1971675"/>
                  <a:gd name="connsiteX99" fmla="*/ 469868 w 1962150"/>
                  <a:gd name="connsiteY99" fmla="*/ 476594 h 1971675"/>
                  <a:gd name="connsiteX100" fmla="*/ 537401 w 1962150"/>
                  <a:gd name="connsiteY100" fmla="*/ 459449 h 1971675"/>
                  <a:gd name="connsiteX101" fmla="*/ 630841 w 1962150"/>
                  <a:gd name="connsiteY101" fmla="*/ 390297 h 1971675"/>
                  <a:gd name="connsiteX102" fmla="*/ 666560 w 1962150"/>
                  <a:gd name="connsiteY102" fmla="*/ 332480 h 1971675"/>
                  <a:gd name="connsiteX103" fmla="*/ 679323 w 1962150"/>
                  <a:gd name="connsiteY103" fmla="*/ 192653 h 1971675"/>
                  <a:gd name="connsiteX104" fmla="*/ 772478 w 1962150"/>
                  <a:gd name="connsiteY104" fmla="*/ 161030 h 1971675"/>
                  <a:gd name="connsiteX105" fmla="*/ 862584 w 1962150"/>
                  <a:gd name="connsiteY105" fmla="*/ 265615 h 1971675"/>
                  <a:gd name="connsiteX106" fmla="*/ 920306 w 1962150"/>
                  <a:gd name="connsiteY106" fmla="*/ 292094 h 1971675"/>
                  <a:gd name="connsiteX107" fmla="*/ 1048703 w 1962150"/>
                  <a:gd name="connsiteY107" fmla="*/ 292094 h 1971675"/>
                  <a:gd name="connsiteX108" fmla="*/ 1106424 w 1962150"/>
                  <a:gd name="connsiteY108" fmla="*/ 265615 h 1971675"/>
                  <a:gd name="connsiteX109" fmla="*/ 1196531 w 1962150"/>
                  <a:gd name="connsiteY109" fmla="*/ 161030 h 1971675"/>
                  <a:gd name="connsiteX110" fmla="*/ 1289780 w 1962150"/>
                  <a:gd name="connsiteY110" fmla="*/ 192653 h 1971675"/>
                  <a:gd name="connsiteX111" fmla="*/ 1302544 w 1962150"/>
                  <a:gd name="connsiteY111" fmla="*/ 332576 h 1971675"/>
                  <a:gd name="connsiteX112" fmla="*/ 1338263 w 1962150"/>
                  <a:gd name="connsiteY112" fmla="*/ 390297 h 1971675"/>
                  <a:gd name="connsiteX113" fmla="*/ 1431703 w 1962150"/>
                  <a:gd name="connsiteY113" fmla="*/ 459353 h 1971675"/>
                  <a:gd name="connsiteX114" fmla="*/ 1499235 w 1962150"/>
                  <a:gd name="connsiteY114" fmla="*/ 476498 h 1971675"/>
                  <a:gd name="connsiteX115" fmla="*/ 1630966 w 1962150"/>
                  <a:gd name="connsiteY115" fmla="*/ 446399 h 1971675"/>
                  <a:gd name="connsiteX116" fmla="*/ 1690592 w 1962150"/>
                  <a:gd name="connsiteY116" fmla="*/ 529648 h 1971675"/>
                  <a:gd name="connsiteX117" fmla="*/ 1620869 w 1962150"/>
                  <a:gd name="connsiteY117" fmla="*/ 649854 h 1971675"/>
                  <a:gd name="connsiteX118" fmla="*/ 1616393 w 1962150"/>
                  <a:gd name="connsiteY118" fmla="*/ 717290 h 1971675"/>
                  <a:gd name="connsiteX119" fmla="*/ 1651635 w 1962150"/>
                  <a:gd name="connsiteY119" fmla="*/ 830352 h 1971675"/>
                  <a:gd name="connsiteX120" fmla="*/ 1695069 w 1962150"/>
                  <a:gd name="connsiteY120" fmla="*/ 883025 h 1971675"/>
                  <a:gd name="connsiteX121" fmla="*/ 1816703 w 1962150"/>
                  <a:gd name="connsiteY121" fmla="*/ 936651 h 1971675"/>
                  <a:gd name="connsiteX122" fmla="*/ 1816894 w 1962150"/>
                  <a:gd name="connsiteY122" fmla="*/ 1044474 h 1971675"/>
                  <a:gd name="connsiteX123" fmla="*/ 1816894 w 1962150"/>
                  <a:gd name="connsiteY123" fmla="*/ 1044474 h 197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1962150" h="1971675">
                    <a:moveTo>
                      <a:pt x="1923955" y="817398"/>
                    </a:moveTo>
                    <a:lnTo>
                      <a:pt x="1790986" y="758724"/>
                    </a:lnTo>
                    <a:cubicBezTo>
                      <a:pt x="1784985" y="736436"/>
                      <a:pt x="1778413" y="715290"/>
                      <a:pt x="1771079" y="694907"/>
                    </a:cubicBezTo>
                    <a:lnTo>
                      <a:pt x="1844993" y="567653"/>
                    </a:lnTo>
                    <a:cubicBezTo>
                      <a:pt x="1858423" y="544412"/>
                      <a:pt x="1858709" y="515741"/>
                      <a:pt x="1845564" y="492310"/>
                    </a:cubicBezTo>
                    <a:cubicBezTo>
                      <a:pt x="1809179" y="427349"/>
                      <a:pt x="1765649" y="366580"/>
                      <a:pt x="1715929" y="311144"/>
                    </a:cubicBezTo>
                    <a:cubicBezTo>
                      <a:pt x="1697450" y="290380"/>
                      <a:pt x="1669161" y="281426"/>
                      <a:pt x="1642110" y="287713"/>
                    </a:cubicBezTo>
                    <a:lnTo>
                      <a:pt x="1502188" y="319717"/>
                    </a:lnTo>
                    <a:cubicBezTo>
                      <a:pt x="1485900" y="306668"/>
                      <a:pt x="1468850" y="294190"/>
                      <a:pt x="1451134" y="282093"/>
                    </a:cubicBezTo>
                    <a:lnTo>
                      <a:pt x="1437608" y="133979"/>
                    </a:lnTo>
                    <a:cubicBezTo>
                      <a:pt x="1435132" y="106928"/>
                      <a:pt x="1418368" y="83211"/>
                      <a:pt x="1393698" y="71876"/>
                    </a:cubicBezTo>
                    <a:cubicBezTo>
                      <a:pt x="1327023" y="40634"/>
                      <a:pt x="1257014" y="17108"/>
                      <a:pt x="1185005" y="1772"/>
                    </a:cubicBezTo>
                    <a:cubicBezTo>
                      <a:pt x="1157859" y="-4038"/>
                      <a:pt x="1129665" y="5487"/>
                      <a:pt x="1111663" y="26633"/>
                    </a:cubicBezTo>
                    <a:lnTo>
                      <a:pt x="1014032" y="139980"/>
                    </a:lnTo>
                    <a:lnTo>
                      <a:pt x="955358" y="139980"/>
                    </a:lnTo>
                    <a:lnTo>
                      <a:pt x="857726" y="26537"/>
                    </a:lnTo>
                    <a:cubicBezTo>
                      <a:pt x="839724" y="5392"/>
                      <a:pt x="811530" y="-4133"/>
                      <a:pt x="784384" y="1677"/>
                    </a:cubicBezTo>
                    <a:cubicBezTo>
                      <a:pt x="712375" y="17012"/>
                      <a:pt x="642366" y="40539"/>
                      <a:pt x="575691" y="71781"/>
                    </a:cubicBezTo>
                    <a:cubicBezTo>
                      <a:pt x="551021" y="83211"/>
                      <a:pt x="534257" y="106928"/>
                      <a:pt x="531781" y="133979"/>
                    </a:cubicBezTo>
                    <a:lnTo>
                      <a:pt x="518160" y="281998"/>
                    </a:lnTo>
                    <a:cubicBezTo>
                      <a:pt x="500539" y="294095"/>
                      <a:pt x="483394" y="306668"/>
                      <a:pt x="467106" y="319622"/>
                    </a:cubicBezTo>
                    <a:lnTo>
                      <a:pt x="327184" y="287618"/>
                    </a:lnTo>
                    <a:cubicBezTo>
                      <a:pt x="300133" y="281236"/>
                      <a:pt x="271748" y="290285"/>
                      <a:pt x="253365" y="311049"/>
                    </a:cubicBezTo>
                    <a:cubicBezTo>
                      <a:pt x="203644" y="366485"/>
                      <a:pt x="160115" y="427254"/>
                      <a:pt x="123730" y="492215"/>
                    </a:cubicBezTo>
                    <a:cubicBezTo>
                      <a:pt x="110585" y="515741"/>
                      <a:pt x="110871" y="544317"/>
                      <a:pt x="124301" y="567557"/>
                    </a:cubicBezTo>
                    <a:lnTo>
                      <a:pt x="198215" y="694811"/>
                    </a:lnTo>
                    <a:cubicBezTo>
                      <a:pt x="190881" y="715195"/>
                      <a:pt x="184404" y="736340"/>
                      <a:pt x="178308" y="758629"/>
                    </a:cubicBezTo>
                    <a:lnTo>
                      <a:pt x="45434" y="817398"/>
                    </a:lnTo>
                    <a:cubicBezTo>
                      <a:pt x="17812" y="829590"/>
                      <a:pt x="0" y="856927"/>
                      <a:pt x="0" y="887121"/>
                    </a:cubicBezTo>
                    <a:lnTo>
                      <a:pt x="0" y="1094100"/>
                    </a:lnTo>
                    <a:cubicBezTo>
                      <a:pt x="0" y="1124294"/>
                      <a:pt x="17812" y="1151631"/>
                      <a:pt x="45434" y="1163823"/>
                    </a:cubicBezTo>
                    <a:lnTo>
                      <a:pt x="178403" y="1222497"/>
                    </a:lnTo>
                    <a:cubicBezTo>
                      <a:pt x="184404" y="1244785"/>
                      <a:pt x="190976" y="1265931"/>
                      <a:pt x="198311" y="1286314"/>
                    </a:cubicBezTo>
                    <a:lnTo>
                      <a:pt x="124397" y="1413568"/>
                    </a:lnTo>
                    <a:cubicBezTo>
                      <a:pt x="110966" y="1436809"/>
                      <a:pt x="110681" y="1465479"/>
                      <a:pt x="123825" y="1488911"/>
                    </a:cubicBezTo>
                    <a:cubicBezTo>
                      <a:pt x="160211" y="1553871"/>
                      <a:pt x="203740" y="1614641"/>
                      <a:pt x="253460" y="1670076"/>
                    </a:cubicBezTo>
                    <a:cubicBezTo>
                      <a:pt x="271939" y="1690841"/>
                      <a:pt x="300228" y="1699794"/>
                      <a:pt x="327279" y="1693508"/>
                    </a:cubicBezTo>
                    <a:lnTo>
                      <a:pt x="467201" y="1661504"/>
                    </a:lnTo>
                    <a:cubicBezTo>
                      <a:pt x="483489" y="1674553"/>
                      <a:pt x="500539" y="1687031"/>
                      <a:pt x="518255" y="1699128"/>
                    </a:cubicBezTo>
                    <a:lnTo>
                      <a:pt x="531781" y="1847241"/>
                    </a:lnTo>
                    <a:cubicBezTo>
                      <a:pt x="534257" y="1874292"/>
                      <a:pt x="551021" y="1898010"/>
                      <a:pt x="575691" y="1909344"/>
                    </a:cubicBezTo>
                    <a:cubicBezTo>
                      <a:pt x="642366" y="1940586"/>
                      <a:pt x="712375" y="1964113"/>
                      <a:pt x="784384" y="1979448"/>
                    </a:cubicBezTo>
                    <a:cubicBezTo>
                      <a:pt x="811530" y="1985163"/>
                      <a:pt x="839724" y="1975638"/>
                      <a:pt x="857726" y="1954588"/>
                    </a:cubicBezTo>
                    <a:lnTo>
                      <a:pt x="955358" y="1841241"/>
                    </a:lnTo>
                    <a:lnTo>
                      <a:pt x="1014032" y="1841241"/>
                    </a:lnTo>
                    <a:lnTo>
                      <a:pt x="1111663" y="1954588"/>
                    </a:lnTo>
                    <a:cubicBezTo>
                      <a:pt x="1126141" y="1971447"/>
                      <a:pt x="1147191" y="1981068"/>
                      <a:pt x="1169384" y="1981068"/>
                    </a:cubicBezTo>
                    <a:cubicBezTo>
                      <a:pt x="1174623" y="1981068"/>
                      <a:pt x="1179862" y="1980496"/>
                      <a:pt x="1185005" y="1979448"/>
                    </a:cubicBezTo>
                    <a:cubicBezTo>
                      <a:pt x="1257014" y="1964113"/>
                      <a:pt x="1327023" y="1940586"/>
                      <a:pt x="1393698" y="1909344"/>
                    </a:cubicBezTo>
                    <a:cubicBezTo>
                      <a:pt x="1418368" y="1897914"/>
                      <a:pt x="1435132" y="1874197"/>
                      <a:pt x="1437608" y="1847146"/>
                    </a:cubicBezTo>
                    <a:lnTo>
                      <a:pt x="1451134" y="1699128"/>
                    </a:lnTo>
                    <a:cubicBezTo>
                      <a:pt x="1468755" y="1687031"/>
                      <a:pt x="1485900" y="1674458"/>
                      <a:pt x="1502188" y="1661504"/>
                    </a:cubicBezTo>
                    <a:lnTo>
                      <a:pt x="1642110" y="1693508"/>
                    </a:lnTo>
                    <a:cubicBezTo>
                      <a:pt x="1669161" y="1699794"/>
                      <a:pt x="1697450" y="1690841"/>
                      <a:pt x="1715929" y="1670076"/>
                    </a:cubicBezTo>
                    <a:cubicBezTo>
                      <a:pt x="1765649" y="1614641"/>
                      <a:pt x="1809179" y="1553871"/>
                      <a:pt x="1845564" y="1488911"/>
                    </a:cubicBezTo>
                    <a:cubicBezTo>
                      <a:pt x="1858709" y="1465479"/>
                      <a:pt x="1858423" y="1436809"/>
                      <a:pt x="1844993" y="1413568"/>
                    </a:cubicBezTo>
                    <a:lnTo>
                      <a:pt x="1771079" y="1286314"/>
                    </a:lnTo>
                    <a:cubicBezTo>
                      <a:pt x="1778413" y="1265931"/>
                      <a:pt x="1784890" y="1244785"/>
                      <a:pt x="1790986" y="1222497"/>
                    </a:cubicBezTo>
                    <a:lnTo>
                      <a:pt x="1923955" y="1163823"/>
                    </a:lnTo>
                    <a:cubicBezTo>
                      <a:pt x="1951577" y="1151631"/>
                      <a:pt x="1969389" y="1124294"/>
                      <a:pt x="1969389" y="1094100"/>
                    </a:cubicBezTo>
                    <a:lnTo>
                      <a:pt x="1969389" y="887121"/>
                    </a:lnTo>
                    <a:cubicBezTo>
                      <a:pt x="1969294" y="856927"/>
                      <a:pt x="1951482" y="829590"/>
                      <a:pt x="1923955" y="817398"/>
                    </a:cubicBezTo>
                    <a:close/>
                    <a:moveTo>
                      <a:pt x="1816894" y="1044474"/>
                    </a:moveTo>
                    <a:lnTo>
                      <a:pt x="1695260" y="1098100"/>
                    </a:lnTo>
                    <a:cubicBezTo>
                      <a:pt x="1673257" y="1107816"/>
                      <a:pt x="1657160" y="1127342"/>
                      <a:pt x="1651826" y="1150773"/>
                    </a:cubicBezTo>
                    <a:cubicBezTo>
                      <a:pt x="1643253" y="1189350"/>
                      <a:pt x="1631442" y="1227164"/>
                      <a:pt x="1616583" y="1263835"/>
                    </a:cubicBezTo>
                    <a:cubicBezTo>
                      <a:pt x="1607534" y="1285743"/>
                      <a:pt x="1609154" y="1310698"/>
                      <a:pt x="1621060" y="1331272"/>
                    </a:cubicBezTo>
                    <a:lnTo>
                      <a:pt x="1690783" y="1451478"/>
                    </a:lnTo>
                    <a:cubicBezTo>
                      <a:pt x="1672590" y="1480433"/>
                      <a:pt x="1652683" y="1508151"/>
                      <a:pt x="1631156" y="1534726"/>
                    </a:cubicBezTo>
                    <a:lnTo>
                      <a:pt x="1499426" y="1504627"/>
                    </a:lnTo>
                    <a:cubicBezTo>
                      <a:pt x="1475518" y="1499007"/>
                      <a:pt x="1450277" y="1505389"/>
                      <a:pt x="1431893" y="1521772"/>
                    </a:cubicBezTo>
                    <a:cubicBezTo>
                      <a:pt x="1402747" y="1547394"/>
                      <a:pt x="1371410" y="1570540"/>
                      <a:pt x="1338453" y="1590924"/>
                    </a:cubicBezTo>
                    <a:cubicBezTo>
                      <a:pt x="1318165" y="1603497"/>
                      <a:pt x="1304925" y="1624928"/>
                      <a:pt x="1302734" y="1648740"/>
                    </a:cubicBezTo>
                    <a:lnTo>
                      <a:pt x="1289971" y="1788567"/>
                    </a:lnTo>
                    <a:cubicBezTo>
                      <a:pt x="1259586" y="1800950"/>
                      <a:pt x="1228439" y="1811427"/>
                      <a:pt x="1196816" y="1820190"/>
                    </a:cubicBezTo>
                    <a:lnTo>
                      <a:pt x="1106710" y="1715606"/>
                    </a:lnTo>
                    <a:cubicBezTo>
                      <a:pt x="1092232" y="1698842"/>
                      <a:pt x="1071182" y="1689126"/>
                      <a:pt x="1048988" y="1689126"/>
                    </a:cubicBezTo>
                    <a:lnTo>
                      <a:pt x="920401" y="1689126"/>
                    </a:lnTo>
                    <a:cubicBezTo>
                      <a:pt x="898208" y="1689126"/>
                      <a:pt x="877157" y="1698842"/>
                      <a:pt x="862679" y="1715606"/>
                    </a:cubicBezTo>
                    <a:lnTo>
                      <a:pt x="772573" y="1820190"/>
                    </a:lnTo>
                    <a:cubicBezTo>
                      <a:pt x="740950" y="1811523"/>
                      <a:pt x="709803" y="1800950"/>
                      <a:pt x="679323" y="1788567"/>
                    </a:cubicBezTo>
                    <a:lnTo>
                      <a:pt x="666560" y="1648550"/>
                    </a:lnTo>
                    <a:cubicBezTo>
                      <a:pt x="664369" y="1624737"/>
                      <a:pt x="651129" y="1603401"/>
                      <a:pt x="630841" y="1590828"/>
                    </a:cubicBezTo>
                    <a:cubicBezTo>
                      <a:pt x="597789" y="1570540"/>
                      <a:pt x="566547" y="1547394"/>
                      <a:pt x="537401" y="1521772"/>
                    </a:cubicBezTo>
                    <a:cubicBezTo>
                      <a:pt x="519017" y="1505389"/>
                      <a:pt x="493871" y="1499007"/>
                      <a:pt x="469868" y="1504627"/>
                    </a:cubicBezTo>
                    <a:lnTo>
                      <a:pt x="338138" y="1534726"/>
                    </a:lnTo>
                    <a:cubicBezTo>
                      <a:pt x="316611" y="1508151"/>
                      <a:pt x="296704" y="1480338"/>
                      <a:pt x="278511" y="1451478"/>
                    </a:cubicBezTo>
                    <a:lnTo>
                      <a:pt x="348234" y="1331272"/>
                    </a:lnTo>
                    <a:cubicBezTo>
                      <a:pt x="360140" y="1310698"/>
                      <a:pt x="361760" y="1285838"/>
                      <a:pt x="352711" y="1263835"/>
                    </a:cubicBezTo>
                    <a:cubicBezTo>
                      <a:pt x="337757" y="1227259"/>
                      <a:pt x="325946" y="1189445"/>
                      <a:pt x="317468" y="1150773"/>
                    </a:cubicBezTo>
                    <a:cubicBezTo>
                      <a:pt x="312134" y="1127342"/>
                      <a:pt x="295942" y="1107816"/>
                      <a:pt x="274034" y="1098100"/>
                    </a:cubicBezTo>
                    <a:lnTo>
                      <a:pt x="152400" y="1044474"/>
                    </a:lnTo>
                    <a:lnTo>
                      <a:pt x="152400" y="936746"/>
                    </a:lnTo>
                    <a:lnTo>
                      <a:pt x="274034" y="883121"/>
                    </a:lnTo>
                    <a:cubicBezTo>
                      <a:pt x="296037" y="873405"/>
                      <a:pt x="312134" y="853879"/>
                      <a:pt x="317468" y="830448"/>
                    </a:cubicBezTo>
                    <a:cubicBezTo>
                      <a:pt x="326041" y="791871"/>
                      <a:pt x="337852" y="754057"/>
                      <a:pt x="352711" y="717386"/>
                    </a:cubicBezTo>
                    <a:cubicBezTo>
                      <a:pt x="361760" y="695478"/>
                      <a:pt x="360140" y="670523"/>
                      <a:pt x="348234" y="649949"/>
                    </a:cubicBezTo>
                    <a:lnTo>
                      <a:pt x="278511" y="529743"/>
                    </a:lnTo>
                    <a:cubicBezTo>
                      <a:pt x="296704" y="500882"/>
                      <a:pt x="316611" y="473069"/>
                      <a:pt x="338138" y="446495"/>
                    </a:cubicBezTo>
                    <a:lnTo>
                      <a:pt x="469868" y="476594"/>
                    </a:lnTo>
                    <a:cubicBezTo>
                      <a:pt x="493776" y="482118"/>
                      <a:pt x="518922" y="475832"/>
                      <a:pt x="537401" y="459449"/>
                    </a:cubicBezTo>
                    <a:cubicBezTo>
                      <a:pt x="566547" y="433826"/>
                      <a:pt x="597884" y="410681"/>
                      <a:pt x="630841" y="390297"/>
                    </a:cubicBezTo>
                    <a:cubicBezTo>
                      <a:pt x="651129" y="377724"/>
                      <a:pt x="664369" y="356293"/>
                      <a:pt x="666560" y="332480"/>
                    </a:cubicBezTo>
                    <a:lnTo>
                      <a:pt x="679323" y="192653"/>
                    </a:lnTo>
                    <a:cubicBezTo>
                      <a:pt x="709708" y="180271"/>
                      <a:pt x="740855" y="169698"/>
                      <a:pt x="772478" y="161030"/>
                    </a:cubicBezTo>
                    <a:lnTo>
                      <a:pt x="862584" y="265615"/>
                    </a:lnTo>
                    <a:cubicBezTo>
                      <a:pt x="877062" y="282379"/>
                      <a:pt x="898112" y="292094"/>
                      <a:pt x="920306" y="292094"/>
                    </a:cubicBezTo>
                    <a:lnTo>
                      <a:pt x="1048703" y="292094"/>
                    </a:lnTo>
                    <a:cubicBezTo>
                      <a:pt x="1070896" y="292094"/>
                      <a:pt x="1091946" y="282379"/>
                      <a:pt x="1106424" y="265615"/>
                    </a:cubicBezTo>
                    <a:lnTo>
                      <a:pt x="1196531" y="161030"/>
                    </a:lnTo>
                    <a:cubicBezTo>
                      <a:pt x="1228154" y="169793"/>
                      <a:pt x="1259300" y="180271"/>
                      <a:pt x="1289780" y="192653"/>
                    </a:cubicBezTo>
                    <a:lnTo>
                      <a:pt x="1302544" y="332576"/>
                    </a:lnTo>
                    <a:cubicBezTo>
                      <a:pt x="1304735" y="356388"/>
                      <a:pt x="1317974" y="377724"/>
                      <a:pt x="1338263" y="390297"/>
                    </a:cubicBezTo>
                    <a:cubicBezTo>
                      <a:pt x="1371314" y="410585"/>
                      <a:pt x="1402556" y="433731"/>
                      <a:pt x="1431703" y="459353"/>
                    </a:cubicBezTo>
                    <a:cubicBezTo>
                      <a:pt x="1450086" y="475641"/>
                      <a:pt x="1475232" y="482023"/>
                      <a:pt x="1499235" y="476498"/>
                    </a:cubicBezTo>
                    <a:lnTo>
                      <a:pt x="1630966" y="446399"/>
                    </a:lnTo>
                    <a:cubicBezTo>
                      <a:pt x="1652492" y="472974"/>
                      <a:pt x="1672400" y="500787"/>
                      <a:pt x="1690592" y="529648"/>
                    </a:cubicBezTo>
                    <a:lnTo>
                      <a:pt x="1620869" y="649854"/>
                    </a:lnTo>
                    <a:cubicBezTo>
                      <a:pt x="1608963" y="670427"/>
                      <a:pt x="1607344" y="695288"/>
                      <a:pt x="1616393" y="717290"/>
                    </a:cubicBezTo>
                    <a:cubicBezTo>
                      <a:pt x="1631347" y="753867"/>
                      <a:pt x="1643158" y="791681"/>
                      <a:pt x="1651635" y="830352"/>
                    </a:cubicBezTo>
                    <a:cubicBezTo>
                      <a:pt x="1657064" y="853784"/>
                      <a:pt x="1673162" y="873310"/>
                      <a:pt x="1695069" y="883025"/>
                    </a:cubicBezTo>
                    <a:lnTo>
                      <a:pt x="1816703" y="936651"/>
                    </a:lnTo>
                    <a:lnTo>
                      <a:pt x="1816894" y="1044474"/>
                    </a:lnTo>
                    <a:lnTo>
                      <a:pt x="1816894" y="10444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4" name="Freeform: Shape 880">
                <a:extLst>
                  <a:ext uri="{FF2B5EF4-FFF2-40B4-BE49-F238E27FC236}">
                    <a16:creationId xmlns:a16="http://schemas.microsoft.com/office/drawing/2014/main" id="{34681CB6-A942-4FE2-929F-A14543B832CE}"/>
                  </a:ext>
                </a:extLst>
              </p:cNvPr>
              <p:cNvSpPr/>
              <p:nvPr/>
            </p:nvSpPr>
            <p:spPr bwMode="gray">
              <a:xfrm>
                <a:off x="14437961" y="747807"/>
                <a:ext cx="1066800" cy="1057275"/>
              </a:xfrm>
              <a:custGeom>
                <a:avLst/>
                <a:gdLst>
                  <a:gd name="connsiteX0" fmla="*/ 533400 w 1066800"/>
                  <a:gd name="connsiteY0" fmla="*/ 0 h 1057275"/>
                  <a:gd name="connsiteX1" fmla="*/ 0 w 1066800"/>
                  <a:gd name="connsiteY1" fmla="*/ 533400 h 1057275"/>
                  <a:gd name="connsiteX2" fmla="*/ 533400 w 1066800"/>
                  <a:gd name="connsiteY2" fmla="*/ 1066800 h 1057275"/>
                  <a:gd name="connsiteX3" fmla="*/ 1066800 w 1066800"/>
                  <a:gd name="connsiteY3" fmla="*/ 533400 h 1057275"/>
                  <a:gd name="connsiteX4" fmla="*/ 533400 w 1066800"/>
                  <a:gd name="connsiteY4" fmla="*/ 0 h 1057275"/>
                  <a:gd name="connsiteX5" fmla="*/ 533400 w 1066800"/>
                  <a:gd name="connsiteY5" fmla="*/ 914400 h 1057275"/>
                  <a:gd name="connsiteX6" fmla="*/ 152400 w 1066800"/>
                  <a:gd name="connsiteY6" fmla="*/ 533400 h 1057275"/>
                  <a:gd name="connsiteX7" fmla="*/ 533400 w 1066800"/>
                  <a:gd name="connsiteY7" fmla="*/ 152400 h 1057275"/>
                  <a:gd name="connsiteX8" fmla="*/ 914400 w 1066800"/>
                  <a:gd name="connsiteY8" fmla="*/ 533400 h 1057275"/>
                  <a:gd name="connsiteX9" fmla="*/ 533400 w 1066800"/>
                  <a:gd name="connsiteY9" fmla="*/ 914400 h 1057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66800" h="1057275">
                    <a:moveTo>
                      <a:pt x="533400" y="0"/>
                    </a:moveTo>
                    <a:cubicBezTo>
                      <a:pt x="238792" y="0"/>
                      <a:pt x="0" y="238792"/>
                      <a:pt x="0" y="533400"/>
                    </a:cubicBezTo>
                    <a:cubicBezTo>
                      <a:pt x="381" y="827818"/>
                      <a:pt x="238982" y="1066419"/>
                      <a:pt x="533400" y="1066800"/>
                    </a:cubicBezTo>
                    <a:cubicBezTo>
                      <a:pt x="828008" y="1066800"/>
                      <a:pt x="1066800" y="828008"/>
                      <a:pt x="1066800" y="533400"/>
                    </a:cubicBezTo>
                    <a:cubicBezTo>
                      <a:pt x="1066800" y="238792"/>
                      <a:pt x="827913" y="0"/>
                      <a:pt x="533400" y="0"/>
                    </a:cubicBezTo>
                    <a:close/>
                    <a:moveTo>
                      <a:pt x="533400" y="914400"/>
                    </a:moveTo>
                    <a:cubicBezTo>
                      <a:pt x="322993" y="914400"/>
                      <a:pt x="152400" y="743807"/>
                      <a:pt x="152400" y="533400"/>
                    </a:cubicBezTo>
                    <a:cubicBezTo>
                      <a:pt x="152686" y="323088"/>
                      <a:pt x="323088" y="152686"/>
                      <a:pt x="533400" y="152400"/>
                    </a:cubicBezTo>
                    <a:cubicBezTo>
                      <a:pt x="743807" y="152400"/>
                      <a:pt x="914400" y="322993"/>
                      <a:pt x="914400" y="533400"/>
                    </a:cubicBezTo>
                    <a:cubicBezTo>
                      <a:pt x="914400" y="743807"/>
                      <a:pt x="743807" y="914400"/>
                      <a:pt x="533400" y="914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5" name="Freeform: Shape 881">
                <a:extLst>
                  <a:ext uri="{FF2B5EF4-FFF2-40B4-BE49-F238E27FC236}">
                    <a16:creationId xmlns:a16="http://schemas.microsoft.com/office/drawing/2014/main" id="{7E4C524D-1DDE-4991-8F0B-D46A35027E69}"/>
                  </a:ext>
                </a:extLst>
              </p:cNvPr>
              <p:cNvSpPr/>
              <p:nvPr/>
            </p:nvSpPr>
            <p:spPr bwMode="gray">
              <a:xfrm>
                <a:off x="16881028" y="290454"/>
                <a:ext cx="1657350" cy="1676400"/>
              </a:xfrm>
              <a:custGeom>
                <a:avLst/>
                <a:gdLst>
                  <a:gd name="connsiteX0" fmla="*/ 1621346 w 1657350"/>
                  <a:gd name="connsiteY0" fmla="*/ 682334 h 1676400"/>
                  <a:gd name="connsiteX1" fmla="*/ 1516094 w 1657350"/>
                  <a:gd name="connsiteY1" fmla="*/ 635852 h 1676400"/>
                  <a:gd name="connsiteX2" fmla="*/ 1502759 w 1657350"/>
                  <a:gd name="connsiteY2" fmla="*/ 593180 h 1676400"/>
                  <a:gd name="connsiteX3" fmla="*/ 1561433 w 1657350"/>
                  <a:gd name="connsiteY3" fmla="*/ 492119 h 1676400"/>
                  <a:gd name="connsiteX4" fmla="*/ 1562005 w 1657350"/>
                  <a:gd name="connsiteY4" fmla="*/ 416681 h 1676400"/>
                  <a:gd name="connsiteX5" fmla="*/ 1452277 w 1657350"/>
                  <a:gd name="connsiteY5" fmla="*/ 263424 h 1676400"/>
                  <a:gd name="connsiteX6" fmla="*/ 1378553 w 1657350"/>
                  <a:gd name="connsiteY6" fmla="*/ 239993 h 1676400"/>
                  <a:gd name="connsiteX7" fmla="*/ 1267778 w 1657350"/>
                  <a:gd name="connsiteY7" fmla="*/ 265329 h 1676400"/>
                  <a:gd name="connsiteX8" fmla="*/ 1234250 w 1657350"/>
                  <a:gd name="connsiteY8" fmla="*/ 240659 h 1676400"/>
                  <a:gd name="connsiteX9" fmla="*/ 1223486 w 1657350"/>
                  <a:gd name="connsiteY9" fmla="*/ 123216 h 1676400"/>
                  <a:gd name="connsiteX10" fmla="*/ 1179576 w 1657350"/>
                  <a:gd name="connsiteY10" fmla="*/ 61018 h 1676400"/>
                  <a:gd name="connsiteX11" fmla="*/ 1002887 w 1657350"/>
                  <a:gd name="connsiteY11" fmla="*/ 1677 h 1676400"/>
                  <a:gd name="connsiteX12" fmla="*/ 929545 w 1657350"/>
                  <a:gd name="connsiteY12" fmla="*/ 26537 h 1676400"/>
                  <a:gd name="connsiteX13" fmla="*/ 852011 w 1657350"/>
                  <a:gd name="connsiteY13" fmla="*/ 116549 h 1676400"/>
                  <a:gd name="connsiteX14" fmla="*/ 814769 w 1657350"/>
                  <a:gd name="connsiteY14" fmla="*/ 116549 h 1676400"/>
                  <a:gd name="connsiteX15" fmla="*/ 737235 w 1657350"/>
                  <a:gd name="connsiteY15" fmla="*/ 26537 h 1676400"/>
                  <a:gd name="connsiteX16" fmla="*/ 663893 w 1657350"/>
                  <a:gd name="connsiteY16" fmla="*/ 1677 h 1676400"/>
                  <a:gd name="connsiteX17" fmla="*/ 487204 w 1657350"/>
                  <a:gd name="connsiteY17" fmla="*/ 61018 h 1676400"/>
                  <a:gd name="connsiteX18" fmla="*/ 443294 w 1657350"/>
                  <a:gd name="connsiteY18" fmla="*/ 123216 h 1676400"/>
                  <a:gd name="connsiteX19" fmla="*/ 432530 w 1657350"/>
                  <a:gd name="connsiteY19" fmla="*/ 240659 h 1676400"/>
                  <a:gd name="connsiteX20" fmla="*/ 399002 w 1657350"/>
                  <a:gd name="connsiteY20" fmla="*/ 265329 h 1676400"/>
                  <a:gd name="connsiteX21" fmla="*/ 288227 w 1657350"/>
                  <a:gd name="connsiteY21" fmla="*/ 239993 h 1676400"/>
                  <a:gd name="connsiteX22" fmla="*/ 214503 w 1657350"/>
                  <a:gd name="connsiteY22" fmla="*/ 263424 h 1676400"/>
                  <a:gd name="connsiteX23" fmla="*/ 104870 w 1657350"/>
                  <a:gd name="connsiteY23" fmla="*/ 416681 h 1676400"/>
                  <a:gd name="connsiteX24" fmla="*/ 105442 w 1657350"/>
                  <a:gd name="connsiteY24" fmla="*/ 492024 h 1676400"/>
                  <a:gd name="connsiteX25" fmla="*/ 164021 w 1657350"/>
                  <a:gd name="connsiteY25" fmla="*/ 592989 h 1676400"/>
                  <a:gd name="connsiteX26" fmla="*/ 150686 w 1657350"/>
                  <a:gd name="connsiteY26" fmla="*/ 635661 h 1676400"/>
                  <a:gd name="connsiteX27" fmla="*/ 45434 w 1657350"/>
                  <a:gd name="connsiteY27" fmla="*/ 682143 h 1676400"/>
                  <a:gd name="connsiteX28" fmla="*/ 0 w 1657350"/>
                  <a:gd name="connsiteY28" fmla="*/ 751866 h 1676400"/>
                  <a:gd name="connsiteX29" fmla="*/ 0 w 1657350"/>
                  <a:gd name="connsiteY29" fmla="*/ 924364 h 1676400"/>
                  <a:gd name="connsiteX30" fmla="*/ 45434 w 1657350"/>
                  <a:gd name="connsiteY30" fmla="*/ 994087 h 1676400"/>
                  <a:gd name="connsiteX31" fmla="*/ 150686 w 1657350"/>
                  <a:gd name="connsiteY31" fmla="*/ 1040569 h 1676400"/>
                  <a:gd name="connsiteX32" fmla="*/ 164021 w 1657350"/>
                  <a:gd name="connsiteY32" fmla="*/ 1083241 h 1676400"/>
                  <a:gd name="connsiteX33" fmla="*/ 105346 w 1657350"/>
                  <a:gd name="connsiteY33" fmla="*/ 1184301 h 1676400"/>
                  <a:gd name="connsiteX34" fmla="*/ 104775 w 1657350"/>
                  <a:gd name="connsiteY34" fmla="*/ 1259739 h 1676400"/>
                  <a:gd name="connsiteX35" fmla="*/ 214503 w 1657350"/>
                  <a:gd name="connsiteY35" fmla="*/ 1412996 h 1676400"/>
                  <a:gd name="connsiteX36" fmla="*/ 288322 w 1657350"/>
                  <a:gd name="connsiteY36" fmla="*/ 1436428 h 1676400"/>
                  <a:gd name="connsiteX37" fmla="*/ 398907 w 1657350"/>
                  <a:gd name="connsiteY37" fmla="*/ 1411092 h 1676400"/>
                  <a:gd name="connsiteX38" fmla="*/ 432435 w 1657350"/>
                  <a:gd name="connsiteY38" fmla="*/ 1435857 h 1676400"/>
                  <a:gd name="connsiteX39" fmla="*/ 443198 w 1657350"/>
                  <a:gd name="connsiteY39" fmla="*/ 1553300 h 1676400"/>
                  <a:gd name="connsiteX40" fmla="*/ 487109 w 1657350"/>
                  <a:gd name="connsiteY40" fmla="*/ 1615498 h 1676400"/>
                  <a:gd name="connsiteX41" fmla="*/ 663797 w 1657350"/>
                  <a:gd name="connsiteY41" fmla="*/ 1674839 h 1676400"/>
                  <a:gd name="connsiteX42" fmla="*/ 737140 w 1657350"/>
                  <a:gd name="connsiteY42" fmla="*/ 1649979 h 1676400"/>
                  <a:gd name="connsiteX43" fmla="*/ 814673 w 1657350"/>
                  <a:gd name="connsiteY43" fmla="*/ 1559967 h 1676400"/>
                  <a:gd name="connsiteX44" fmla="*/ 851916 w 1657350"/>
                  <a:gd name="connsiteY44" fmla="*/ 1559967 h 1676400"/>
                  <a:gd name="connsiteX45" fmla="*/ 929450 w 1657350"/>
                  <a:gd name="connsiteY45" fmla="*/ 1649979 h 1676400"/>
                  <a:gd name="connsiteX46" fmla="*/ 987171 w 1657350"/>
                  <a:gd name="connsiteY46" fmla="*/ 1676458 h 1676400"/>
                  <a:gd name="connsiteX47" fmla="*/ 1002792 w 1657350"/>
                  <a:gd name="connsiteY47" fmla="*/ 1674839 h 1676400"/>
                  <a:gd name="connsiteX48" fmla="*/ 1179481 w 1657350"/>
                  <a:gd name="connsiteY48" fmla="*/ 1615498 h 1676400"/>
                  <a:gd name="connsiteX49" fmla="*/ 1223391 w 1657350"/>
                  <a:gd name="connsiteY49" fmla="*/ 1553300 h 1676400"/>
                  <a:gd name="connsiteX50" fmla="*/ 1234154 w 1657350"/>
                  <a:gd name="connsiteY50" fmla="*/ 1435857 h 1676400"/>
                  <a:gd name="connsiteX51" fmla="*/ 1267682 w 1657350"/>
                  <a:gd name="connsiteY51" fmla="*/ 1411187 h 1676400"/>
                  <a:gd name="connsiteX52" fmla="*/ 1378458 w 1657350"/>
                  <a:gd name="connsiteY52" fmla="*/ 1436523 h 1676400"/>
                  <a:gd name="connsiteX53" fmla="*/ 1452181 w 1657350"/>
                  <a:gd name="connsiteY53" fmla="*/ 1413092 h 1676400"/>
                  <a:gd name="connsiteX54" fmla="*/ 1561910 w 1657350"/>
                  <a:gd name="connsiteY54" fmla="*/ 1259834 h 1676400"/>
                  <a:gd name="connsiteX55" fmla="*/ 1561338 w 1657350"/>
                  <a:gd name="connsiteY55" fmla="*/ 1184396 h 1676400"/>
                  <a:gd name="connsiteX56" fmla="*/ 1502664 w 1657350"/>
                  <a:gd name="connsiteY56" fmla="*/ 1083336 h 1676400"/>
                  <a:gd name="connsiteX57" fmla="*/ 1515999 w 1657350"/>
                  <a:gd name="connsiteY57" fmla="*/ 1040664 h 1676400"/>
                  <a:gd name="connsiteX58" fmla="*/ 1621250 w 1657350"/>
                  <a:gd name="connsiteY58" fmla="*/ 994182 h 1676400"/>
                  <a:gd name="connsiteX59" fmla="*/ 1666685 w 1657350"/>
                  <a:gd name="connsiteY59" fmla="*/ 924459 h 1676400"/>
                  <a:gd name="connsiteX60" fmla="*/ 1666685 w 1657350"/>
                  <a:gd name="connsiteY60" fmla="*/ 752057 h 1676400"/>
                  <a:gd name="connsiteX61" fmla="*/ 1621346 w 1657350"/>
                  <a:gd name="connsiteY61" fmla="*/ 682334 h 1676400"/>
                  <a:gd name="connsiteX62" fmla="*/ 1514380 w 1657350"/>
                  <a:gd name="connsiteY62" fmla="*/ 874929 h 1676400"/>
                  <a:gd name="connsiteX63" fmla="*/ 1420559 w 1657350"/>
                  <a:gd name="connsiteY63" fmla="*/ 916268 h 1676400"/>
                  <a:gd name="connsiteX64" fmla="*/ 1377029 w 1657350"/>
                  <a:gd name="connsiteY64" fmla="*/ 969131 h 1676400"/>
                  <a:gd name="connsiteX65" fmla="*/ 1348264 w 1657350"/>
                  <a:gd name="connsiteY65" fmla="*/ 1061048 h 1676400"/>
                  <a:gd name="connsiteX66" fmla="*/ 1352741 w 1657350"/>
                  <a:gd name="connsiteY66" fmla="*/ 1128580 h 1676400"/>
                  <a:gd name="connsiteX67" fmla="*/ 1407033 w 1657350"/>
                  <a:gd name="connsiteY67" fmla="*/ 1222020 h 1676400"/>
                  <a:gd name="connsiteX68" fmla="*/ 1367314 w 1657350"/>
                  <a:gd name="connsiteY68" fmla="*/ 1277646 h 1676400"/>
                  <a:gd name="connsiteX69" fmla="*/ 1265206 w 1657350"/>
                  <a:gd name="connsiteY69" fmla="*/ 1254310 h 1676400"/>
                  <a:gd name="connsiteX70" fmla="*/ 1197864 w 1657350"/>
                  <a:gd name="connsiteY70" fmla="*/ 1271455 h 1676400"/>
                  <a:gd name="connsiteX71" fmla="*/ 1121855 w 1657350"/>
                  <a:gd name="connsiteY71" fmla="*/ 1327653 h 1676400"/>
                  <a:gd name="connsiteX72" fmla="*/ 1085945 w 1657350"/>
                  <a:gd name="connsiteY72" fmla="*/ 1385565 h 1676400"/>
                  <a:gd name="connsiteX73" fmla="*/ 1076039 w 1657350"/>
                  <a:gd name="connsiteY73" fmla="*/ 1494340 h 1676400"/>
                  <a:gd name="connsiteX74" fmla="*/ 1014603 w 1657350"/>
                  <a:gd name="connsiteY74" fmla="*/ 1515200 h 1676400"/>
                  <a:gd name="connsiteX75" fmla="*/ 944785 w 1657350"/>
                  <a:gd name="connsiteY75" fmla="*/ 1434142 h 1676400"/>
                  <a:gd name="connsiteX76" fmla="*/ 887063 w 1657350"/>
                  <a:gd name="connsiteY76" fmla="*/ 1407663 h 1676400"/>
                  <a:gd name="connsiteX77" fmla="*/ 780097 w 1657350"/>
                  <a:gd name="connsiteY77" fmla="*/ 1407663 h 1676400"/>
                  <a:gd name="connsiteX78" fmla="*/ 722376 w 1657350"/>
                  <a:gd name="connsiteY78" fmla="*/ 1434142 h 1676400"/>
                  <a:gd name="connsiteX79" fmla="*/ 652558 w 1657350"/>
                  <a:gd name="connsiteY79" fmla="*/ 1515200 h 1676400"/>
                  <a:gd name="connsiteX80" fmla="*/ 591122 w 1657350"/>
                  <a:gd name="connsiteY80" fmla="*/ 1494340 h 1676400"/>
                  <a:gd name="connsiteX81" fmla="*/ 581216 w 1657350"/>
                  <a:gd name="connsiteY81" fmla="*/ 1385565 h 1676400"/>
                  <a:gd name="connsiteX82" fmla="*/ 545306 w 1657350"/>
                  <a:gd name="connsiteY82" fmla="*/ 1327653 h 1676400"/>
                  <a:gd name="connsiteX83" fmla="*/ 469297 w 1657350"/>
                  <a:gd name="connsiteY83" fmla="*/ 1271455 h 1676400"/>
                  <a:gd name="connsiteX84" fmla="*/ 401764 w 1657350"/>
                  <a:gd name="connsiteY84" fmla="*/ 1254310 h 1676400"/>
                  <a:gd name="connsiteX85" fmla="*/ 299752 w 1657350"/>
                  <a:gd name="connsiteY85" fmla="*/ 1277646 h 1676400"/>
                  <a:gd name="connsiteX86" fmla="*/ 260033 w 1657350"/>
                  <a:gd name="connsiteY86" fmla="*/ 1222020 h 1676400"/>
                  <a:gd name="connsiteX87" fmla="*/ 314325 w 1657350"/>
                  <a:gd name="connsiteY87" fmla="*/ 1128580 h 1676400"/>
                  <a:gd name="connsiteX88" fmla="*/ 318802 w 1657350"/>
                  <a:gd name="connsiteY88" fmla="*/ 1061048 h 1676400"/>
                  <a:gd name="connsiteX89" fmla="*/ 290036 w 1657350"/>
                  <a:gd name="connsiteY89" fmla="*/ 969131 h 1676400"/>
                  <a:gd name="connsiteX90" fmla="*/ 246507 w 1657350"/>
                  <a:gd name="connsiteY90" fmla="*/ 916268 h 1676400"/>
                  <a:gd name="connsiteX91" fmla="*/ 152686 w 1657350"/>
                  <a:gd name="connsiteY91" fmla="*/ 874929 h 1676400"/>
                  <a:gd name="connsiteX92" fmla="*/ 152686 w 1657350"/>
                  <a:gd name="connsiteY92" fmla="*/ 801682 h 1676400"/>
                  <a:gd name="connsiteX93" fmla="*/ 246507 w 1657350"/>
                  <a:gd name="connsiteY93" fmla="*/ 760343 h 1676400"/>
                  <a:gd name="connsiteX94" fmla="*/ 290036 w 1657350"/>
                  <a:gd name="connsiteY94" fmla="*/ 707480 h 1676400"/>
                  <a:gd name="connsiteX95" fmla="*/ 318802 w 1657350"/>
                  <a:gd name="connsiteY95" fmla="*/ 615468 h 1676400"/>
                  <a:gd name="connsiteX96" fmla="*/ 314325 w 1657350"/>
                  <a:gd name="connsiteY96" fmla="*/ 548031 h 1676400"/>
                  <a:gd name="connsiteX97" fmla="*/ 260128 w 1657350"/>
                  <a:gd name="connsiteY97" fmla="*/ 454591 h 1676400"/>
                  <a:gd name="connsiteX98" fmla="*/ 299752 w 1657350"/>
                  <a:gd name="connsiteY98" fmla="*/ 398965 h 1676400"/>
                  <a:gd name="connsiteX99" fmla="*/ 401860 w 1657350"/>
                  <a:gd name="connsiteY99" fmla="*/ 422301 h 1676400"/>
                  <a:gd name="connsiteX100" fmla="*/ 469202 w 1657350"/>
                  <a:gd name="connsiteY100" fmla="*/ 405156 h 1676400"/>
                  <a:gd name="connsiteX101" fmla="*/ 545211 w 1657350"/>
                  <a:gd name="connsiteY101" fmla="*/ 348959 h 1676400"/>
                  <a:gd name="connsiteX102" fmla="*/ 581120 w 1657350"/>
                  <a:gd name="connsiteY102" fmla="*/ 291047 h 1676400"/>
                  <a:gd name="connsiteX103" fmla="*/ 591026 w 1657350"/>
                  <a:gd name="connsiteY103" fmla="*/ 182271 h 1676400"/>
                  <a:gd name="connsiteX104" fmla="*/ 652463 w 1657350"/>
                  <a:gd name="connsiteY104" fmla="*/ 161411 h 1676400"/>
                  <a:gd name="connsiteX105" fmla="*/ 722281 w 1657350"/>
                  <a:gd name="connsiteY105" fmla="*/ 242469 h 1676400"/>
                  <a:gd name="connsiteX106" fmla="*/ 780002 w 1657350"/>
                  <a:gd name="connsiteY106" fmla="*/ 268949 h 1676400"/>
                  <a:gd name="connsiteX107" fmla="*/ 886968 w 1657350"/>
                  <a:gd name="connsiteY107" fmla="*/ 268949 h 1676400"/>
                  <a:gd name="connsiteX108" fmla="*/ 944689 w 1657350"/>
                  <a:gd name="connsiteY108" fmla="*/ 242469 h 1676400"/>
                  <a:gd name="connsiteX109" fmla="*/ 1014508 w 1657350"/>
                  <a:gd name="connsiteY109" fmla="*/ 161411 h 1676400"/>
                  <a:gd name="connsiteX110" fmla="*/ 1075944 w 1657350"/>
                  <a:gd name="connsiteY110" fmla="*/ 182271 h 1676400"/>
                  <a:gd name="connsiteX111" fmla="*/ 1085850 w 1657350"/>
                  <a:gd name="connsiteY111" fmla="*/ 291047 h 1676400"/>
                  <a:gd name="connsiteX112" fmla="*/ 1121759 w 1657350"/>
                  <a:gd name="connsiteY112" fmla="*/ 348959 h 1676400"/>
                  <a:gd name="connsiteX113" fmla="*/ 1197769 w 1657350"/>
                  <a:gd name="connsiteY113" fmla="*/ 405156 h 1676400"/>
                  <a:gd name="connsiteX114" fmla="*/ 1265111 w 1657350"/>
                  <a:gd name="connsiteY114" fmla="*/ 422301 h 1676400"/>
                  <a:gd name="connsiteX115" fmla="*/ 1367219 w 1657350"/>
                  <a:gd name="connsiteY115" fmla="*/ 398965 h 1676400"/>
                  <a:gd name="connsiteX116" fmla="*/ 1406938 w 1657350"/>
                  <a:gd name="connsiteY116" fmla="*/ 454591 h 1676400"/>
                  <a:gd name="connsiteX117" fmla="*/ 1352645 w 1657350"/>
                  <a:gd name="connsiteY117" fmla="*/ 548031 h 1676400"/>
                  <a:gd name="connsiteX118" fmla="*/ 1348169 w 1657350"/>
                  <a:gd name="connsiteY118" fmla="*/ 615564 h 1676400"/>
                  <a:gd name="connsiteX119" fmla="*/ 1376934 w 1657350"/>
                  <a:gd name="connsiteY119" fmla="*/ 707480 h 1676400"/>
                  <a:gd name="connsiteX120" fmla="*/ 1420463 w 1657350"/>
                  <a:gd name="connsiteY120" fmla="*/ 760343 h 1676400"/>
                  <a:gd name="connsiteX121" fmla="*/ 1514285 w 1657350"/>
                  <a:gd name="connsiteY121" fmla="*/ 801682 h 1676400"/>
                  <a:gd name="connsiteX122" fmla="*/ 1514285 w 1657350"/>
                  <a:gd name="connsiteY122" fmla="*/ 874929 h 16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1657350" h="1676400">
                    <a:moveTo>
                      <a:pt x="1621346" y="682334"/>
                    </a:moveTo>
                    <a:lnTo>
                      <a:pt x="1516094" y="635852"/>
                    </a:lnTo>
                    <a:cubicBezTo>
                      <a:pt x="1511998" y="621088"/>
                      <a:pt x="1507522" y="606991"/>
                      <a:pt x="1502759" y="593180"/>
                    </a:cubicBezTo>
                    <a:lnTo>
                      <a:pt x="1561433" y="492119"/>
                    </a:lnTo>
                    <a:cubicBezTo>
                      <a:pt x="1574864" y="468783"/>
                      <a:pt x="1575149" y="440208"/>
                      <a:pt x="1562005" y="416681"/>
                    </a:cubicBezTo>
                    <a:cubicBezTo>
                      <a:pt x="1531144" y="361722"/>
                      <a:pt x="1494377" y="310382"/>
                      <a:pt x="1452277" y="263424"/>
                    </a:cubicBezTo>
                    <a:cubicBezTo>
                      <a:pt x="1433894" y="242660"/>
                      <a:pt x="1405604" y="233706"/>
                      <a:pt x="1378553" y="239993"/>
                    </a:cubicBezTo>
                    <a:lnTo>
                      <a:pt x="1267778" y="265329"/>
                    </a:lnTo>
                    <a:cubicBezTo>
                      <a:pt x="1256919" y="256852"/>
                      <a:pt x="1245775" y="248660"/>
                      <a:pt x="1234250" y="240659"/>
                    </a:cubicBezTo>
                    <a:lnTo>
                      <a:pt x="1223486" y="123216"/>
                    </a:lnTo>
                    <a:cubicBezTo>
                      <a:pt x="1221010" y="96165"/>
                      <a:pt x="1204246" y="72353"/>
                      <a:pt x="1179576" y="61018"/>
                    </a:cubicBezTo>
                    <a:cubicBezTo>
                      <a:pt x="1123093" y="34634"/>
                      <a:pt x="1063847" y="14726"/>
                      <a:pt x="1002887" y="1677"/>
                    </a:cubicBezTo>
                    <a:cubicBezTo>
                      <a:pt x="975741" y="-4133"/>
                      <a:pt x="947547" y="5392"/>
                      <a:pt x="929545" y="26537"/>
                    </a:cubicBezTo>
                    <a:lnTo>
                      <a:pt x="852011" y="116549"/>
                    </a:lnTo>
                    <a:lnTo>
                      <a:pt x="814769" y="116549"/>
                    </a:lnTo>
                    <a:lnTo>
                      <a:pt x="737235" y="26537"/>
                    </a:lnTo>
                    <a:cubicBezTo>
                      <a:pt x="719233" y="5392"/>
                      <a:pt x="691039" y="-4133"/>
                      <a:pt x="663893" y="1677"/>
                    </a:cubicBezTo>
                    <a:cubicBezTo>
                      <a:pt x="602933" y="14726"/>
                      <a:pt x="543592" y="34634"/>
                      <a:pt x="487204" y="61018"/>
                    </a:cubicBezTo>
                    <a:cubicBezTo>
                      <a:pt x="462534" y="72448"/>
                      <a:pt x="445770" y="96165"/>
                      <a:pt x="443294" y="123216"/>
                    </a:cubicBezTo>
                    <a:lnTo>
                      <a:pt x="432530" y="240659"/>
                    </a:lnTo>
                    <a:cubicBezTo>
                      <a:pt x="421100" y="248660"/>
                      <a:pt x="409861" y="256852"/>
                      <a:pt x="399002" y="265329"/>
                    </a:cubicBezTo>
                    <a:lnTo>
                      <a:pt x="288227" y="239993"/>
                    </a:lnTo>
                    <a:cubicBezTo>
                      <a:pt x="261176" y="233706"/>
                      <a:pt x="232981" y="242755"/>
                      <a:pt x="214503" y="263424"/>
                    </a:cubicBezTo>
                    <a:cubicBezTo>
                      <a:pt x="172403" y="310287"/>
                      <a:pt x="135636" y="361722"/>
                      <a:pt x="104870" y="416681"/>
                    </a:cubicBezTo>
                    <a:cubicBezTo>
                      <a:pt x="91726" y="440208"/>
                      <a:pt x="92012" y="468783"/>
                      <a:pt x="105442" y="492024"/>
                    </a:cubicBezTo>
                    <a:lnTo>
                      <a:pt x="164021" y="592989"/>
                    </a:lnTo>
                    <a:cubicBezTo>
                      <a:pt x="159258" y="606705"/>
                      <a:pt x="154781" y="620993"/>
                      <a:pt x="150686" y="635661"/>
                    </a:cubicBezTo>
                    <a:lnTo>
                      <a:pt x="45434" y="682143"/>
                    </a:lnTo>
                    <a:cubicBezTo>
                      <a:pt x="17812" y="694335"/>
                      <a:pt x="0" y="721672"/>
                      <a:pt x="0" y="751866"/>
                    </a:cubicBezTo>
                    <a:lnTo>
                      <a:pt x="0" y="924364"/>
                    </a:lnTo>
                    <a:cubicBezTo>
                      <a:pt x="0" y="954558"/>
                      <a:pt x="17812" y="981895"/>
                      <a:pt x="45434" y="994087"/>
                    </a:cubicBezTo>
                    <a:lnTo>
                      <a:pt x="150686" y="1040569"/>
                    </a:lnTo>
                    <a:cubicBezTo>
                      <a:pt x="154781" y="1055333"/>
                      <a:pt x="159258" y="1069430"/>
                      <a:pt x="164021" y="1083241"/>
                    </a:cubicBezTo>
                    <a:lnTo>
                      <a:pt x="105346" y="1184301"/>
                    </a:lnTo>
                    <a:cubicBezTo>
                      <a:pt x="91916" y="1207638"/>
                      <a:pt x="91630" y="1236213"/>
                      <a:pt x="104775" y="1259739"/>
                    </a:cubicBezTo>
                    <a:cubicBezTo>
                      <a:pt x="135636" y="1314699"/>
                      <a:pt x="172403" y="1366038"/>
                      <a:pt x="214503" y="1412996"/>
                    </a:cubicBezTo>
                    <a:cubicBezTo>
                      <a:pt x="232981" y="1433761"/>
                      <a:pt x="261271" y="1442715"/>
                      <a:pt x="288322" y="1436428"/>
                    </a:cubicBezTo>
                    <a:lnTo>
                      <a:pt x="398907" y="1411092"/>
                    </a:lnTo>
                    <a:cubicBezTo>
                      <a:pt x="409766" y="1419664"/>
                      <a:pt x="421005" y="1427951"/>
                      <a:pt x="432435" y="1435857"/>
                    </a:cubicBezTo>
                    <a:lnTo>
                      <a:pt x="443198" y="1553300"/>
                    </a:lnTo>
                    <a:cubicBezTo>
                      <a:pt x="445675" y="1580446"/>
                      <a:pt x="462439" y="1604163"/>
                      <a:pt x="487109" y="1615498"/>
                    </a:cubicBezTo>
                    <a:cubicBezTo>
                      <a:pt x="543592" y="1641882"/>
                      <a:pt x="602837" y="1661790"/>
                      <a:pt x="663797" y="1674839"/>
                    </a:cubicBezTo>
                    <a:cubicBezTo>
                      <a:pt x="690944" y="1680554"/>
                      <a:pt x="719138" y="1671029"/>
                      <a:pt x="737140" y="1649979"/>
                    </a:cubicBezTo>
                    <a:lnTo>
                      <a:pt x="814673" y="1559967"/>
                    </a:lnTo>
                    <a:lnTo>
                      <a:pt x="851916" y="1559967"/>
                    </a:lnTo>
                    <a:lnTo>
                      <a:pt x="929450" y="1649979"/>
                    </a:lnTo>
                    <a:cubicBezTo>
                      <a:pt x="943928" y="1666838"/>
                      <a:pt x="964978" y="1676458"/>
                      <a:pt x="987171" y="1676458"/>
                    </a:cubicBezTo>
                    <a:cubicBezTo>
                      <a:pt x="992410" y="1676458"/>
                      <a:pt x="997648" y="1675887"/>
                      <a:pt x="1002792" y="1674839"/>
                    </a:cubicBezTo>
                    <a:cubicBezTo>
                      <a:pt x="1063752" y="1661790"/>
                      <a:pt x="1123093" y="1641882"/>
                      <a:pt x="1179481" y="1615498"/>
                    </a:cubicBezTo>
                    <a:cubicBezTo>
                      <a:pt x="1204151" y="1604068"/>
                      <a:pt x="1220914" y="1580351"/>
                      <a:pt x="1223391" y="1553300"/>
                    </a:cubicBezTo>
                    <a:lnTo>
                      <a:pt x="1234154" y="1435857"/>
                    </a:lnTo>
                    <a:cubicBezTo>
                      <a:pt x="1245584" y="1427855"/>
                      <a:pt x="1256824" y="1419664"/>
                      <a:pt x="1267682" y="1411187"/>
                    </a:cubicBezTo>
                    <a:lnTo>
                      <a:pt x="1378458" y="1436523"/>
                    </a:lnTo>
                    <a:cubicBezTo>
                      <a:pt x="1405509" y="1442810"/>
                      <a:pt x="1433798" y="1433761"/>
                      <a:pt x="1452181" y="1413092"/>
                    </a:cubicBezTo>
                    <a:cubicBezTo>
                      <a:pt x="1494282" y="1366229"/>
                      <a:pt x="1531048" y="1314794"/>
                      <a:pt x="1561910" y="1259834"/>
                    </a:cubicBezTo>
                    <a:cubicBezTo>
                      <a:pt x="1575054" y="1236308"/>
                      <a:pt x="1574768" y="1207638"/>
                      <a:pt x="1561338" y="1184396"/>
                    </a:cubicBezTo>
                    <a:lnTo>
                      <a:pt x="1502664" y="1083336"/>
                    </a:lnTo>
                    <a:cubicBezTo>
                      <a:pt x="1507427" y="1069620"/>
                      <a:pt x="1511903" y="1055428"/>
                      <a:pt x="1515999" y="1040664"/>
                    </a:cubicBezTo>
                    <a:lnTo>
                      <a:pt x="1621250" y="994182"/>
                    </a:lnTo>
                    <a:cubicBezTo>
                      <a:pt x="1648873" y="981990"/>
                      <a:pt x="1666685" y="954654"/>
                      <a:pt x="1666685" y="924459"/>
                    </a:cubicBezTo>
                    <a:lnTo>
                      <a:pt x="1666685" y="752057"/>
                    </a:lnTo>
                    <a:cubicBezTo>
                      <a:pt x="1666780" y="721862"/>
                      <a:pt x="1648968" y="694526"/>
                      <a:pt x="1621346" y="682334"/>
                    </a:cubicBezTo>
                    <a:close/>
                    <a:moveTo>
                      <a:pt x="1514380" y="874929"/>
                    </a:moveTo>
                    <a:lnTo>
                      <a:pt x="1420559" y="916268"/>
                    </a:lnTo>
                    <a:cubicBezTo>
                      <a:pt x="1398461" y="925983"/>
                      <a:pt x="1382363" y="945605"/>
                      <a:pt x="1377029" y="969131"/>
                    </a:cubicBezTo>
                    <a:cubicBezTo>
                      <a:pt x="1370076" y="1000564"/>
                      <a:pt x="1360456" y="1031235"/>
                      <a:pt x="1348264" y="1061048"/>
                    </a:cubicBezTo>
                    <a:cubicBezTo>
                      <a:pt x="1339215" y="1083050"/>
                      <a:pt x="1340834" y="1108006"/>
                      <a:pt x="1352741" y="1128580"/>
                    </a:cubicBezTo>
                    <a:lnTo>
                      <a:pt x="1407033" y="1222020"/>
                    </a:lnTo>
                    <a:cubicBezTo>
                      <a:pt x="1394746" y="1241070"/>
                      <a:pt x="1381506" y="1259644"/>
                      <a:pt x="1367314" y="1277646"/>
                    </a:cubicBezTo>
                    <a:lnTo>
                      <a:pt x="1265206" y="1254310"/>
                    </a:lnTo>
                    <a:cubicBezTo>
                      <a:pt x="1241298" y="1248690"/>
                      <a:pt x="1216152" y="1255072"/>
                      <a:pt x="1197864" y="1271455"/>
                    </a:cubicBezTo>
                    <a:cubicBezTo>
                      <a:pt x="1174147" y="1292315"/>
                      <a:pt x="1148715" y="1311079"/>
                      <a:pt x="1121855" y="1327653"/>
                    </a:cubicBezTo>
                    <a:cubicBezTo>
                      <a:pt x="1101471" y="1340225"/>
                      <a:pt x="1088136" y="1361657"/>
                      <a:pt x="1085945" y="1385565"/>
                    </a:cubicBezTo>
                    <a:lnTo>
                      <a:pt x="1076039" y="1494340"/>
                    </a:lnTo>
                    <a:cubicBezTo>
                      <a:pt x="1055561" y="1502341"/>
                      <a:pt x="1035082" y="1509390"/>
                      <a:pt x="1014603" y="1515200"/>
                    </a:cubicBezTo>
                    <a:lnTo>
                      <a:pt x="944785" y="1434142"/>
                    </a:lnTo>
                    <a:cubicBezTo>
                      <a:pt x="930307" y="1417378"/>
                      <a:pt x="909256" y="1407663"/>
                      <a:pt x="887063" y="1407663"/>
                    </a:cubicBezTo>
                    <a:lnTo>
                      <a:pt x="780097" y="1407663"/>
                    </a:lnTo>
                    <a:cubicBezTo>
                      <a:pt x="757904" y="1407663"/>
                      <a:pt x="736854" y="1417378"/>
                      <a:pt x="722376" y="1434142"/>
                    </a:cubicBezTo>
                    <a:lnTo>
                      <a:pt x="652558" y="1515200"/>
                    </a:lnTo>
                    <a:cubicBezTo>
                      <a:pt x="632079" y="1509390"/>
                      <a:pt x="611600" y="1502436"/>
                      <a:pt x="591122" y="1494340"/>
                    </a:cubicBezTo>
                    <a:lnTo>
                      <a:pt x="581216" y="1385565"/>
                    </a:lnTo>
                    <a:cubicBezTo>
                      <a:pt x="579025" y="1361657"/>
                      <a:pt x="565690" y="1340225"/>
                      <a:pt x="545306" y="1327653"/>
                    </a:cubicBezTo>
                    <a:cubicBezTo>
                      <a:pt x="518446" y="1311079"/>
                      <a:pt x="493014" y="1292315"/>
                      <a:pt x="469297" y="1271455"/>
                    </a:cubicBezTo>
                    <a:cubicBezTo>
                      <a:pt x="450818" y="1255263"/>
                      <a:pt x="425768" y="1248881"/>
                      <a:pt x="401764" y="1254310"/>
                    </a:cubicBezTo>
                    <a:lnTo>
                      <a:pt x="299752" y="1277646"/>
                    </a:lnTo>
                    <a:cubicBezTo>
                      <a:pt x="285560" y="1259739"/>
                      <a:pt x="272320" y="1241070"/>
                      <a:pt x="260033" y="1222020"/>
                    </a:cubicBezTo>
                    <a:lnTo>
                      <a:pt x="314325" y="1128580"/>
                    </a:lnTo>
                    <a:cubicBezTo>
                      <a:pt x="326231" y="1108006"/>
                      <a:pt x="327851" y="1083050"/>
                      <a:pt x="318802" y="1061048"/>
                    </a:cubicBezTo>
                    <a:cubicBezTo>
                      <a:pt x="306610" y="1031235"/>
                      <a:pt x="296989" y="1000564"/>
                      <a:pt x="290036" y="969131"/>
                    </a:cubicBezTo>
                    <a:cubicBezTo>
                      <a:pt x="284702" y="945605"/>
                      <a:pt x="268605" y="925983"/>
                      <a:pt x="246507" y="916268"/>
                    </a:cubicBezTo>
                    <a:lnTo>
                      <a:pt x="152686" y="874929"/>
                    </a:lnTo>
                    <a:lnTo>
                      <a:pt x="152686" y="801682"/>
                    </a:lnTo>
                    <a:lnTo>
                      <a:pt x="246507" y="760343"/>
                    </a:lnTo>
                    <a:cubicBezTo>
                      <a:pt x="268605" y="750628"/>
                      <a:pt x="284702" y="731006"/>
                      <a:pt x="290036" y="707480"/>
                    </a:cubicBezTo>
                    <a:cubicBezTo>
                      <a:pt x="296989" y="676047"/>
                      <a:pt x="306610" y="645281"/>
                      <a:pt x="318802" y="615468"/>
                    </a:cubicBezTo>
                    <a:cubicBezTo>
                      <a:pt x="327851" y="593561"/>
                      <a:pt x="326231" y="568605"/>
                      <a:pt x="314325" y="548031"/>
                    </a:cubicBezTo>
                    <a:lnTo>
                      <a:pt x="260128" y="454591"/>
                    </a:lnTo>
                    <a:cubicBezTo>
                      <a:pt x="272320" y="435636"/>
                      <a:pt x="285560" y="417062"/>
                      <a:pt x="299752" y="398965"/>
                    </a:cubicBezTo>
                    <a:lnTo>
                      <a:pt x="401860" y="422301"/>
                    </a:lnTo>
                    <a:cubicBezTo>
                      <a:pt x="425768" y="427826"/>
                      <a:pt x="450818" y="421444"/>
                      <a:pt x="469202" y="405156"/>
                    </a:cubicBezTo>
                    <a:cubicBezTo>
                      <a:pt x="492919" y="384296"/>
                      <a:pt x="518351" y="365532"/>
                      <a:pt x="545211" y="348959"/>
                    </a:cubicBezTo>
                    <a:cubicBezTo>
                      <a:pt x="565595" y="336386"/>
                      <a:pt x="578930" y="314954"/>
                      <a:pt x="581120" y="291047"/>
                    </a:cubicBezTo>
                    <a:lnTo>
                      <a:pt x="591026" y="182271"/>
                    </a:lnTo>
                    <a:cubicBezTo>
                      <a:pt x="611505" y="174270"/>
                      <a:pt x="631984" y="167222"/>
                      <a:pt x="652463" y="161411"/>
                    </a:cubicBezTo>
                    <a:lnTo>
                      <a:pt x="722281" y="242469"/>
                    </a:lnTo>
                    <a:cubicBezTo>
                      <a:pt x="736759" y="259233"/>
                      <a:pt x="757809" y="268949"/>
                      <a:pt x="780002" y="268949"/>
                    </a:cubicBezTo>
                    <a:lnTo>
                      <a:pt x="886968" y="268949"/>
                    </a:lnTo>
                    <a:cubicBezTo>
                      <a:pt x="909161" y="268949"/>
                      <a:pt x="930212" y="259233"/>
                      <a:pt x="944689" y="242469"/>
                    </a:cubicBezTo>
                    <a:lnTo>
                      <a:pt x="1014508" y="161411"/>
                    </a:lnTo>
                    <a:cubicBezTo>
                      <a:pt x="1034987" y="167222"/>
                      <a:pt x="1055465" y="174175"/>
                      <a:pt x="1075944" y="182271"/>
                    </a:cubicBezTo>
                    <a:lnTo>
                      <a:pt x="1085850" y="291047"/>
                    </a:lnTo>
                    <a:cubicBezTo>
                      <a:pt x="1088041" y="314859"/>
                      <a:pt x="1101376" y="336386"/>
                      <a:pt x="1121759" y="348959"/>
                    </a:cubicBezTo>
                    <a:cubicBezTo>
                      <a:pt x="1148620" y="365532"/>
                      <a:pt x="1174052" y="384296"/>
                      <a:pt x="1197769" y="405156"/>
                    </a:cubicBezTo>
                    <a:cubicBezTo>
                      <a:pt x="1216152" y="421444"/>
                      <a:pt x="1241203" y="427826"/>
                      <a:pt x="1265111" y="422301"/>
                    </a:cubicBezTo>
                    <a:lnTo>
                      <a:pt x="1367219" y="398965"/>
                    </a:lnTo>
                    <a:cubicBezTo>
                      <a:pt x="1381411" y="416967"/>
                      <a:pt x="1394651" y="435541"/>
                      <a:pt x="1406938" y="454591"/>
                    </a:cubicBezTo>
                    <a:lnTo>
                      <a:pt x="1352645" y="548031"/>
                    </a:lnTo>
                    <a:cubicBezTo>
                      <a:pt x="1340739" y="568605"/>
                      <a:pt x="1339120" y="593561"/>
                      <a:pt x="1348169" y="615564"/>
                    </a:cubicBezTo>
                    <a:cubicBezTo>
                      <a:pt x="1360361" y="645377"/>
                      <a:pt x="1369981" y="676047"/>
                      <a:pt x="1376934" y="707480"/>
                    </a:cubicBezTo>
                    <a:cubicBezTo>
                      <a:pt x="1382268" y="731006"/>
                      <a:pt x="1398365" y="750628"/>
                      <a:pt x="1420463" y="760343"/>
                    </a:cubicBezTo>
                    <a:lnTo>
                      <a:pt x="1514285" y="801682"/>
                    </a:lnTo>
                    <a:lnTo>
                      <a:pt x="1514285" y="87492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6" name="Freeform: Shape 882">
                <a:extLst>
                  <a:ext uri="{FF2B5EF4-FFF2-40B4-BE49-F238E27FC236}">
                    <a16:creationId xmlns:a16="http://schemas.microsoft.com/office/drawing/2014/main" id="{501D7954-9F75-4251-8373-E2660C1524F2}"/>
                  </a:ext>
                </a:extLst>
              </p:cNvPr>
              <p:cNvSpPr/>
              <p:nvPr/>
            </p:nvSpPr>
            <p:spPr bwMode="gray">
              <a:xfrm>
                <a:off x="17333561" y="747807"/>
                <a:ext cx="762000" cy="752475"/>
              </a:xfrm>
              <a:custGeom>
                <a:avLst/>
                <a:gdLst>
                  <a:gd name="connsiteX0" fmla="*/ 381000 w 762000"/>
                  <a:gd name="connsiteY0" fmla="*/ 0 h 752475"/>
                  <a:gd name="connsiteX1" fmla="*/ 0 w 762000"/>
                  <a:gd name="connsiteY1" fmla="*/ 381000 h 752475"/>
                  <a:gd name="connsiteX2" fmla="*/ 381000 w 762000"/>
                  <a:gd name="connsiteY2" fmla="*/ 762000 h 752475"/>
                  <a:gd name="connsiteX3" fmla="*/ 762000 w 762000"/>
                  <a:gd name="connsiteY3" fmla="*/ 381000 h 752475"/>
                  <a:gd name="connsiteX4" fmla="*/ 381000 w 762000"/>
                  <a:gd name="connsiteY4" fmla="*/ 0 h 752475"/>
                  <a:gd name="connsiteX5" fmla="*/ 381000 w 762000"/>
                  <a:gd name="connsiteY5" fmla="*/ 609600 h 752475"/>
                  <a:gd name="connsiteX6" fmla="*/ 152400 w 762000"/>
                  <a:gd name="connsiteY6" fmla="*/ 381000 h 752475"/>
                  <a:gd name="connsiteX7" fmla="*/ 381000 w 762000"/>
                  <a:gd name="connsiteY7" fmla="*/ 152400 h 752475"/>
                  <a:gd name="connsiteX8" fmla="*/ 609600 w 762000"/>
                  <a:gd name="connsiteY8" fmla="*/ 381000 h 752475"/>
                  <a:gd name="connsiteX9" fmla="*/ 381000 w 762000"/>
                  <a:gd name="connsiteY9" fmla="*/ 609600 h 752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0" h="752475">
                    <a:moveTo>
                      <a:pt x="381000" y="0"/>
                    </a:moveTo>
                    <a:cubicBezTo>
                      <a:pt x="170593" y="0"/>
                      <a:pt x="0" y="170593"/>
                      <a:pt x="0" y="381000"/>
                    </a:cubicBezTo>
                    <a:cubicBezTo>
                      <a:pt x="286" y="591312"/>
                      <a:pt x="170688" y="761714"/>
                      <a:pt x="381000" y="762000"/>
                    </a:cubicBezTo>
                    <a:cubicBezTo>
                      <a:pt x="591407" y="762000"/>
                      <a:pt x="762000" y="591407"/>
                      <a:pt x="762000" y="381000"/>
                    </a:cubicBezTo>
                    <a:cubicBezTo>
                      <a:pt x="762000" y="170593"/>
                      <a:pt x="591407" y="0"/>
                      <a:pt x="381000" y="0"/>
                    </a:cubicBezTo>
                    <a:close/>
                    <a:moveTo>
                      <a:pt x="381000" y="609600"/>
                    </a:moveTo>
                    <a:cubicBezTo>
                      <a:pt x="254698" y="609600"/>
                      <a:pt x="152400" y="507206"/>
                      <a:pt x="152400" y="381000"/>
                    </a:cubicBezTo>
                    <a:cubicBezTo>
                      <a:pt x="152495" y="254794"/>
                      <a:pt x="254794" y="152495"/>
                      <a:pt x="381000" y="152400"/>
                    </a:cubicBezTo>
                    <a:cubicBezTo>
                      <a:pt x="507302" y="152400"/>
                      <a:pt x="609600" y="254794"/>
                      <a:pt x="609600" y="381000"/>
                    </a:cubicBezTo>
                    <a:cubicBezTo>
                      <a:pt x="609600" y="507206"/>
                      <a:pt x="507206" y="609600"/>
                      <a:pt x="381000" y="6096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7" name="Freeform: Shape 883">
                <a:extLst>
                  <a:ext uri="{FF2B5EF4-FFF2-40B4-BE49-F238E27FC236}">
                    <a16:creationId xmlns:a16="http://schemas.microsoft.com/office/drawing/2014/main" id="{B50092D1-AFFD-4CC5-89B2-6176CD10FDA8}"/>
                  </a:ext>
                </a:extLst>
              </p:cNvPr>
              <p:cNvSpPr/>
              <p:nvPr/>
            </p:nvSpPr>
            <p:spPr bwMode="gray">
              <a:xfrm>
                <a:off x="16275238" y="2585275"/>
                <a:ext cx="2266950" cy="2266950"/>
              </a:xfrm>
              <a:custGeom>
                <a:avLst/>
                <a:gdLst>
                  <a:gd name="connsiteX0" fmla="*/ 2208276 w 2266950"/>
                  <a:gd name="connsiteY0" fmla="*/ 929831 h 2266950"/>
                  <a:gd name="connsiteX1" fmla="*/ 2097881 w 2266950"/>
                  <a:gd name="connsiteY1" fmla="*/ 906590 h 2266950"/>
                  <a:gd name="connsiteX2" fmla="*/ 2082451 w 2266950"/>
                  <a:gd name="connsiteY2" fmla="*/ 849344 h 2266950"/>
                  <a:gd name="connsiteX3" fmla="*/ 2167128 w 2266950"/>
                  <a:gd name="connsiteY3" fmla="*/ 773430 h 2266950"/>
                  <a:gd name="connsiteX4" fmla="*/ 2186369 w 2266950"/>
                  <a:gd name="connsiteY4" fmla="*/ 686848 h 2266950"/>
                  <a:gd name="connsiteX5" fmla="*/ 2046351 w 2266950"/>
                  <a:gd name="connsiteY5" fmla="*/ 447103 h 2266950"/>
                  <a:gd name="connsiteX6" fmla="*/ 1961674 w 2266950"/>
                  <a:gd name="connsiteY6" fmla="*/ 420529 h 2266950"/>
                  <a:gd name="connsiteX7" fmla="*/ 1855184 w 2266950"/>
                  <a:gd name="connsiteY7" fmla="*/ 455485 h 2266950"/>
                  <a:gd name="connsiteX8" fmla="*/ 1813179 w 2266950"/>
                  <a:gd name="connsiteY8" fmla="*/ 413480 h 2266950"/>
                  <a:gd name="connsiteX9" fmla="*/ 1848136 w 2266950"/>
                  <a:gd name="connsiteY9" fmla="*/ 307086 h 2266950"/>
                  <a:gd name="connsiteX10" fmla="*/ 1821656 w 2266950"/>
                  <a:gd name="connsiteY10" fmla="*/ 222504 h 2266950"/>
                  <a:gd name="connsiteX11" fmla="*/ 1581817 w 2266950"/>
                  <a:gd name="connsiteY11" fmla="*/ 82391 h 2266950"/>
                  <a:gd name="connsiteX12" fmla="*/ 1495235 w 2266950"/>
                  <a:gd name="connsiteY12" fmla="*/ 101632 h 2266950"/>
                  <a:gd name="connsiteX13" fmla="*/ 1419320 w 2266950"/>
                  <a:gd name="connsiteY13" fmla="*/ 186404 h 2266950"/>
                  <a:gd name="connsiteX14" fmla="*/ 1362075 w 2266950"/>
                  <a:gd name="connsiteY14" fmla="*/ 170878 h 2266950"/>
                  <a:gd name="connsiteX15" fmla="*/ 1338834 w 2266950"/>
                  <a:gd name="connsiteY15" fmla="*/ 60484 h 2266950"/>
                  <a:gd name="connsiteX16" fmla="*/ 1264253 w 2266950"/>
                  <a:gd name="connsiteY16" fmla="*/ 0 h 2266950"/>
                  <a:gd name="connsiteX17" fmla="*/ 1004411 w 2266950"/>
                  <a:gd name="connsiteY17" fmla="*/ 0 h 2266950"/>
                  <a:gd name="connsiteX18" fmla="*/ 929831 w 2266950"/>
                  <a:gd name="connsiteY18" fmla="*/ 60484 h 2266950"/>
                  <a:gd name="connsiteX19" fmla="*/ 906590 w 2266950"/>
                  <a:gd name="connsiteY19" fmla="*/ 170878 h 2266950"/>
                  <a:gd name="connsiteX20" fmla="*/ 849344 w 2266950"/>
                  <a:gd name="connsiteY20" fmla="*/ 186309 h 2266950"/>
                  <a:gd name="connsiteX21" fmla="*/ 773430 w 2266950"/>
                  <a:gd name="connsiteY21" fmla="*/ 101632 h 2266950"/>
                  <a:gd name="connsiteX22" fmla="*/ 686848 w 2266950"/>
                  <a:gd name="connsiteY22" fmla="*/ 82391 h 2266950"/>
                  <a:gd name="connsiteX23" fmla="*/ 447103 w 2266950"/>
                  <a:gd name="connsiteY23" fmla="*/ 222409 h 2266950"/>
                  <a:gd name="connsiteX24" fmla="*/ 420529 w 2266950"/>
                  <a:gd name="connsiteY24" fmla="*/ 307086 h 2266950"/>
                  <a:gd name="connsiteX25" fmla="*/ 455485 w 2266950"/>
                  <a:gd name="connsiteY25" fmla="*/ 413575 h 2266950"/>
                  <a:gd name="connsiteX26" fmla="*/ 413480 w 2266950"/>
                  <a:gd name="connsiteY26" fmla="*/ 455581 h 2266950"/>
                  <a:gd name="connsiteX27" fmla="*/ 307086 w 2266950"/>
                  <a:gd name="connsiteY27" fmla="*/ 420624 h 2266950"/>
                  <a:gd name="connsiteX28" fmla="*/ 222504 w 2266950"/>
                  <a:gd name="connsiteY28" fmla="*/ 447103 h 2266950"/>
                  <a:gd name="connsiteX29" fmla="*/ 82391 w 2266950"/>
                  <a:gd name="connsiteY29" fmla="*/ 686943 h 2266950"/>
                  <a:gd name="connsiteX30" fmla="*/ 101632 w 2266950"/>
                  <a:gd name="connsiteY30" fmla="*/ 773525 h 2266950"/>
                  <a:gd name="connsiteX31" fmla="*/ 186404 w 2266950"/>
                  <a:gd name="connsiteY31" fmla="*/ 849440 h 2266950"/>
                  <a:gd name="connsiteX32" fmla="*/ 170878 w 2266950"/>
                  <a:gd name="connsiteY32" fmla="*/ 906685 h 2266950"/>
                  <a:gd name="connsiteX33" fmla="*/ 60484 w 2266950"/>
                  <a:gd name="connsiteY33" fmla="*/ 929926 h 2266950"/>
                  <a:gd name="connsiteX34" fmla="*/ 0 w 2266950"/>
                  <a:gd name="connsiteY34" fmla="*/ 1004507 h 2266950"/>
                  <a:gd name="connsiteX35" fmla="*/ 0 w 2266950"/>
                  <a:gd name="connsiteY35" fmla="*/ 1264349 h 2266950"/>
                  <a:gd name="connsiteX36" fmla="*/ 60484 w 2266950"/>
                  <a:gd name="connsiteY36" fmla="*/ 1338929 h 2266950"/>
                  <a:gd name="connsiteX37" fmla="*/ 170878 w 2266950"/>
                  <a:gd name="connsiteY37" fmla="*/ 1362170 h 2266950"/>
                  <a:gd name="connsiteX38" fmla="*/ 186309 w 2266950"/>
                  <a:gd name="connsiteY38" fmla="*/ 1419416 h 2266950"/>
                  <a:gd name="connsiteX39" fmla="*/ 101632 w 2266950"/>
                  <a:gd name="connsiteY39" fmla="*/ 1495330 h 2266950"/>
                  <a:gd name="connsiteX40" fmla="*/ 82391 w 2266950"/>
                  <a:gd name="connsiteY40" fmla="*/ 1581912 h 2266950"/>
                  <a:gd name="connsiteX41" fmla="*/ 222409 w 2266950"/>
                  <a:gd name="connsiteY41" fmla="*/ 1821656 h 2266950"/>
                  <a:gd name="connsiteX42" fmla="*/ 307086 w 2266950"/>
                  <a:gd name="connsiteY42" fmla="*/ 1848231 h 2266950"/>
                  <a:gd name="connsiteX43" fmla="*/ 413575 w 2266950"/>
                  <a:gd name="connsiteY43" fmla="*/ 1813274 h 2266950"/>
                  <a:gd name="connsiteX44" fmla="*/ 455581 w 2266950"/>
                  <a:gd name="connsiteY44" fmla="*/ 1855280 h 2266950"/>
                  <a:gd name="connsiteX45" fmla="*/ 420624 w 2266950"/>
                  <a:gd name="connsiteY45" fmla="*/ 1961674 h 2266950"/>
                  <a:gd name="connsiteX46" fmla="*/ 447103 w 2266950"/>
                  <a:gd name="connsiteY46" fmla="*/ 2046256 h 2266950"/>
                  <a:gd name="connsiteX47" fmla="*/ 686943 w 2266950"/>
                  <a:gd name="connsiteY47" fmla="*/ 2186369 h 2266950"/>
                  <a:gd name="connsiteX48" fmla="*/ 773525 w 2266950"/>
                  <a:gd name="connsiteY48" fmla="*/ 2167128 h 2266950"/>
                  <a:gd name="connsiteX49" fmla="*/ 849440 w 2266950"/>
                  <a:gd name="connsiteY49" fmla="*/ 2082356 h 2266950"/>
                  <a:gd name="connsiteX50" fmla="*/ 906685 w 2266950"/>
                  <a:gd name="connsiteY50" fmla="*/ 2097882 h 2266950"/>
                  <a:gd name="connsiteX51" fmla="*/ 929926 w 2266950"/>
                  <a:gd name="connsiteY51" fmla="*/ 2208276 h 2266950"/>
                  <a:gd name="connsiteX52" fmla="*/ 1004507 w 2266950"/>
                  <a:gd name="connsiteY52" fmla="*/ 2268760 h 2266950"/>
                  <a:gd name="connsiteX53" fmla="*/ 1264349 w 2266950"/>
                  <a:gd name="connsiteY53" fmla="*/ 2268760 h 2266950"/>
                  <a:gd name="connsiteX54" fmla="*/ 1338929 w 2266950"/>
                  <a:gd name="connsiteY54" fmla="*/ 2208276 h 2266950"/>
                  <a:gd name="connsiteX55" fmla="*/ 1362170 w 2266950"/>
                  <a:gd name="connsiteY55" fmla="*/ 2097882 h 2266950"/>
                  <a:gd name="connsiteX56" fmla="*/ 1419416 w 2266950"/>
                  <a:gd name="connsiteY56" fmla="*/ 2082451 h 2266950"/>
                  <a:gd name="connsiteX57" fmla="*/ 1495330 w 2266950"/>
                  <a:gd name="connsiteY57" fmla="*/ 2167128 h 2266950"/>
                  <a:gd name="connsiteX58" fmla="*/ 1581912 w 2266950"/>
                  <a:gd name="connsiteY58" fmla="*/ 2186369 h 2266950"/>
                  <a:gd name="connsiteX59" fmla="*/ 1821656 w 2266950"/>
                  <a:gd name="connsiteY59" fmla="*/ 2046351 h 2266950"/>
                  <a:gd name="connsiteX60" fmla="*/ 1848231 w 2266950"/>
                  <a:gd name="connsiteY60" fmla="*/ 1961674 h 2266950"/>
                  <a:gd name="connsiteX61" fmla="*/ 1813274 w 2266950"/>
                  <a:gd name="connsiteY61" fmla="*/ 1855184 h 2266950"/>
                  <a:gd name="connsiteX62" fmla="*/ 1855279 w 2266950"/>
                  <a:gd name="connsiteY62" fmla="*/ 1813179 h 2266950"/>
                  <a:gd name="connsiteX63" fmla="*/ 1961674 w 2266950"/>
                  <a:gd name="connsiteY63" fmla="*/ 1848136 h 2266950"/>
                  <a:gd name="connsiteX64" fmla="*/ 2046256 w 2266950"/>
                  <a:gd name="connsiteY64" fmla="*/ 1821656 h 2266950"/>
                  <a:gd name="connsiteX65" fmla="*/ 2186369 w 2266950"/>
                  <a:gd name="connsiteY65" fmla="*/ 1581817 h 2266950"/>
                  <a:gd name="connsiteX66" fmla="*/ 2167128 w 2266950"/>
                  <a:gd name="connsiteY66" fmla="*/ 1495235 h 2266950"/>
                  <a:gd name="connsiteX67" fmla="*/ 2082356 w 2266950"/>
                  <a:gd name="connsiteY67" fmla="*/ 1419320 h 2266950"/>
                  <a:gd name="connsiteX68" fmla="*/ 2097881 w 2266950"/>
                  <a:gd name="connsiteY68" fmla="*/ 1362075 h 2266950"/>
                  <a:gd name="connsiteX69" fmla="*/ 2208276 w 2266950"/>
                  <a:gd name="connsiteY69" fmla="*/ 1338834 h 2266950"/>
                  <a:gd name="connsiteX70" fmla="*/ 2268760 w 2266950"/>
                  <a:gd name="connsiteY70" fmla="*/ 1264253 h 2266950"/>
                  <a:gd name="connsiteX71" fmla="*/ 2268760 w 2266950"/>
                  <a:gd name="connsiteY71" fmla="*/ 1004411 h 2266950"/>
                  <a:gd name="connsiteX72" fmla="*/ 2208276 w 2266950"/>
                  <a:gd name="connsiteY72" fmla="*/ 929831 h 2266950"/>
                  <a:gd name="connsiteX73" fmla="*/ 2116360 w 2266950"/>
                  <a:gd name="connsiteY73" fmla="*/ 1202341 h 2266950"/>
                  <a:gd name="connsiteX74" fmla="*/ 2017776 w 2266950"/>
                  <a:gd name="connsiteY74" fmla="*/ 1223105 h 2266950"/>
                  <a:gd name="connsiteX75" fmla="*/ 1958435 w 2266950"/>
                  <a:gd name="connsiteY75" fmla="*/ 1284160 h 2266950"/>
                  <a:gd name="connsiteX76" fmla="*/ 1922621 w 2266950"/>
                  <a:gd name="connsiteY76" fmla="*/ 1417034 h 2266950"/>
                  <a:gd name="connsiteX77" fmla="*/ 1943576 w 2266950"/>
                  <a:gd name="connsiteY77" fmla="*/ 1499521 h 2266950"/>
                  <a:gd name="connsiteX78" fmla="*/ 2023491 w 2266950"/>
                  <a:gd name="connsiteY78" fmla="*/ 1571149 h 2266950"/>
                  <a:gd name="connsiteX79" fmla="*/ 1956149 w 2266950"/>
                  <a:gd name="connsiteY79" fmla="*/ 1685925 h 2266950"/>
                  <a:gd name="connsiteX80" fmla="*/ 1855470 w 2266950"/>
                  <a:gd name="connsiteY80" fmla="*/ 1652778 h 2266950"/>
                  <a:gd name="connsiteX81" fmla="*/ 1773460 w 2266950"/>
                  <a:gd name="connsiteY81" fmla="*/ 1675924 h 2266950"/>
                  <a:gd name="connsiteX82" fmla="*/ 1676019 w 2266950"/>
                  <a:gd name="connsiteY82" fmla="*/ 1773460 h 2266950"/>
                  <a:gd name="connsiteX83" fmla="*/ 1652968 w 2266950"/>
                  <a:gd name="connsiteY83" fmla="*/ 1855375 h 2266950"/>
                  <a:gd name="connsiteX84" fmla="*/ 1686116 w 2266950"/>
                  <a:gd name="connsiteY84" fmla="*/ 1955959 h 2266950"/>
                  <a:gd name="connsiteX85" fmla="*/ 1571339 w 2266950"/>
                  <a:gd name="connsiteY85" fmla="*/ 2023301 h 2266950"/>
                  <a:gd name="connsiteX86" fmla="*/ 1499711 w 2266950"/>
                  <a:gd name="connsiteY86" fmla="*/ 1943386 h 2266950"/>
                  <a:gd name="connsiteX87" fmla="*/ 1417129 w 2266950"/>
                  <a:gd name="connsiteY87" fmla="*/ 1922431 h 2266950"/>
                  <a:gd name="connsiteX88" fmla="*/ 1284446 w 2266950"/>
                  <a:gd name="connsiteY88" fmla="*/ 1958245 h 2266950"/>
                  <a:gd name="connsiteX89" fmla="*/ 1223391 w 2266950"/>
                  <a:gd name="connsiteY89" fmla="*/ 2017585 h 2266950"/>
                  <a:gd name="connsiteX90" fmla="*/ 1202627 w 2266950"/>
                  <a:gd name="connsiteY90" fmla="*/ 2116169 h 2266950"/>
                  <a:gd name="connsiteX91" fmla="*/ 1066419 w 2266950"/>
                  <a:gd name="connsiteY91" fmla="*/ 2116169 h 2266950"/>
                  <a:gd name="connsiteX92" fmla="*/ 1045654 w 2266950"/>
                  <a:gd name="connsiteY92" fmla="*/ 2017585 h 2266950"/>
                  <a:gd name="connsiteX93" fmla="*/ 984599 w 2266950"/>
                  <a:gd name="connsiteY93" fmla="*/ 1958245 h 2266950"/>
                  <a:gd name="connsiteX94" fmla="*/ 851726 w 2266950"/>
                  <a:gd name="connsiteY94" fmla="*/ 1922431 h 2266950"/>
                  <a:gd name="connsiteX95" fmla="*/ 851726 w 2266950"/>
                  <a:gd name="connsiteY95" fmla="*/ 1922431 h 2266950"/>
                  <a:gd name="connsiteX96" fmla="*/ 769239 w 2266950"/>
                  <a:gd name="connsiteY96" fmla="*/ 1943386 h 2266950"/>
                  <a:gd name="connsiteX97" fmla="*/ 697611 w 2266950"/>
                  <a:gd name="connsiteY97" fmla="*/ 2023301 h 2266950"/>
                  <a:gd name="connsiteX98" fmla="*/ 582835 w 2266950"/>
                  <a:gd name="connsiteY98" fmla="*/ 1955959 h 2266950"/>
                  <a:gd name="connsiteX99" fmla="*/ 615982 w 2266950"/>
                  <a:gd name="connsiteY99" fmla="*/ 1855280 h 2266950"/>
                  <a:gd name="connsiteX100" fmla="*/ 592836 w 2266950"/>
                  <a:gd name="connsiteY100" fmla="*/ 1773269 h 2266950"/>
                  <a:gd name="connsiteX101" fmla="*/ 495300 w 2266950"/>
                  <a:gd name="connsiteY101" fmla="*/ 1675828 h 2266950"/>
                  <a:gd name="connsiteX102" fmla="*/ 413385 w 2266950"/>
                  <a:gd name="connsiteY102" fmla="*/ 1652778 h 2266950"/>
                  <a:gd name="connsiteX103" fmla="*/ 312801 w 2266950"/>
                  <a:gd name="connsiteY103" fmla="*/ 1685925 h 2266950"/>
                  <a:gd name="connsiteX104" fmla="*/ 245459 w 2266950"/>
                  <a:gd name="connsiteY104" fmla="*/ 1571149 h 2266950"/>
                  <a:gd name="connsiteX105" fmla="*/ 325374 w 2266950"/>
                  <a:gd name="connsiteY105" fmla="*/ 1499521 h 2266950"/>
                  <a:gd name="connsiteX106" fmla="*/ 346329 w 2266950"/>
                  <a:gd name="connsiteY106" fmla="*/ 1416939 h 2266950"/>
                  <a:gd name="connsiteX107" fmla="*/ 310515 w 2266950"/>
                  <a:gd name="connsiteY107" fmla="*/ 1284256 h 2266950"/>
                  <a:gd name="connsiteX108" fmla="*/ 251174 w 2266950"/>
                  <a:gd name="connsiteY108" fmla="*/ 1223201 h 2266950"/>
                  <a:gd name="connsiteX109" fmla="*/ 152591 w 2266950"/>
                  <a:gd name="connsiteY109" fmla="*/ 1202436 h 2266950"/>
                  <a:gd name="connsiteX110" fmla="*/ 152591 w 2266950"/>
                  <a:gd name="connsiteY110" fmla="*/ 1066228 h 2266950"/>
                  <a:gd name="connsiteX111" fmla="*/ 251174 w 2266950"/>
                  <a:gd name="connsiteY111" fmla="*/ 1045464 h 2266950"/>
                  <a:gd name="connsiteX112" fmla="*/ 310515 w 2266950"/>
                  <a:gd name="connsiteY112" fmla="*/ 984409 h 2266950"/>
                  <a:gd name="connsiteX113" fmla="*/ 346329 w 2266950"/>
                  <a:gd name="connsiteY113" fmla="*/ 851535 h 2266950"/>
                  <a:gd name="connsiteX114" fmla="*/ 325374 w 2266950"/>
                  <a:gd name="connsiteY114" fmla="*/ 769049 h 2266950"/>
                  <a:gd name="connsiteX115" fmla="*/ 245459 w 2266950"/>
                  <a:gd name="connsiteY115" fmla="*/ 697421 h 2266950"/>
                  <a:gd name="connsiteX116" fmla="*/ 312801 w 2266950"/>
                  <a:gd name="connsiteY116" fmla="*/ 582644 h 2266950"/>
                  <a:gd name="connsiteX117" fmla="*/ 413480 w 2266950"/>
                  <a:gd name="connsiteY117" fmla="*/ 615791 h 2266950"/>
                  <a:gd name="connsiteX118" fmla="*/ 495491 w 2266950"/>
                  <a:gd name="connsiteY118" fmla="*/ 592646 h 2266950"/>
                  <a:gd name="connsiteX119" fmla="*/ 592931 w 2266950"/>
                  <a:gd name="connsiteY119" fmla="*/ 495109 h 2266950"/>
                  <a:gd name="connsiteX120" fmla="*/ 615982 w 2266950"/>
                  <a:gd name="connsiteY120" fmla="*/ 413194 h 2266950"/>
                  <a:gd name="connsiteX121" fmla="*/ 582835 w 2266950"/>
                  <a:gd name="connsiteY121" fmla="*/ 312610 h 2266950"/>
                  <a:gd name="connsiteX122" fmla="*/ 697611 w 2266950"/>
                  <a:gd name="connsiteY122" fmla="*/ 245269 h 2266950"/>
                  <a:gd name="connsiteX123" fmla="*/ 769239 w 2266950"/>
                  <a:gd name="connsiteY123" fmla="*/ 325184 h 2266950"/>
                  <a:gd name="connsiteX124" fmla="*/ 851821 w 2266950"/>
                  <a:gd name="connsiteY124" fmla="*/ 346139 h 2266950"/>
                  <a:gd name="connsiteX125" fmla="*/ 984504 w 2266950"/>
                  <a:gd name="connsiteY125" fmla="*/ 310325 h 2266950"/>
                  <a:gd name="connsiteX126" fmla="*/ 1045559 w 2266950"/>
                  <a:gd name="connsiteY126" fmla="*/ 250984 h 2266950"/>
                  <a:gd name="connsiteX127" fmla="*/ 1066324 w 2266950"/>
                  <a:gd name="connsiteY127" fmla="*/ 152400 h 2266950"/>
                  <a:gd name="connsiteX128" fmla="*/ 1202531 w 2266950"/>
                  <a:gd name="connsiteY128" fmla="*/ 152400 h 2266950"/>
                  <a:gd name="connsiteX129" fmla="*/ 1223296 w 2266950"/>
                  <a:gd name="connsiteY129" fmla="*/ 250984 h 2266950"/>
                  <a:gd name="connsiteX130" fmla="*/ 1284351 w 2266950"/>
                  <a:gd name="connsiteY130" fmla="*/ 310325 h 2266950"/>
                  <a:gd name="connsiteX131" fmla="*/ 1417225 w 2266950"/>
                  <a:gd name="connsiteY131" fmla="*/ 346139 h 2266950"/>
                  <a:gd name="connsiteX132" fmla="*/ 1499711 w 2266950"/>
                  <a:gd name="connsiteY132" fmla="*/ 325184 h 2266950"/>
                  <a:gd name="connsiteX133" fmla="*/ 1571339 w 2266950"/>
                  <a:gd name="connsiteY133" fmla="*/ 245269 h 2266950"/>
                  <a:gd name="connsiteX134" fmla="*/ 1686116 w 2266950"/>
                  <a:gd name="connsiteY134" fmla="*/ 312610 h 2266950"/>
                  <a:gd name="connsiteX135" fmla="*/ 1652968 w 2266950"/>
                  <a:gd name="connsiteY135" fmla="*/ 413290 h 2266950"/>
                  <a:gd name="connsiteX136" fmla="*/ 1676114 w 2266950"/>
                  <a:gd name="connsiteY136" fmla="*/ 495300 h 2266950"/>
                  <a:gd name="connsiteX137" fmla="*/ 1773650 w 2266950"/>
                  <a:gd name="connsiteY137" fmla="*/ 592741 h 2266950"/>
                  <a:gd name="connsiteX138" fmla="*/ 1855565 w 2266950"/>
                  <a:gd name="connsiteY138" fmla="*/ 615791 h 2266950"/>
                  <a:gd name="connsiteX139" fmla="*/ 1956149 w 2266950"/>
                  <a:gd name="connsiteY139" fmla="*/ 582644 h 2266950"/>
                  <a:gd name="connsiteX140" fmla="*/ 2023491 w 2266950"/>
                  <a:gd name="connsiteY140" fmla="*/ 697421 h 2266950"/>
                  <a:gd name="connsiteX141" fmla="*/ 1943576 w 2266950"/>
                  <a:gd name="connsiteY141" fmla="*/ 769049 h 2266950"/>
                  <a:gd name="connsiteX142" fmla="*/ 1922621 w 2266950"/>
                  <a:gd name="connsiteY142" fmla="*/ 851630 h 2266950"/>
                  <a:gd name="connsiteX143" fmla="*/ 1958435 w 2266950"/>
                  <a:gd name="connsiteY143" fmla="*/ 984314 h 2266950"/>
                  <a:gd name="connsiteX144" fmla="*/ 2017776 w 2266950"/>
                  <a:gd name="connsiteY144" fmla="*/ 1045369 h 2266950"/>
                  <a:gd name="connsiteX145" fmla="*/ 2116360 w 2266950"/>
                  <a:gd name="connsiteY145" fmla="*/ 1066133 h 2266950"/>
                  <a:gd name="connsiteX146" fmla="*/ 2116360 w 2266950"/>
                  <a:gd name="connsiteY146" fmla="*/ 1202341 h 2266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</a:cxnLst>
                <a:rect l="l" t="t" r="r" b="b"/>
                <a:pathLst>
                  <a:path w="2266950" h="2266950">
                    <a:moveTo>
                      <a:pt x="2208276" y="929831"/>
                    </a:moveTo>
                    <a:lnTo>
                      <a:pt x="2097881" y="906590"/>
                    </a:lnTo>
                    <a:cubicBezTo>
                      <a:pt x="2093309" y="887444"/>
                      <a:pt x="2088166" y="868299"/>
                      <a:pt x="2082451" y="849344"/>
                    </a:cubicBezTo>
                    <a:lnTo>
                      <a:pt x="2167128" y="773430"/>
                    </a:lnTo>
                    <a:cubicBezTo>
                      <a:pt x="2191417" y="751618"/>
                      <a:pt x="2199227" y="716851"/>
                      <a:pt x="2186369" y="686848"/>
                    </a:cubicBezTo>
                    <a:cubicBezTo>
                      <a:pt x="2149602" y="601504"/>
                      <a:pt x="2102644" y="521017"/>
                      <a:pt x="2046351" y="447103"/>
                    </a:cubicBezTo>
                    <a:cubicBezTo>
                      <a:pt x="2026634" y="421100"/>
                      <a:pt x="1992630" y="410432"/>
                      <a:pt x="1961674" y="420529"/>
                    </a:cubicBezTo>
                    <a:lnTo>
                      <a:pt x="1855184" y="455485"/>
                    </a:lnTo>
                    <a:cubicBezTo>
                      <a:pt x="1841659" y="441103"/>
                      <a:pt x="1827562" y="427101"/>
                      <a:pt x="1813179" y="413480"/>
                    </a:cubicBezTo>
                    <a:lnTo>
                      <a:pt x="1848136" y="307086"/>
                    </a:lnTo>
                    <a:cubicBezTo>
                      <a:pt x="1858327" y="276130"/>
                      <a:pt x="1847660" y="242125"/>
                      <a:pt x="1821656" y="222504"/>
                    </a:cubicBezTo>
                    <a:cubicBezTo>
                      <a:pt x="1747742" y="166211"/>
                      <a:pt x="1667161" y="119158"/>
                      <a:pt x="1581817" y="82391"/>
                    </a:cubicBezTo>
                    <a:cubicBezTo>
                      <a:pt x="1551813" y="69723"/>
                      <a:pt x="1517047" y="77438"/>
                      <a:pt x="1495235" y="101632"/>
                    </a:cubicBezTo>
                    <a:lnTo>
                      <a:pt x="1419320" y="186404"/>
                    </a:lnTo>
                    <a:cubicBezTo>
                      <a:pt x="1400366" y="180594"/>
                      <a:pt x="1381220" y="175450"/>
                      <a:pt x="1362075" y="170878"/>
                    </a:cubicBezTo>
                    <a:lnTo>
                      <a:pt x="1338834" y="60484"/>
                    </a:lnTo>
                    <a:cubicBezTo>
                      <a:pt x="1331404" y="25241"/>
                      <a:pt x="1300258" y="0"/>
                      <a:pt x="1264253" y="0"/>
                    </a:cubicBezTo>
                    <a:lnTo>
                      <a:pt x="1004411" y="0"/>
                    </a:lnTo>
                    <a:cubicBezTo>
                      <a:pt x="968407" y="0"/>
                      <a:pt x="937260" y="25241"/>
                      <a:pt x="929831" y="60484"/>
                    </a:cubicBezTo>
                    <a:lnTo>
                      <a:pt x="906590" y="170878"/>
                    </a:lnTo>
                    <a:cubicBezTo>
                      <a:pt x="887444" y="175450"/>
                      <a:pt x="868299" y="180594"/>
                      <a:pt x="849344" y="186309"/>
                    </a:cubicBezTo>
                    <a:lnTo>
                      <a:pt x="773430" y="101632"/>
                    </a:lnTo>
                    <a:cubicBezTo>
                      <a:pt x="751618" y="77438"/>
                      <a:pt x="716851" y="69723"/>
                      <a:pt x="686848" y="82391"/>
                    </a:cubicBezTo>
                    <a:cubicBezTo>
                      <a:pt x="601504" y="119158"/>
                      <a:pt x="521017" y="166116"/>
                      <a:pt x="447103" y="222409"/>
                    </a:cubicBezTo>
                    <a:cubicBezTo>
                      <a:pt x="421005" y="242030"/>
                      <a:pt x="410337" y="276130"/>
                      <a:pt x="420529" y="307086"/>
                    </a:cubicBezTo>
                    <a:lnTo>
                      <a:pt x="455485" y="413575"/>
                    </a:lnTo>
                    <a:cubicBezTo>
                      <a:pt x="441103" y="427101"/>
                      <a:pt x="427101" y="441198"/>
                      <a:pt x="413480" y="455581"/>
                    </a:cubicBezTo>
                    <a:lnTo>
                      <a:pt x="307086" y="420624"/>
                    </a:lnTo>
                    <a:cubicBezTo>
                      <a:pt x="276130" y="410623"/>
                      <a:pt x="242221" y="421196"/>
                      <a:pt x="222504" y="447103"/>
                    </a:cubicBezTo>
                    <a:cubicBezTo>
                      <a:pt x="166211" y="521017"/>
                      <a:pt x="119158" y="601599"/>
                      <a:pt x="82391" y="686943"/>
                    </a:cubicBezTo>
                    <a:cubicBezTo>
                      <a:pt x="69628" y="716947"/>
                      <a:pt x="77343" y="751808"/>
                      <a:pt x="101632" y="773525"/>
                    </a:cubicBezTo>
                    <a:lnTo>
                      <a:pt x="186404" y="849440"/>
                    </a:lnTo>
                    <a:cubicBezTo>
                      <a:pt x="180594" y="868394"/>
                      <a:pt x="175450" y="887540"/>
                      <a:pt x="170878" y="906685"/>
                    </a:cubicBezTo>
                    <a:lnTo>
                      <a:pt x="60484" y="929926"/>
                    </a:lnTo>
                    <a:cubicBezTo>
                      <a:pt x="25241" y="937355"/>
                      <a:pt x="0" y="968502"/>
                      <a:pt x="0" y="1004507"/>
                    </a:cubicBezTo>
                    <a:lnTo>
                      <a:pt x="0" y="1264349"/>
                    </a:lnTo>
                    <a:cubicBezTo>
                      <a:pt x="0" y="1300353"/>
                      <a:pt x="25241" y="1331500"/>
                      <a:pt x="60484" y="1338929"/>
                    </a:cubicBezTo>
                    <a:lnTo>
                      <a:pt x="170878" y="1362170"/>
                    </a:lnTo>
                    <a:cubicBezTo>
                      <a:pt x="175450" y="1381316"/>
                      <a:pt x="180594" y="1400461"/>
                      <a:pt x="186309" y="1419416"/>
                    </a:cubicBezTo>
                    <a:lnTo>
                      <a:pt x="101632" y="1495330"/>
                    </a:lnTo>
                    <a:cubicBezTo>
                      <a:pt x="77343" y="1517142"/>
                      <a:pt x="69533" y="1551908"/>
                      <a:pt x="82391" y="1581912"/>
                    </a:cubicBezTo>
                    <a:cubicBezTo>
                      <a:pt x="119158" y="1667256"/>
                      <a:pt x="166116" y="1747742"/>
                      <a:pt x="222409" y="1821656"/>
                    </a:cubicBezTo>
                    <a:cubicBezTo>
                      <a:pt x="242125" y="1847660"/>
                      <a:pt x="276130" y="1858327"/>
                      <a:pt x="307086" y="1848231"/>
                    </a:cubicBezTo>
                    <a:lnTo>
                      <a:pt x="413575" y="1813274"/>
                    </a:lnTo>
                    <a:cubicBezTo>
                      <a:pt x="427101" y="1827657"/>
                      <a:pt x="441198" y="1841659"/>
                      <a:pt x="455581" y="1855280"/>
                    </a:cubicBezTo>
                    <a:lnTo>
                      <a:pt x="420624" y="1961674"/>
                    </a:lnTo>
                    <a:cubicBezTo>
                      <a:pt x="410432" y="1992630"/>
                      <a:pt x="421100" y="2026634"/>
                      <a:pt x="447103" y="2046256"/>
                    </a:cubicBezTo>
                    <a:cubicBezTo>
                      <a:pt x="521017" y="2102549"/>
                      <a:pt x="601599" y="2149602"/>
                      <a:pt x="686943" y="2186369"/>
                    </a:cubicBezTo>
                    <a:cubicBezTo>
                      <a:pt x="716947" y="2199227"/>
                      <a:pt x="751808" y="2191512"/>
                      <a:pt x="773525" y="2167128"/>
                    </a:cubicBezTo>
                    <a:lnTo>
                      <a:pt x="849440" y="2082356"/>
                    </a:lnTo>
                    <a:cubicBezTo>
                      <a:pt x="868394" y="2088166"/>
                      <a:pt x="887540" y="2093309"/>
                      <a:pt x="906685" y="2097882"/>
                    </a:cubicBezTo>
                    <a:lnTo>
                      <a:pt x="929926" y="2208276"/>
                    </a:lnTo>
                    <a:cubicBezTo>
                      <a:pt x="937355" y="2243519"/>
                      <a:pt x="968502" y="2268760"/>
                      <a:pt x="1004507" y="2268760"/>
                    </a:cubicBezTo>
                    <a:lnTo>
                      <a:pt x="1264349" y="2268760"/>
                    </a:lnTo>
                    <a:cubicBezTo>
                      <a:pt x="1300353" y="2268760"/>
                      <a:pt x="1331500" y="2243519"/>
                      <a:pt x="1338929" y="2208276"/>
                    </a:cubicBezTo>
                    <a:lnTo>
                      <a:pt x="1362170" y="2097882"/>
                    </a:lnTo>
                    <a:cubicBezTo>
                      <a:pt x="1381316" y="2093309"/>
                      <a:pt x="1400461" y="2088166"/>
                      <a:pt x="1419416" y="2082451"/>
                    </a:cubicBezTo>
                    <a:lnTo>
                      <a:pt x="1495330" y="2167128"/>
                    </a:lnTo>
                    <a:cubicBezTo>
                      <a:pt x="1517047" y="2191512"/>
                      <a:pt x="1551908" y="2199227"/>
                      <a:pt x="1581912" y="2186369"/>
                    </a:cubicBezTo>
                    <a:cubicBezTo>
                      <a:pt x="1667256" y="2149602"/>
                      <a:pt x="1747742" y="2102644"/>
                      <a:pt x="1821656" y="2046351"/>
                    </a:cubicBezTo>
                    <a:cubicBezTo>
                      <a:pt x="1847755" y="2026730"/>
                      <a:pt x="1858423" y="1992630"/>
                      <a:pt x="1848231" y="1961674"/>
                    </a:cubicBezTo>
                    <a:lnTo>
                      <a:pt x="1813274" y="1855184"/>
                    </a:lnTo>
                    <a:cubicBezTo>
                      <a:pt x="1827657" y="1841659"/>
                      <a:pt x="1841659" y="1827562"/>
                      <a:pt x="1855279" y="1813179"/>
                    </a:cubicBezTo>
                    <a:lnTo>
                      <a:pt x="1961674" y="1848136"/>
                    </a:lnTo>
                    <a:cubicBezTo>
                      <a:pt x="1992630" y="1858232"/>
                      <a:pt x="2026634" y="1847564"/>
                      <a:pt x="2046256" y="1821656"/>
                    </a:cubicBezTo>
                    <a:cubicBezTo>
                      <a:pt x="2102549" y="1747742"/>
                      <a:pt x="2149602" y="1667161"/>
                      <a:pt x="2186369" y="1581817"/>
                    </a:cubicBezTo>
                    <a:cubicBezTo>
                      <a:pt x="2199132" y="1551813"/>
                      <a:pt x="2191417" y="1516952"/>
                      <a:pt x="2167128" y="1495235"/>
                    </a:cubicBezTo>
                    <a:lnTo>
                      <a:pt x="2082356" y="1419320"/>
                    </a:lnTo>
                    <a:cubicBezTo>
                      <a:pt x="2088166" y="1400366"/>
                      <a:pt x="2093309" y="1381220"/>
                      <a:pt x="2097881" y="1362075"/>
                    </a:cubicBezTo>
                    <a:lnTo>
                      <a:pt x="2208276" y="1338834"/>
                    </a:lnTo>
                    <a:cubicBezTo>
                      <a:pt x="2243519" y="1331405"/>
                      <a:pt x="2268760" y="1300258"/>
                      <a:pt x="2268760" y="1264253"/>
                    </a:cubicBezTo>
                    <a:lnTo>
                      <a:pt x="2268760" y="1004411"/>
                    </a:lnTo>
                    <a:cubicBezTo>
                      <a:pt x="2268760" y="968311"/>
                      <a:pt x="2243519" y="937260"/>
                      <a:pt x="2208276" y="929831"/>
                    </a:cubicBezTo>
                    <a:close/>
                    <a:moveTo>
                      <a:pt x="2116360" y="1202341"/>
                    </a:moveTo>
                    <a:lnTo>
                      <a:pt x="2017776" y="1223105"/>
                    </a:lnTo>
                    <a:cubicBezTo>
                      <a:pt x="1987391" y="1229487"/>
                      <a:pt x="1963960" y="1253585"/>
                      <a:pt x="1958435" y="1284160"/>
                    </a:cubicBezTo>
                    <a:cubicBezTo>
                      <a:pt x="1950244" y="1329309"/>
                      <a:pt x="1938242" y="1373791"/>
                      <a:pt x="1922621" y="1417034"/>
                    </a:cubicBezTo>
                    <a:cubicBezTo>
                      <a:pt x="1912144" y="1446276"/>
                      <a:pt x="1920431" y="1478852"/>
                      <a:pt x="1943576" y="1499521"/>
                    </a:cubicBezTo>
                    <a:lnTo>
                      <a:pt x="2023491" y="1571149"/>
                    </a:lnTo>
                    <a:cubicBezTo>
                      <a:pt x="2003584" y="1610868"/>
                      <a:pt x="1981105" y="1649159"/>
                      <a:pt x="1956149" y="1685925"/>
                    </a:cubicBezTo>
                    <a:lnTo>
                      <a:pt x="1855470" y="1652778"/>
                    </a:lnTo>
                    <a:cubicBezTo>
                      <a:pt x="1825943" y="1643158"/>
                      <a:pt x="1793558" y="1652302"/>
                      <a:pt x="1773460" y="1675924"/>
                    </a:cubicBezTo>
                    <a:cubicBezTo>
                      <a:pt x="1743742" y="1711071"/>
                      <a:pt x="1711071" y="1743742"/>
                      <a:pt x="1676019" y="1773460"/>
                    </a:cubicBezTo>
                    <a:cubicBezTo>
                      <a:pt x="1652397" y="1793558"/>
                      <a:pt x="1643253" y="1825943"/>
                      <a:pt x="1652968" y="1855375"/>
                    </a:cubicBezTo>
                    <a:lnTo>
                      <a:pt x="1686116" y="1955959"/>
                    </a:lnTo>
                    <a:cubicBezTo>
                      <a:pt x="1649444" y="1980914"/>
                      <a:pt x="1611059" y="2003393"/>
                      <a:pt x="1571339" y="2023301"/>
                    </a:cubicBezTo>
                    <a:lnTo>
                      <a:pt x="1499711" y="1943386"/>
                    </a:lnTo>
                    <a:cubicBezTo>
                      <a:pt x="1478947" y="1920335"/>
                      <a:pt x="1446371" y="1912049"/>
                      <a:pt x="1417129" y="1922431"/>
                    </a:cubicBezTo>
                    <a:cubicBezTo>
                      <a:pt x="1373981" y="1938052"/>
                      <a:pt x="1329595" y="1950053"/>
                      <a:pt x="1284446" y="1958245"/>
                    </a:cubicBezTo>
                    <a:cubicBezTo>
                      <a:pt x="1253966" y="1963769"/>
                      <a:pt x="1229773" y="1987201"/>
                      <a:pt x="1223391" y="2017585"/>
                    </a:cubicBezTo>
                    <a:lnTo>
                      <a:pt x="1202627" y="2116169"/>
                    </a:lnTo>
                    <a:lnTo>
                      <a:pt x="1066419" y="2116169"/>
                    </a:lnTo>
                    <a:lnTo>
                      <a:pt x="1045654" y="2017585"/>
                    </a:lnTo>
                    <a:cubicBezTo>
                      <a:pt x="1039273" y="1987201"/>
                      <a:pt x="1015175" y="1963769"/>
                      <a:pt x="984599" y="1958245"/>
                    </a:cubicBezTo>
                    <a:cubicBezTo>
                      <a:pt x="939451" y="1950053"/>
                      <a:pt x="894969" y="1938052"/>
                      <a:pt x="851726" y="1922431"/>
                    </a:cubicBezTo>
                    <a:lnTo>
                      <a:pt x="851726" y="1922431"/>
                    </a:lnTo>
                    <a:cubicBezTo>
                      <a:pt x="822484" y="1912144"/>
                      <a:pt x="790003" y="1920335"/>
                      <a:pt x="769239" y="1943386"/>
                    </a:cubicBezTo>
                    <a:lnTo>
                      <a:pt x="697611" y="2023301"/>
                    </a:lnTo>
                    <a:cubicBezTo>
                      <a:pt x="657892" y="2003393"/>
                      <a:pt x="619601" y="1980914"/>
                      <a:pt x="582835" y="1955959"/>
                    </a:cubicBezTo>
                    <a:lnTo>
                      <a:pt x="615982" y="1855280"/>
                    </a:lnTo>
                    <a:cubicBezTo>
                      <a:pt x="625697" y="1825752"/>
                      <a:pt x="616458" y="1793367"/>
                      <a:pt x="592836" y="1773269"/>
                    </a:cubicBezTo>
                    <a:cubicBezTo>
                      <a:pt x="557689" y="1743551"/>
                      <a:pt x="525018" y="1710881"/>
                      <a:pt x="495300" y="1675828"/>
                    </a:cubicBezTo>
                    <a:cubicBezTo>
                      <a:pt x="475202" y="1652302"/>
                      <a:pt x="442817" y="1643158"/>
                      <a:pt x="413385" y="1652778"/>
                    </a:cubicBezTo>
                    <a:lnTo>
                      <a:pt x="312801" y="1685925"/>
                    </a:lnTo>
                    <a:cubicBezTo>
                      <a:pt x="287845" y="1649254"/>
                      <a:pt x="265367" y="1610868"/>
                      <a:pt x="245459" y="1571149"/>
                    </a:cubicBezTo>
                    <a:lnTo>
                      <a:pt x="325374" y="1499521"/>
                    </a:lnTo>
                    <a:cubicBezTo>
                      <a:pt x="348520" y="1478852"/>
                      <a:pt x="356807" y="1446181"/>
                      <a:pt x="346329" y="1416939"/>
                    </a:cubicBezTo>
                    <a:cubicBezTo>
                      <a:pt x="330708" y="1373791"/>
                      <a:pt x="318707" y="1329404"/>
                      <a:pt x="310515" y="1284256"/>
                    </a:cubicBezTo>
                    <a:cubicBezTo>
                      <a:pt x="304991" y="1253776"/>
                      <a:pt x="281559" y="1229582"/>
                      <a:pt x="251174" y="1223201"/>
                    </a:cubicBezTo>
                    <a:lnTo>
                      <a:pt x="152591" y="1202436"/>
                    </a:lnTo>
                    <a:lnTo>
                      <a:pt x="152591" y="1066228"/>
                    </a:lnTo>
                    <a:lnTo>
                      <a:pt x="251174" y="1045464"/>
                    </a:lnTo>
                    <a:cubicBezTo>
                      <a:pt x="281559" y="1039082"/>
                      <a:pt x="304991" y="1014984"/>
                      <a:pt x="310515" y="984409"/>
                    </a:cubicBezTo>
                    <a:cubicBezTo>
                      <a:pt x="318707" y="939260"/>
                      <a:pt x="330708" y="894778"/>
                      <a:pt x="346329" y="851535"/>
                    </a:cubicBezTo>
                    <a:cubicBezTo>
                      <a:pt x="356807" y="822293"/>
                      <a:pt x="348520" y="789718"/>
                      <a:pt x="325374" y="769049"/>
                    </a:cubicBezTo>
                    <a:lnTo>
                      <a:pt x="245459" y="697421"/>
                    </a:lnTo>
                    <a:cubicBezTo>
                      <a:pt x="265367" y="657701"/>
                      <a:pt x="287845" y="619411"/>
                      <a:pt x="312801" y="582644"/>
                    </a:cubicBezTo>
                    <a:lnTo>
                      <a:pt x="413480" y="615791"/>
                    </a:lnTo>
                    <a:cubicBezTo>
                      <a:pt x="443008" y="625411"/>
                      <a:pt x="475393" y="616268"/>
                      <a:pt x="495491" y="592646"/>
                    </a:cubicBezTo>
                    <a:cubicBezTo>
                      <a:pt x="525209" y="557498"/>
                      <a:pt x="557879" y="524827"/>
                      <a:pt x="592931" y="495109"/>
                    </a:cubicBezTo>
                    <a:cubicBezTo>
                      <a:pt x="616553" y="475012"/>
                      <a:pt x="625697" y="442627"/>
                      <a:pt x="615982" y="413194"/>
                    </a:cubicBezTo>
                    <a:lnTo>
                      <a:pt x="582835" y="312610"/>
                    </a:lnTo>
                    <a:cubicBezTo>
                      <a:pt x="619506" y="287655"/>
                      <a:pt x="657892" y="265176"/>
                      <a:pt x="697611" y="245269"/>
                    </a:cubicBezTo>
                    <a:lnTo>
                      <a:pt x="769239" y="325184"/>
                    </a:lnTo>
                    <a:cubicBezTo>
                      <a:pt x="790003" y="348234"/>
                      <a:pt x="822579" y="356521"/>
                      <a:pt x="851821" y="346139"/>
                    </a:cubicBezTo>
                    <a:cubicBezTo>
                      <a:pt x="894969" y="330517"/>
                      <a:pt x="939356" y="318516"/>
                      <a:pt x="984504" y="310325"/>
                    </a:cubicBezTo>
                    <a:cubicBezTo>
                      <a:pt x="1014984" y="304800"/>
                      <a:pt x="1039177" y="281368"/>
                      <a:pt x="1045559" y="250984"/>
                    </a:cubicBezTo>
                    <a:lnTo>
                      <a:pt x="1066324" y="152400"/>
                    </a:lnTo>
                    <a:lnTo>
                      <a:pt x="1202531" y="152400"/>
                    </a:lnTo>
                    <a:lnTo>
                      <a:pt x="1223296" y="250984"/>
                    </a:lnTo>
                    <a:cubicBezTo>
                      <a:pt x="1229677" y="281368"/>
                      <a:pt x="1253776" y="304800"/>
                      <a:pt x="1284351" y="310325"/>
                    </a:cubicBezTo>
                    <a:cubicBezTo>
                      <a:pt x="1329500" y="318516"/>
                      <a:pt x="1373981" y="330517"/>
                      <a:pt x="1417225" y="346139"/>
                    </a:cubicBezTo>
                    <a:cubicBezTo>
                      <a:pt x="1446467" y="356616"/>
                      <a:pt x="1479042" y="348329"/>
                      <a:pt x="1499711" y="325184"/>
                    </a:cubicBezTo>
                    <a:lnTo>
                      <a:pt x="1571339" y="245269"/>
                    </a:lnTo>
                    <a:cubicBezTo>
                      <a:pt x="1611059" y="265176"/>
                      <a:pt x="1649349" y="287655"/>
                      <a:pt x="1686116" y="312610"/>
                    </a:cubicBezTo>
                    <a:lnTo>
                      <a:pt x="1652968" y="413290"/>
                    </a:lnTo>
                    <a:cubicBezTo>
                      <a:pt x="1643253" y="442817"/>
                      <a:pt x="1652492" y="475202"/>
                      <a:pt x="1676114" y="495300"/>
                    </a:cubicBezTo>
                    <a:cubicBezTo>
                      <a:pt x="1711261" y="525018"/>
                      <a:pt x="1743932" y="557689"/>
                      <a:pt x="1773650" y="592741"/>
                    </a:cubicBezTo>
                    <a:cubicBezTo>
                      <a:pt x="1793843" y="616268"/>
                      <a:pt x="1826133" y="625316"/>
                      <a:pt x="1855565" y="615791"/>
                    </a:cubicBezTo>
                    <a:lnTo>
                      <a:pt x="1956149" y="582644"/>
                    </a:lnTo>
                    <a:cubicBezTo>
                      <a:pt x="1981105" y="619316"/>
                      <a:pt x="2003584" y="657701"/>
                      <a:pt x="2023491" y="697421"/>
                    </a:cubicBezTo>
                    <a:lnTo>
                      <a:pt x="1943576" y="769049"/>
                    </a:lnTo>
                    <a:cubicBezTo>
                      <a:pt x="1920431" y="789718"/>
                      <a:pt x="1912144" y="822389"/>
                      <a:pt x="1922621" y="851630"/>
                    </a:cubicBezTo>
                    <a:cubicBezTo>
                      <a:pt x="1938242" y="894778"/>
                      <a:pt x="1950244" y="939165"/>
                      <a:pt x="1958435" y="984314"/>
                    </a:cubicBezTo>
                    <a:cubicBezTo>
                      <a:pt x="1963960" y="1014793"/>
                      <a:pt x="1987391" y="1038987"/>
                      <a:pt x="2017776" y="1045369"/>
                    </a:cubicBezTo>
                    <a:lnTo>
                      <a:pt x="2116360" y="1066133"/>
                    </a:lnTo>
                    <a:lnTo>
                      <a:pt x="2116360" y="12023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8" name="Freeform: Shape 884">
                <a:extLst>
                  <a:ext uri="{FF2B5EF4-FFF2-40B4-BE49-F238E27FC236}">
                    <a16:creationId xmlns:a16="http://schemas.microsoft.com/office/drawing/2014/main" id="{08DE4BCB-29D8-43F2-B8D9-D43297069BDE}"/>
                  </a:ext>
                </a:extLst>
              </p:cNvPr>
              <p:cNvSpPr/>
              <p:nvPr/>
            </p:nvSpPr>
            <p:spPr bwMode="gray">
              <a:xfrm>
                <a:off x="16723961" y="3033807"/>
                <a:ext cx="1371600" cy="1371600"/>
              </a:xfrm>
              <a:custGeom>
                <a:avLst/>
                <a:gdLst>
                  <a:gd name="connsiteX0" fmla="*/ 685800 w 1371600"/>
                  <a:gd name="connsiteY0" fmla="*/ 0 h 1371600"/>
                  <a:gd name="connsiteX1" fmla="*/ 0 w 1371600"/>
                  <a:gd name="connsiteY1" fmla="*/ 685800 h 1371600"/>
                  <a:gd name="connsiteX2" fmla="*/ 685800 w 1371600"/>
                  <a:gd name="connsiteY2" fmla="*/ 1371600 h 1371600"/>
                  <a:gd name="connsiteX3" fmla="*/ 1371600 w 1371600"/>
                  <a:gd name="connsiteY3" fmla="*/ 685800 h 1371600"/>
                  <a:gd name="connsiteX4" fmla="*/ 685800 w 1371600"/>
                  <a:gd name="connsiteY4" fmla="*/ 0 h 1371600"/>
                  <a:gd name="connsiteX5" fmla="*/ 685800 w 1371600"/>
                  <a:gd name="connsiteY5" fmla="*/ 1219200 h 1371600"/>
                  <a:gd name="connsiteX6" fmla="*/ 152400 w 1371600"/>
                  <a:gd name="connsiteY6" fmla="*/ 685800 h 1371600"/>
                  <a:gd name="connsiteX7" fmla="*/ 685800 w 1371600"/>
                  <a:gd name="connsiteY7" fmla="*/ 152400 h 1371600"/>
                  <a:gd name="connsiteX8" fmla="*/ 1219200 w 1371600"/>
                  <a:gd name="connsiteY8" fmla="*/ 685800 h 1371600"/>
                  <a:gd name="connsiteX9" fmla="*/ 685800 w 1371600"/>
                  <a:gd name="connsiteY9" fmla="*/ 1219200 h 1371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71600" h="1371600">
                    <a:moveTo>
                      <a:pt x="685800" y="0"/>
                    </a:moveTo>
                    <a:cubicBezTo>
                      <a:pt x="307086" y="0"/>
                      <a:pt x="0" y="306991"/>
                      <a:pt x="0" y="685800"/>
                    </a:cubicBezTo>
                    <a:cubicBezTo>
                      <a:pt x="0" y="1064514"/>
                      <a:pt x="307086" y="1371600"/>
                      <a:pt x="685800" y="1371600"/>
                    </a:cubicBezTo>
                    <a:cubicBezTo>
                      <a:pt x="1064419" y="1371219"/>
                      <a:pt x="1371219" y="1064419"/>
                      <a:pt x="1371600" y="685800"/>
                    </a:cubicBezTo>
                    <a:cubicBezTo>
                      <a:pt x="1371600" y="306991"/>
                      <a:pt x="1064514" y="0"/>
                      <a:pt x="685800" y="0"/>
                    </a:cubicBezTo>
                    <a:close/>
                    <a:moveTo>
                      <a:pt x="685800" y="1219200"/>
                    </a:moveTo>
                    <a:cubicBezTo>
                      <a:pt x="391382" y="1218819"/>
                      <a:pt x="152781" y="980218"/>
                      <a:pt x="152400" y="685800"/>
                    </a:cubicBezTo>
                    <a:cubicBezTo>
                      <a:pt x="152400" y="391192"/>
                      <a:pt x="391192" y="152400"/>
                      <a:pt x="685800" y="152400"/>
                    </a:cubicBezTo>
                    <a:cubicBezTo>
                      <a:pt x="980408" y="152400"/>
                      <a:pt x="1219200" y="391192"/>
                      <a:pt x="1219200" y="685800"/>
                    </a:cubicBezTo>
                    <a:cubicBezTo>
                      <a:pt x="1219200" y="980408"/>
                      <a:pt x="980313" y="1219200"/>
                      <a:pt x="685800" y="12192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79" name="Freeform: Shape 885">
                <a:extLst>
                  <a:ext uri="{FF2B5EF4-FFF2-40B4-BE49-F238E27FC236}">
                    <a16:creationId xmlns:a16="http://schemas.microsoft.com/office/drawing/2014/main" id="{A9CA332C-7796-4074-8A14-0B8AD5139EA0}"/>
                  </a:ext>
                </a:extLst>
              </p:cNvPr>
              <p:cNvSpPr/>
              <p:nvPr/>
            </p:nvSpPr>
            <p:spPr bwMode="gray">
              <a:xfrm>
                <a:off x="16114361" y="1128807"/>
                <a:ext cx="609600" cy="152400"/>
              </a:xfrm>
              <a:custGeom>
                <a:avLst/>
                <a:gdLst>
                  <a:gd name="connsiteX0" fmla="*/ 0 w 609600"/>
                  <a:gd name="connsiteY0" fmla="*/ 0 h 152400"/>
                  <a:gd name="connsiteX1" fmla="*/ 609600 w 609600"/>
                  <a:gd name="connsiteY1" fmla="*/ 0 h 152400"/>
                  <a:gd name="connsiteX2" fmla="*/ 609600 w 609600"/>
                  <a:gd name="connsiteY2" fmla="*/ 152400 h 152400"/>
                  <a:gd name="connsiteX3" fmla="*/ 0 w 609600"/>
                  <a:gd name="connsiteY3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9600" h="152400">
                    <a:moveTo>
                      <a:pt x="0" y="0"/>
                    </a:moveTo>
                    <a:lnTo>
                      <a:pt x="609600" y="0"/>
                    </a:lnTo>
                    <a:lnTo>
                      <a:pt x="609600" y="152400"/>
                    </a:lnTo>
                    <a:lnTo>
                      <a:pt x="0" y="1524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80" name="Freeform: Shape 886">
                <a:extLst>
                  <a:ext uri="{FF2B5EF4-FFF2-40B4-BE49-F238E27FC236}">
                    <a16:creationId xmlns:a16="http://schemas.microsoft.com/office/drawing/2014/main" id="{D9A57E95-3578-476E-B10F-DA2721938BCE}"/>
                  </a:ext>
                </a:extLst>
              </p:cNvPr>
              <p:cNvSpPr/>
              <p:nvPr/>
            </p:nvSpPr>
            <p:spPr bwMode="gray">
              <a:xfrm>
                <a:off x="14361665" y="2347912"/>
                <a:ext cx="1752600" cy="1600200"/>
              </a:xfrm>
              <a:custGeom>
                <a:avLst/>
                <a:gdLst>
                  <a:gd name="connsiteX0" fmla="*/ 1746504 w 1752600"/>
                  <a:gd name="connsiteY0" fmla="*/ 1265491 h 1600200"/>
                  <a:gd name="connsiteX1" fmla="*/ 1706404 w 1752600"/>
                  <a:gd name="connsiteY1" fmla="*/ 1225391 h 1600200"/>
                  <a:gd name="connsiteX2" fmla="*/ 1706404 w 1752600"/>
                  <a:gd name="connsiteY2" fmla="*/ 1225391 h 1600200"/>
                  <a:gd name="connsiteX3" fmla="*/ 1173004 w 1752600"/>
                  <a:gd name="connsiteY3" fmla="*/ 996791 h 1600200"/>
                  <a:gd name="connsiteX4" fmla="*/ 1072991 w 1752600"/>
                  <a:gd name="connsiteY4" fmla="*/ 1036701 h 1600200"/>
                  <a:gd name="connsiteX5" fmla="*/ 1066800 w 1752600"/>
                  <a:gd name="connsiteY5" fmla="*/ 1066800 h 1600200"/>
                  <a:gd name="connsiteX6" fmla="*/ 1066800 w 1752600"/>
                  <a:gd name="connsiteY6" fmla="*/ 1219200 h 1600200"/>
                  <a:gd name="connsiteX7" fmla="*/ 152400 w 1752600"/>
                  <a:gd name="connsiteY7" fmla="*/ 1219200 h 1600200"/>
                  <a:gd name="connsiteX8" fmla="*/ 152400 w 1752600"/>
                  <a:gd name="connsiteY8" fmla="*/ 0 h 1600200"/>
                  <a:gd name="connsiteX9" fmla="*/ 0 w 1752600"/>
                  <a:gd name="connsiteY9" fmla="*/ 0 h 1600200"/>
                  <a:gd name="connsiteX10" fmla="*/ 0 w 1752600"/>
                  <a:gd name="connsiteY10" fmla="*/ 1295400 h 1600200"/>
                  <a:gd name="connsiteX11" fmla="*/ 76105 w 1752600"/>
                  <a:gd name="connsiteY11" fmla="*/ 1371600 h 1600200"/>
                  <a:gd name="connsiteX12" fmla="*/ 76200 w 1752600"/>
                  <a:gd name="connsiteY12" fmla="*/ 1371600 h 1600200"/>
                  <a:gd name="connsiteX13" fmla="*/ 1066800 w 1752600"/>
                  <a:gd name="connsiteY13" fmla="*/ 1371600 h 1600200"/>
                  <a:gd name="connsiteX14" fmla="*/ 1066800 w 1752600"/>
                  <a:gd name="connsiteY14" fmla="*/ 1524000 h 1600200"/>
                  <a:gd name="connsiteX15" fmla="*/ 1142905 w 1752600"/>
                  <a:gd name="connsiteY15" fmla="*/ 1600200 h 1600200"/>
                  <a:gd name="connsiteX16" fmla="*/ 1143000 w 1752600"/>
                  <a:gd name="connsiteY16" fmla="*/ 1600200 h 1600200"/>
                  <a:gd name="connsiteX17" fmla="*/ 1173004 w 1752600"/>
                  <a:gd name="connsiteY17" fmla="*/ 1594009 h 1600200"/>
                  <a:gd name="connsiteX18" fmla="*/ 1706404 w 1752600"/>
                  <a:gd name="connsiteY18" fmla="*/ 1365409 h 1600200"/>
                  <a:gd name="connsiteX19" fmla="*/ 1746504 w 1752600"/>
                  <a:gd name="connsiteY19" fmla="*/ 1265491 h 1600200"/>
                  <a:gd name="connsiteX20" fmla="*/ 1219295 w 1752600"/>
                  <a:gd name="connsiteY20" fmla="*/ 1408462 h 1600200"/>
                  <a:gd name="connsiteX21" fmla="*/ 1219295 w 1752600"/>
                  <a:gd name="connsiteY21" fmla="*/ 1182434 h 1600200"/>
                  <a:gd name="connsiteX22" fmla="*/ 1483043 w 1752600"/>
                  <a:gd name="connsiteY22" fmla="*/ 1295495 h 1600200"/>
                  <a:gd name="connsiteX23" fmla="*/ 1219295 w 1752600"/>
                  <a:gd name="connsiteY23" fmla="*/ 1408462 h 160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752600" h="1600200">
                    <a:moveTo>
                      <a:pt x="1746504" y="1265491"/>
                    </a:moveTo>
                    <a:cubicBezTo>
                      <a:pt x="1738789" y="1247489"/>
                      <a:pt x="1724406" y="1233106"/>
                      <a:pt x="1706404" y="1225391"/>
                    </a:cubicBezTo>
                    <a:lnTo>
                      <a:pt x="1706404" y="1225391"/>
                    </a:lnTo>
                    <a:lnTo>
                      <a:pt x="1173004" y="996791"/>
                    </a:lnTo>
                    <a:cubicBezTo>
                      <a:pt x="1134332" y="980218"/>
                      <a:pt x="1089565" y="998125"/>
                      <a:pt x="1072991" y="1036701"/>
                    </a:cubicBezTo>
                    <a:cubicBezTo>
                      <a:pt x="1068896" y="1046226"/>
                      <a:pt x="1066800" y="1056418"/>
                      <a:pt x="1066800" y="1066800"/>
                    </a:cubicBezTo>
                    <a:lnTo>
                      <a:pt x="1066800" y="1219200"/>
                    </a:lnTo>
                    <a:lnTo>
                      <a:pt x="152400" y="1219200"/>
                    </a:lnTo>
                    <a:lnTo>
                      <a:pt x="152400" y="0"/>
                    </a:lnTo>
                    <a:lnTo>
                      <a:pt x="0" y="0"/>
                    </a:lnTo>
                    <a:lnTo>
                      <a:pt x="0" y="1295400"/>
                    </a:lnTo>
                    <a:cubicBezTo>
                      <a:pt x="0" y="1337501"/>
                      <a:pt x="34100" y="1371600"/>
                      <a:pt x="76105" y="1371600"/>
                    </a:cubicBezTo>
                    <a:cubicBezTo>
                      <a:pt x="76105" y="1371600"/>
                      <a:pt x="76200" y="1371600"/>
                      <a:pt x="76200" y="1371600"/>
                    </a:cubicBezTo>
                    <a:lnTo>
                      <a:pt x="1066800" y="1371600"/>
                    </a:lnTo>
                    <a:lnTo>
                      <a:pt x="1066800" y="1524000"/>
                    </a:lnTo>
                    <a:cubicBezTo>
                      <a:pt x="1066800" y="1566101"/>
                      <a:pt x="1100804" y="1600200"/>
                      <a:pt x="1142905" y="1600200"/>
                    </a:cubicBezTo>
                    <a:cubicBezTo>
                      <a:pt x="1142905" y="1600200"/>
                      <a:pt x="1143000" y="1600200"/>
                      <a:pt x="1143000" y="1600200"/>
                    </a:cubicBezTo>
                    <a:cubicBezTo>
                      <a:pt x="1153287" y="1600200"/>
                      <a:pt x="1163479" y="1598105"/>
                      <a:pt x="1173004" y="1594009"/>
                    </a:cubicBezTo>
                    <a:lnTo>
                      <a:pt x="1706404" y="1365409"/>
                    </a:lnTo>
                    <a:cubicBezTo>
                      <a:pt x="1745075" y="1348931"/>
                      <a:pt x="1763078" y="1304163"/>
                      <a:pt x="1746504" y="1265491"/>
                    </a:cubicBezTo>
                    <a:close/>
                    <a:moveTo>
                      <a:pt x="1219295" y="1408462"/>
                    </a:moveTo>
                    <a:lnTo>
                      <a:pt x="1219295" y="1182434"/>
                    </a:lnTo>
                    <a:lnTo>
                      <a:pt x="1483043" y="1295495"/>
                    </a:lnTo>
                    <a:lnTo>
                      <a:pt x="1219295" y="140846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  <p:sp>
            <p:nvSpPr>
              <p:cNvPr id="1481" name="Freeform: Shape 887">
                <a:extLst>
                  <a:ext uri="{FF2B5EF4-FFF2-40B4-BE49-F238E27FC236}">
                    <a16:creationId xmlns:a16="http://schemas.microsoft.com/office/drawing/2014/main" id="{99DA10AA-07D5-41B0-B02C-CB98C3EC9A2F}"/>
                  </a:ext>
                </a:extLst>
              </p:cNvPr>
              <p:cNvSpPr/>
              <p:nvPr/>
            </p:nvSpPr>
            <p:spPr bwMode="gray">
              <a:xfrm>
                <a:off x="17051144" y="3442144"/>
                <a:ext cx="714375" cy="581025"/>
              </a:xfrm>
              <a:custGeom>
                <a:avLst/>
                <a:gdLst>
                  <a:gd name="connsiteX0" fmla="*/ 604838 w 714375"/>
                  <a:gd name="connsiteY0" fmla="*/ 0 h 581025"/>
                  <a:gd name="connsiteX1" fmla="*/ 277273 w 714375"/>
                  <a:gd name="connsiteY1" fmla="*/ 393097 h 581025"/>
                  <a:gd name="connsiteX2" fmla="*/ 107728 w 714375"/>
                  <a:gd name="connsiteY2" fmla="*/ 223552 h 581025"/>
                  <a:gd name="connsiteX3" fmla="*/ 0 w 714375"/>
                  <a:gd name="connsiteY3" fmla="*/ 331280 h 581025"/>
                  <a:gd name="connsiteX4" fmla="*/ 228600 w 714375"/>
                  <a:gd name="connsiteY4" fmla="*/ 559880 h 581025"/>
                  <a:gd name="connsiteX5" fmla="*/ 282512 w 714375"/>
                  <a:gd name="connsiteY5" fmla="*/ 582168 h 581025"/>
                  <a:gd name="connsiteX6" fmla="*/ 285940 w 714375"/>
                  <a:gd name="connsiteY6" fmla="*/ 582073 h 581025"/>
                  <a:gd name="connsiteX7" fmla="*/ 341090 w 714375"/>
                  <a:gd name="connsiteY7" fmla="*/ 554736 h 581025"/>
                  <a:gd name="connsiteX8" fmla="*/ 722090 w 714375"/>
                  <a:gd name="connsiteY8" fmla="*/ 97536 h 581025"/>
                  <a:gd name="connsiteX9" fmla="*/ 604838 w 714375"/>
                  <a:gd name="connsiteY9" fmla="*/ 0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4375" h="581025">
                    <a:moveTo>
                      <a:pt x="604838" y="0"/>
                    </a:moveTo>
                    <a:lnTo>
                      <a:pt x="277273" y="393097"/>
                    </a:lnTo>
                    <a:lnTo>
                      <a:pt x="107728" y="223552"/>
                    </a:lnTo>
                    <a:lnTo>
                      <a:pt x="0" y="331280"/>
                    </a:lnTo>
                    <a:lnTo>
                      <a:pt x="228600" y="559880"/>
                    </a:lnTo>
                    <a:cubicBezTo>
                      <a:pt x="242888" y="574167"/>
                      <a:pt x="262223" y="582263"/>
                      <a:pt x="282512" y="582168"/>
                    </a:cubicBezTo>
                    <a:cubicBezTo>
                      <a:pt x="283655" y="582168"/>
                      <a:pt x="284797" y="582168"/>
                      <a:pt x="285940" y="582073"/>
                    </a:cubicBezTo>
                    <a:cubicBezTo>
                      <a:pt x="307372" y="581120"/>
                      <a:pt x="327374" y="571214"/>
                      <a:pt x="341090" y="554736"/>
                    </a:cubicBezTo>
                    <a:lnTo>
                      <a:pt x="722090" y="97536"/>
                    </a:lnTo>
                    <a:lnTo>
                      <a:pt x="604838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700"/>
              </a:p>
            </p:txBody>
          </p:sp>
        </p:grpSp>
        <p:sp>
          <p:nvSpPr>
            <p:cNvPr id="1472" name="TextBox 16">
              <a:extLst>
                <a:ext uri="{FF2B5EF4-FFF2-40B4-BE49-F238E27FC236}">
                  <a16:creationId xmlns:a16="http://schemas.microsoft.com/office/drawing/2014/main" id="{00A30C94-8D6C-4CB6-896E-585C1F49E802}"/>
                </a:ext>
              </a:extLst>
            </p:cNvPr>
            <p:cNvSpPr txBox="1"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10133996" y="1347272"/>
              <a:ext cx="564412" cy="97183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PROCESS</a:t>
              </a:r>
              <a:b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</a:b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EFFICIENCY IN</a:t>
              </a:r>
              <a:b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</a:b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REAL ESTATE</a:t>
              </a:r>
              <a:endParaRPr lang="en-GB" sz="400" b="1" dirty="0">
                <a:solidFill>
                  <a:schemeClr val="tx2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507" name="Flussdiagramm: Prozess 272">
            <a:extLst>
              <a:ext uri="{FF2B5EF4-FFF2-40B4-BE49-F238E27FC236}">
                <a16:creationId xmlns:a16="http://schemas.microsoft.com/office/drawing/2014/main" id="{46AFDD69-E38C-4660-A93F-935CA7003F7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65951" y="3082949"/>
            <a:ext cx="1472722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Smoke detectors</a:t>
            </a:r>
          </a:p>
        </p:txBody>
      </p:sp>
      <p:sp>
        <p:nvSpPr>
          <p:cNvPr id="1508" name="Flussdiagramm: Prozess 272">
            <a:extLst>
              <a:ext uri="{FF2B5EF4-FFF2-40B4-BE49-F238E27FC236}">
                <a16:creationId xmlns:a16="http://schemas.microsoft.com/office/drawing/2014/main" id="{BCA6220A-ECF9-4EC2-9336-A0B6F9BD26EF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7056456" y="2283718"/>
            <a:ext cx="1620000" cy="37498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Legionella/</a:t>
            </a:r>
            <a:br>
              <a:rPr lang="en-GB" sz="900" dirty="0">
                <a:ea typeface="ＭＳ Ｐゴシック" pitchFamily="80" charset="-128"/>
                <a:cs typeface="Lucida Sans Unicode" pitchFamily="34" charset="0"/>
              </a:rPr>
            </a:b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drinking water treatment</a:t>
            </a:r>
          </a:p>
        </p:txBody>
      </p:sp>
      <p:sp>
        <p:nvSpPr>
          <p:cNvPr id="1509" name="Freihandform 821">
            <a:extLst>
              <a:ext uri="{FF2B5EF4-FFF2-40B4-BE49-F238E27FC236}">
                <a16:creationId xmlns:a16="http://schemas.microsoft.com/office/drawing/2014/main" id="{2FB2F426-2F8D-4A48-9FA6-04F79FE6DC92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 flipV="1">
            <a:off x="2828486" y="2941314"/>
            <a:ext cx="0" cy="36000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0"/>
              <a:gd name="connsiteY0" fmla="*/ 0 h 909637"/>
              <a:gd name="connsiteX1" fmla="*/ 0 w 0"/>
              <a:gd name="connsiteY1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09637">
                <a:moveTo>
                  <a:pt x="0" y="0"/>
                </a:moveTo>
                <a:lnTo>
                  <a:pt x="0" y="909637"/>
                </a:lnTo>
              </a:path>
            </a:pathLst>
          </a:custGeom>
          <a:noFill/>
          <a:ln w="9525">
            <a:solidFill>
              <a:schemeClr val="accent2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" dirty="0">
                <a:solidFill>
                  <a:schemeClr val="tx1"/>
                </a:solidFill>
                <a:latin typeface="Lucida Sans Techem"/>
                <a:cs typeface="Calibri"/>
              </a:rPr>
              <a:t>2</a:t>
            </a:r>
          </a:p>
        </p:txBody>
      </p:sp>
      <p:sp>
        <p:nvSpPr>
          <p:cNvPr id="1510" name="Freihandform 837">
            <a:extLst>
              <a:ext uri="{FF2B5EF4-FFF2-40B4-BE49-F238E27FC236}">
                <a16:creationId xmlns:a16="http://schemas.microsoft.com/office/drawing/2014/main" id="{13148272-EEDE-4B20-ADEB-C5FF5A68F576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 rot="10800000">
            <a:off x="5539450" y="2422663"/>
            <a:ext cx="0" cy="21600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0"/>
              <a:gd name="connsiteY0" fmla="*/ 0 h 909637"/>
              <a:gd name="connsiteX1" fmla="*/ 0 w 0"/>
              <a:gd name="connsiteY1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09637">
                <a:moveTo>
                  <a:pt x="0" y="0"/>
                </a:moveTo>
                <a:lnTo>
                  <a:pt x="0" y="909637"/>
                </a:lnTo>
              </a:path>
            </a:pathLst>
          </a:custGeom>
          <a:noFill/>
          <a:ln w="9525">
            <a:solidFill>
              <a:schemeClr val="accent2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" dirty="0">
                <a:solidFill>
                  <a:schemeClr val="tx1"/>
                </a:solidFill>
                <a:latin typeface="Lucida Sans Techem"/>
                <a:cs typeface="Calibri"/>
              </a:rPr>
              <a:t>4</a:t>
            </a:r>
          </a:p>
        </p:txBody>
      </p:sp>
      <p:sp>
        <p:nvSpPr>
          <p:cNvPr id="1511" name="Freihandform 821">
            <a:extLst>
              <a:ext uri="{FF2B5EF4-FFF2-40B4-BE49-F238E27FC236}">
                <a16:creationId xmlns:a16="http://schemas.microsoft.com/office/drawing/2014/main" id="{BDFD7EAF-5B00-4E73-8641-8CFDE41FDE71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 flipV="1">
            <a:off x="468314" y="3298973"/>
            <a:ext cx="2360172" cy="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800100"/>
              <a:gd name="connsiteY0" fmla="*/ 0 h 0"/>
              <a:gd name="connsiteX1" fmla="*/ 800100 w 80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noFill/>
          <a:ln w="9525">
            <a:solidFill>
              <a:schemeClr val="accent2"/>
            </a:solidFill>
            <a:headEnd type="none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" dirty="0">
                <a:solidFill>
                  <a:schemeClr val="tx1"/>
                </a:solidFill>
                <a:latin typeface="Lucida Sans Techem"/>
                <a:cs typeface="Calibri"/>
              </a:rPr>
              <a:t>1</a:t>
            </a:r>
          </a:p>
        </p:txBody>
      </p:sp>
      <p:sp>
        <p:nvSpPr>
          <p:cNvPr id="1512" name="Freihandform 837">
            <a:extLst>
              <a:ext uri="{FF2B5EF4-FFF2-40B4-BE49-F238E27FC236}">
                <a16:creationId xmlns:a16="http://schemas.microsoft.com/office/drawing/2014/main" id="{DE92E452-1200-4567-87A7-F0B0DB6FA7CB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 rot="10800000">
            <a:off x="5539450" y="2643758"/>
            <a:ext cx="3136238" cy="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800100"/>
              <a:gd name="connsiteY0" fmla="*/ 0 h 0"/>
              <a:gd name="connsiteX1" fmla="*/ 800100 w 80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noFill/>
          <a:ln w="9525">
            <a:solidFill>
              <a:schemeClr val="accent2"/>
            </a:solidFill>
            <a:headEnd type="none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" dirty="0">
                <a:solidFill>
                  <a:schemeClr val="tx1"/>
                </a:solidFill>
                <a:latin typeface="Lucida Sans Techem"/>
                <a:cs typeface="Calibri"/>
              </a:rPr>
              <a:t>3</a:t>
            </a:r>
          </a:p>
        </p:txBody>
      </p:sp>
      <p:grpSp>
        <p:nvGrpSpPr>
          <p:cNvPr id="1513" name="Gruppieren 1512">
            <a:extLst>
              <a:ext uri="{FF2B5EF4-FFF2-40B4-BE49-F238E27FC236}">
                <a16:creationId xmlns:a16="http://schemas.microsoft.com/office/drawing/2014/main" id="{CECF4A84-418E-44E8-8CFD-9744E97DE08E}"/>
              </a:ext>
            </a:extLst>
          </p:cNvPr>
          <p:cNvGrpSpPr/>
          <p:nvPr>
            <p:custDataLst>
              <p:tags r:id="rId26"/>
            </p:custDataLst>
          </p:nvPr>
        </p:nvGrpSpPr>
        <p:grpSpPr bwMode="gray">
          <a:xfrm>
            <a:off x="6811472" y="926111"/>
            <a:ext cx="933999" cy="511773"/>
            <a:chOff x="9377916" y="975094"/>
            <a:chExt cx="933999" cy="511773"/>
          </a:xfrm>
        </p:grpSpPr>
        <p:grpSp>
          <p:nvGrpSpPr>
            <p:cNvPr id="1514" name="Group 793">
              <a:extLst>
                <a:ext uri="{FF2B5EF4-FFF2-40B4-BE49-F238E27FC236}">
                  <a16:creationId xmlns:a16="http://schemas.microsoft.com/office/drawing/2014/main" id="{830B3ACE-DF93-48E0-BB32-ED2DB9FEABB9}"/>
                </a:ext>
              </a:extLst>
            </p:cNvPr>
            <p:cNvGrpSpPr/>
            <p:nvPr>
              <p:custDataLst>
                <p:tags r:id="rId53"/>
              </p:custDataLst>
            </p:nvPr>
          </p:nvGrpSpPr>
          <p:grpSpPr bwMode="gray">
            <a:xfrm>
              <a:off x="9662107" y="975094"/>
              <a:ext cx="374971" cy="317318"/>
              <a:chOff x="9583738" y="150813"/>
              <a:chExt cx="3686175" cy="3119438"/>
            </a:xfrm>
            <a:solidFill>
              <a:schemeClr val="tx2"/>
            </a:solidFill>
          </p:grpSpPr>
          <p:sp>
            <p:nvSpPr>
              <p:cNvPr id="1516" name="Freeform 5">
                <a:extLst>
                  <a:ext uri="{FF2B5EF4-FFF2-40B4-BE49-F238E27FC236}">
                    <a16:creationId xmlns:a16="http://schemas.microsoft.com/office/drawing/2014/main" id="{63A6A360-DA14-44CF-A35F-3DBD53A5EA6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83738" y="1905001"/>
                <a:ext cx="2422525" cy="1365250"/>
              </a:xfrm>
              <a:custGeom>
                <a:avLst/>
                <a:gdLst>
                  <a:gd name="T0" fmla="*/ 1222 w 1346"/>
                  <a:gd name="T1" fmla="*/ 511 h 758"/>
                  <a:gd name="T2" fmla="*/ 1067 w 1346"/>
                  <a:gd name="T3" fmla="*/ 511 h 758"/>
                  <a:gd name="T4" fmla="*/ 1027 w 1346"/>
                  <a:gd name="T5" fmla="*/ 551 h 758"/>
                  <a:gd name="T6" fmla="*/ 1067 w 1346"/>
                  <a:gd name="T7" fmla="*/ 591 h 758"/>
                  <a:gd name="T8" fmla="*/ 1222 w 1346"/>
                  <a:gd name="T9" fmla="*/ 591 h 758"/>
                  <a:gd name="T10" fmla="*/ 1266 w 1346"/>
                  <a:gd name="T11" fmla="*/ 634 h 758"/>
                  <a:gd name="T12" fmla="*/ 1222 w 1346"/>
                  <a:gd name="T13" fmla="*/ 678 h 758"/>
                  <a:gd name="T14" fmla="*/ 804 w 1346"/>
                  <a:gd name="T15" fmla="*/ 678 h 758"/>
                  <a:gd name="T16" fmla="*/ 642 w 1346"/>
                  <a:gd name="T17" fmla="*/ 602 h 758"/>
                  <a:gd name="T18" fmla="*/ 543 w 1346"/>
                  <a:gd name="T19" fmla="*/ 482 h 758"/>
                  <a:gd name="T20" fmla="*/ 327 w 1346"/>
                  <a:gd name="T21" fmla="*/ 377 h 758"/>
                  <a:gd name="T22" fmla="*/ 327 w 1346"/>
                  <a:gd name="T23" fmla="*/ 141 h 758"/>
                  <a:gd name="T24" fmla="*/ 475 w 1346"/>
                  <a:gd name="T25" fmla="*/ 141 h 758"/>
                  <a:gd name="T26" fmla="*/ 668 w 1346"/>
                  <a:gd name="T27" fmla="*/ 219 h 758"/>
                  <a:gd name="T28" fmla="*/ 884 w 1346"/>
                  <a:gd name="T29" fmla="*/ 427 h 758"/>
                  <a:gd name="T30" fmla="*/ 886 w 1346"/>
                  <a:gd name="T31" fmla="*/ 482 h 758"/>
                  <a:gd name="T32" fmla="*/ 830 w 1346"/>
                  <a:gd name="T33" fmla="*/ 484 h 758"/>
                  <a:gd name="T34" fmla="*/ 661 w 1346"/>
                  <a:gd name="T35" fmla="*/ 329 h 758"/>
                  <a:gd name="T36" fmla="*/ 604 w 1346"/>
                  <a:gd name="T37" fmla="*/ 332 h 758"/>
                  <a:gd name="T38" fmla="*/ 607 w 1346"/>
                  <a:gd name="T39" fmla="*/ 388 h 758"/>
                  <a:gd name="T40" fmla="*/ 776 w 1346"/>
                  <a:gd name="T41" fmla="*/ 543 h 758"/>
                  <a:gd name="T42" fmla="*/ 857 w 1346"/>
                  <a:gd name="T43" fmla="*/ 575 h 758"/>
                  <a:gd name="T44" fmla="*/ 944 w 1346"/>
                  <a:gd name="T45" fmla="*/ 536 h 758"/>
                  <a:gd name="T46" fmla="*/ 939 w 1346"/>
                  <a:gd name="T47" fmla="*/ 370 h 758"/>
                  <a:gd name="T48" fmla="*/ 724 w 1346"/>
                  <a:gd name="T49" fmla="*/ 162 h 758"/>
                  <a:gd name="T50" fmla="*/ 475 w 1346"/>
                  <a:gd name="T51" fmla="*/ 61 h 758"/>
                  <a:gd name="T52" fmla="*/ 320 w 1346"/>
                  <a:gd name="T53" fmla="*/ 61 h 758"/>
                  <a:gd name="T54" fmla="*/ 228 w 1346"/>
                  <a:gd name="T55" fmla="*/ 0 h 758"/>
                  <a:gd name="T56" fmla="*/ 40 w 1346"/>
                  <a:gd name="T57" fmla="*/ 0 h 758"/>
                  <a:gd name="T58" fmla="*/ 0 w 1346"/>
                  <a:gd name="T59" fmla="*/ 40 h 758"/>
                  <a:gd name="T60" fmla="*/ 0 w 1346"/>
                  <a:gd name="T61" fmla="*/ 333 h 758"/>
                  <a:gd name="T62" fmla="*/ 40 w 1346"/>
                  <a:gd name="T63" fmla="*/ 373 h 758"/>
                  <a:gd name="T64" fmla="*/ 80 w 1346"/>
                  <a:gd name="T65" fmla="*/ 333 h 758"/>
                  <a:gd name="T66" fmla="*/ 80 w 1346"/>
                  <a:gd name="T67" fmla="*/ 80 h 758"/>
                  <a:gd name="T68" fmla="*/ 228 w 1346"/>
                  <a:gd name="T69" fmla="*/ 80 h 758"/>
                  <a:gd name="T70" fmla="*/ 247 w 1346"/>
                  <a:gd name="T71" fmla="*/ 99 h 758"/>
                  <a:gd name="T72" fmla="*/ 247 w 1346"/>
                  <a:gd name="T73" fmla="*/ 420 h 758"/>
                  <a:gd name="T74" fmla="*/ 228 w 1346"/>
                  <a:gd name="T75" fmla="*/ 439 h 758"/>
                  <a:gd name="T76" fmla="*/ 187 w 1346"/>
                  <a:gd name="T77" fmla="*/ 439 h 758"/>
                  <a:gd name="T78" fmla="*/ 147 w 1346"/>
                  <a:gd name="T79" fmla="*/ 479 h 758"/>
                  <a:gd name="T80" fmla="*/ 187 w 1346"/>
                  <a:gd name="T81" fmla="*/ 519 h 758"/>
                  <a:gd name="T82" fmla="*/ 228 w 1346"/>
                  <a:gd name="T83" fmla="*/ 519 h 758"/>
                  <a:gd name="T84" fmla="*/ 320 w 1346"/>
                  <a:gd name="T85" fmla="*/ 457 h 758"/>
                  <a:gd name="T86" fmla="*/ 481 w 1346"/>
                  <a:gd name="T87" fmla="*/ 533 h 758"/>
                  <a:gd name="T88" fmla="*/ 581 w 1346"/>
                  <a:gd name="T89" fmla="*/ 653 h 758"/>
                  <a:gd name="T90" fmla="*/ 804 w 1346"/>
                  <a:gd name="T91" fmla="*/ 758 h 758"/>
                  <a:gd name="T92" fmla="*/ 1222 w 1346"/>
                  <a:gd name="T93" fmla="*/ 758 h 758"/>
                  <a:gd name="T94" fmla="*/ 1346 w 1346"/>
                  <a:gd name="T95" fmla="*/ 634 h 758"/>
                  <a:gd name="T96" fmla="*/ 1222 w 1346"/>
                  <a:gd name="T97" fmla="*/ 511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46" h="758">
                    <a:moveTo>
                      <a:pt x="1222" y="511"/>
                    </a:moveTo>
                    <a:cubicBezTo>
                      <a:pt x="1067" y="511"/>
                      <a:pt x="1067" y="511"/>
                      <a:pt x="1067" y="511"/>
                    </a:cubicBezTo>
                    <a:cubicBezTo>
                      <a:pt x="1045" y="511"/>
                      <a:pt x="1027" y="529"/>
                      <a:pt x="1027" y="551"/>
                    </a:cubicBezTo>
                    <a:cubicBezTo>
                      <a:pt x="1027" y="573"/>
                      <a:pt x="1045" y="591"/>
                      <a:pt x="1067" y="591"/>
                    </a:cubicBezTo>
                    <a:cubicBezTo>
                      <a:pt x="1222" y="591"/>
                      <a:pt x="1222" y="591"/>
                      <a:pt x="1222" y="591"/>
                    </a:cubicBezTo>
                    <a:cubicBezTo>
                      <a:pt x="1246" y="591"/>
                      <a:pt x="1266" y="610"/>
                      <a:pt x="1266" y="634"/>
                    </a:cubicBezTo>
                    <a:cubicBezTo>
                      <a:pt x="1266" y="658"/>
                      <a:pt x="1246" y="678"/>
                      <a:pt x="1222" y="678"/>
                    </a:cubicBezTo>
                    <a:cubicBezTo>
                      <a:pt x="804" y="678"/>
                      <a:pt x="804" y="678"/>
                      <a:pt x="804" y="678"/>
                    </a:cubicBezTo>
                    <a:cubicBezTo>
                      <a:pt x="742" y="678"/>
                      <a:pt x="683" y="650"/>
                      <a:pt x="642" y="602"/>
                    </a:cubicBezTo>
                    <a:cubicBezTo>
                      <a:pt x="543" y="482"/>
                      <a:pt x="543" y="482"/>
                      <a:pt x="543" y="482"/>
                    </a:cubicBezTo>
                    <a:cubicBezTo>
                      <a:pt x="489" y="417"/>
                      <a:pt x="411" y="379"/>
                      <a:pt x="327" y="377"/>
                    </a:cubicBezTo>
                    <a:cubicBezTo>
                      <a:pt x="327" y="141"/>
                      <a:pt x="327" y="141"/>
                      <a:pt x="327" y="141"/>
                    </a:cubicBezTo>
                    <a:cubicBezTo>
                      <a:pt x="475" y="141"/>
                      <a:pt x="475" y="141"/>
                      <a:pt x="475" y="141"/>
                    </a:cubicBezTo>
                    <a:cubicBezTo>
                      <a:pt x="547" y="141"/>
                      <a:pt x="616" y="169"/>
                      <a:pt x="668" y="219"/>
                    </a:cubicBezTo>
                    <a:cubicBezTo>
                      <a:pt x="884" y="427"/>
                      <a:pt x="884" y="427"/>
                      <a:pt x="884" y="427"/>
                    </a:cubicBezTo>
                    <a:cubicBezTo>
                      <a:pt x="899" y="442"/>
                      <a:pt x="900" y="467"/>
                      <a:pt x="886" y="482"/>
                    </a:cubicBezTo>
                    <a:cubicBezTo>
                      <a:pt x="871" y="498"/>
                      <a:pt x="846" y="499"/>
                      <a:pt x="830" y="484"/>
                    </a:cubicBezTo>
                    <a:cubicBezTo>
                      <a:pt x="661" y="329"/>
                      <a:pt x="661" y="329"/>
                      <a:pt x="661" y="329"/>
                    </a:cubicBezTo>
                    <a:cubicBezTo>
                      <a:pt x="645" y="314"/>
                      <a:pt x="619" y="315"/>
                      <a:pt x="604" y="332"/>
                    </a:cubicBezTo>
                    <a:cubicBezTo>
                      <a:pt x="589" y="348"/>
                      <a:pt x="590" y="373"/>
                      <a:pt x="607" y="388"/>
                    </a:cubicBezTo>
                    <a:cubicBezTo>
                      <a:pt x="776" y="543"/>
                      <a:pt x="776" y="543"/>
                      <a:pt x="776" y="543"/>
                    </a:cubicBezTo>
                    <a:cubicBezTo>
                      <a:pt x="799" y="564"/>
                      <a:pt x="828" y="575"/>
                      <a:pt x="857" y="575"/>
                    </a:cubicBezTo>
                    <a:cubicBezTo>
                      <a:pt x="889" y="575"/>
                      <a:pt x="921" y="562"/>
                      <a:pt x="944" y="536"/>
                    </a:cubicBezTo>
                    <a:cubicBezTo>
                      <a:pt x="988" y="489"/>
                      <a:pt x="986" y="414"/>
                      <a:pt x="939" y="370"/>
                    </a:cubicBezTo>
                    <a:cubicBezTo>
                      <a:pt x="724" y="162"/>
                      <a:pt x="724" y="162"/>
                      <a:pt x="724" y="162"/>
                    </a:cubicBezTo>
                    <a:cubicBezTo>
                      <a:pt x="657" y="97"/>
                      <a:pt x="568" y="61"/>
                      <a:pt x="475" y="61"/>
                    </a:cubicBezTo>
                    <a:cubicBezTo>
                      <a:pt x="320" y="61"/>
                      <a:pt x="320" y="61"/>
                      <a:pt x="320" y="61"/>
                    </a:cubicBezTo>
                    <a:cubicBezTo>
                      <a:pt x="305" y="25"/>
                      <a:pt x="269" y="0"/>
                      <a:pt x="228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333"/>
                      <a:pt x="0" y="333"/>
                      <a:pt x="0" y="333"/>
                    </a:cubicBezTo>
                    <a:cubicBezTo>
                      <a:pt x="0" y="355"/>
                      <a:pt x="18" y="373"/>
                      <a:pt x="40" y="373"/>
                    </a:cubicBezTo>
                    <a:cubicBezTo>
                      <a:pt x="62" y="373"/>
                      <a:pt x="80" y="355"/>
                      <a:pt x="80" y="333"/>
                    </a:cubicBezTo>
                    <a:cubicBezTo>
                      <a:pt x="80" y="80"/>
                      <a:pt x="80" y="80"/>
                      <a:pt x="80" y="80"/>
                    </a:cubicBezTo>
                    <a:cubicBezTo>
                      <a:pt x="228" y="80"/>
                      <a:pt x="228" y="80"/>
                      <a:pt x="228" y="80"/>
                    </a:cubicBezTo>
                    <a:cubicBezTo>
                      <a:pt x="239" y="80"/>
                      <a:pt x="247" y="89"/>
                      <a:pt x="247" y="99"/>
                    </a:cubicBezTo>
                    <a:cubicBezTo>
                      <a:pt x="247" y="420"/>
                      <a:pt x="247" y="420"/>
                      <a:pt x="247" y="420"/>
                    </a:cubicBezTo>
                    <a:cubicBezTo>
                      <a:pt x="247" y="430"/>
                      <a:pt x="239" y="439"/>
                      <a:pt x="228" y="439"/>
                    </a:cubicBezTo>
                    <a:cubicBezTo>
                      <a:pt x="187" y="439"/>
                      <a:pt x="187" y="439"/>
                      <a:pt x="187" y="439"/>
                    </a:cubicBezTo>
                    <a:cubicBezTo>
                      <a:pt x="165" y="439"/>
                      <a:pt x="147" y="457"/>
                      <a:pt x="147" y="479"/>
                    </a:cubicBezTo>
                    <a:cubicBezTo>
                      <a:pt x="147" y="501"/>
                      <a:pt x="165" y="519"/>
                      <a:pt x="187" y="519"/>
                    </a:cubicBezTo>
                    <a:cubicBezTo>
                      <a:pt x="228" y="519"/>
                      <a:pt x="228" y="519"/>
                      <a:pt x="228" y="519"/>
                    </a:cubicBezTo>
                    <a:cubicBezTo>
                      <a:pt x="270" y="519"/>
                      <a:pt x="306" y="493"/>
                      <a:pt x="320" y="457"/>
                    </a:cubicBezTo>
                    <a:cubicBezTo>
                      <a:pt x="383" y="457"/>
                      <a:pt x="441" y="485"/>
                      <a:pt x="481" y="533"/>
                    </a:cubicBezTo>
                    <a:cubicBezTo>
                      <a:pt x="581" y="653"/>
                      <a:pt x="581" y="653"/>
                      <a:pt x="581" y="653"/>
                    </a:cubicBezTo>
                    <a:cubicBezTo>
                      <a:pt x="636" y="720"/>
                      <a:pt x="718" y="758"/>
                      <a:pt x="804" y="758"/>
                    </a:cubicBezTo>
                    <a:cubicBezTo>
                      <a:pt x="1222" y="758"/>
                      <a:pt x="1222" y="758"/>
                      <a:pt x="1222" y="758"/>
                    </a:cubicBezTo>
                    <a:cubicBezTo>
                      <a:pt x="1290" y="758"/>
                      <a:pt x="1346" y="702"/>
                      <a:pt x="1346" y="634"/>
                    </a:cubicBezTo>
                    <a:cubicBezTo>
                      <a:pt x="1346" y="566"/>
                      <a:pt x="1290" y="511"/>
                      <a:pt x="1222" y="5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17" name="Freeform 6">
                <a:extLst>
                  <a:ext uri="{FF2B5EF4-FFF2-40B4-BE49-F238E27FC236}">
                    <a16:creationId xmlns:a16="http://schemas.microsoft.com/office/drawing/2014/main" id="{C4761E93-3125-406B-AE07-3A8CAD1BCD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47388" y="150813"/>
                <a:ext cx="2422525" cy="1365250"/>
              </a:xfrm>
              <a:custGeom>
                <a:avLst/>
                <a:gdLst>
                  <a:gd name="T0" fmla="*/ 1306 w 1346"/>
                  <a:gd name="T1" fmla="*/ 370 h 758"/>
                  <a:gd name="T2" fmla="*/ 1266 w 1346"/>
                  <a:gd name="T3" fmla="*/ 410 h 758"/>
                  <a:gd name="T4" fmla="*/ 1266 w 1346"/>
                  <a:gd name="T5" fmla="*/ 678 h 758"/>
                  <a:gd name="T6" fmla="*/ 1118 w 1346"/>
                  <a:gd name="T7" fmla="*/ 678 h 758"/>
                  <a:gd name="T8" fmla="*/ 1099 w 1346"/>
                  <a:gd name="T9" fmla="*/ 659 h 758"/>
                  <a:gd name="T10" fmla="*/ 1099 w 1346"/>
                  <a:gd name="T11" fmla="*/ 338 h 758"/>
                  <a:gd name="T12" fmla="*/ 1118 w 1346"/>
                  <a:gd name="T13" fmla="*/ 319 h 758"/>
                  <a:gd name="T14" fmla="*/ 1156 w 1346"/>
                  <a:gd name="T15" fmla="*/ 319 h 758"/>
                  <a:gd name="T16" fmla="*/ 1196 w 1346"/>
                  <a:gd name="T17" fmla="*/ 279 h 758"/>
                  <a:gd name="T18" fmla="*/ 1156 w 1346"/>
                  <a:gd name="T19" fmla="*/ 239 h 758"/>
                  <a:gd name="T20" fmla="*/ 1118 w 1346"/>
                  <a:gd name="T21" fmla="*/ 239 h 758"/>
                  <a:gd name="T22" fmla="*/ 1026 w 1346"/>
                  <a:gd name="T23" fmla="*/ 301 h 758"/>
                  <a:gd name="T24" fmla="*/ 865 w 1346"/>
                  <a:gd name="T25" fmla="*/ 225 h 758"/>
                  <a:gd name="T26" fmla="*/ 765 w 1346"/>
                  <a:gd name="T27" fmla="*/ 105 h 758"/>
                  <a:gd name="T28" fmla="*/ 542 w 1346"/>
                  <a:gd name="T29" fmla="*/ 0 h 758"/>
                  <a:gd name="T30" fmla="*/ 124 w 1346"/>
                  <a:gd name="T31" fmla="*/ 0 h 758"/>
                  <a:gd name="T32" fmla="*/ 0 w 1346"/>
                  <a:gd name="T33" fmla="*/ 124 h 758"/>
                  <a:gd name="T34" fmla="*/ 124 w 1346"/>
                  <a:gd name="T35" fmla="*/ 247 h 758"/>
                  <a:gd name="T36" fmla="*/ 295 w 1346"/>
                  <a:gd name="T37" fmla="*/ 247 h 758"/>
                  <a:gd name="T38" fmla="*/ 335 w 1346"/>
                  <a:gd name="T39" fmla="*/ 207 h 758"/>
                  <a:gd name="T40" fmla="*/ 295 w 1346"/>
                  <a:gd name="T41" fmla="*/ 167 h 758"/>
                  <a:gd name="T42" fmla="*/ 124 w 1346"/>
                  <a:gd name="T43" fmla="*/ 167 h 758"/>
                  <a:gd name="T44" fmla="*/ 80 w 1346"/>
                  <a:gd name="T45" fmla="*/ 124 h 758"/>
                  <a:gd name="T46" fmla="*/ 124 w 1346"/>
                  <a:gd name="T47" fmla="*/ 80 h 758"/>
                  <a:gd name="T48" fmla="*/ 542 w 1346"/>
                  <a:gd name="T49" fmla="*/ 80 h 758"/>
                  <a:gd name="T50" fmla="*/ 704 w 1346"/>
                  <a:gd name="T51" fmla="*/ 156 h 758"/>
                  <a:gd name="T52" fmla="*/ 803 w 1346"/>
                  <a:gd name="T53" fmla="*/ 276 h 758"/>
                  <a:gd name="T54" fmla="*/ 1019 w 1346"/>
                  <a:gd name="T55" fmla="*/ 381 h 758"/>
                  <a:gd name="T56" fmla="*/ 1019 w 1346"/>
                  <a:gd name="T57" fmla="*/ 617 h 758"/>
                  <a:gd name="T58" fmla="*/ 871 w 1346"/>
                  <a:gd name="T59" fmla="*/ 617 h 758"/>
                  <a:gd name="T60" fmla="*/ 678 w 1346"/>
                  <a:gd name="T61" fmla="*/ 539 h 758"/>
                  <a:gd name="T62" fmla="*/ 462 w 1346"/>
                  <a:gd name="T63" fmla="*/ 331 h 758"/>
                  <a:gd name="T64" fmla="*/ 460 w 1346"/>
                  <a:gd name="T65" fmla="*/ 276 h 758"/>
                  <a:gd name="T66" fmla="*/ 516 w 1346"/>
                  <a:gd name="T67" fmla="*/ 274 h 758"/>
                  <a:gd name="T68" fmla="*/ 685 w 1346"/>
                  <a:gd name="T69" fmla="*/ 429 h 758"/>
                  <a:gd name="T70" fmla="*/ 742 w 1346"/>
                  <a:gd name="T71" fmla="*/ 426 h 758"/>
                  <a:gd name="T72" fmla="*/ 739 w 1346"/>
                  <a:gd name="T73" fmla="*/ 370 h 758"/>
                  <a:gd name="T74" fmla="*/ 570 w 1346"/>
                  <a:gd name="T75" fmla="*/ 215 h 758"/>
                  <a:gd name="T76" fmla="*/ 402 w 1346"/>
                  <a:gd name="T77" fmla="*/ 222 h 758"/>
                  <a:gd name="T78" fmla="*/ 407 w 1346"/>
                  <a:gd name="T79" fmla="*/ 388 h 758"/>
                  <a:gd name="T80" fmla="*/ 622 w 1346"/>
                  <a:gd name="T81" fmla="*/ 596 h 758"/>
                  <a:gd name="T82" fmla="*/ 871 w 1346"/>
                  <a:gd name="T83" fmla="*/ 697 h 758"/>
                  <a:gd name="T84" fmla="*/ 1026 w 1346"/>
                  <a:gd name="T85" fmla="*/ 697 h 758"/>
                  <a:gd name="T86" fmla="*/ 1118 w 1346"/>
                  <a:gd name="T87" fmla="*/ 758 h 758"/>
                  <a:gd name="T88" fmla="*/ 1306 w 1346"/>
                  <a:gd name="T89" fmla="*/ 758 h 758"/>
                  <a:gd name="T90" fmla="*/ 1346 w 1346"/>
                  <a:gd name="T91" fmla="*/ 718 h 758"/>
                  <a:gd name="T92" fmla="*/ 1346 w 1346"/>
                  <a:gd name="T93" fmla="*/ 410 h 758"/>
                  <a:gd name="T94" fmla="*/ 1306 w 1346"/>
                  <a:gd name="T95" fmla="*/ 370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46" h="758">
                    <a:moveTo>
                      <a:pt x="1306" y="370"/>
                    </a:moveTo>
                    <a:cubicBezTo>
                      <a:pt x="1284" y="370"/>
                      <a:pt x="1266" y="388"/>
                      <a:pt x="1266" y="410"/>
                    </a:cubicBezTo>
                    <a:cubicBezTo>
                      <a:pt x="1266" y="678"/>
                      <a:pt x="1266" y="678"/>
                      <a:pt x="1266" y="678"/>
                    </a:cubicBezTo>
                    <a:cubicBezTo>
                      <a:pt x="1118" y="678"/>
                      <a:pt x="1118" y="678"/>
                      <a:pt x="1118" y="678"/>
                    </a:cubicBezTo>
                    <a:cubicBezTo>
                      <a:pt x="1107" y="678"/>
                      <a:pt x="1099" y="669"/>
                      <a:pt x="1099" y="659"/>
                    </a:cubicBezTo>
                    <a:cubicBezTo>
                      <a:pt x="1099" y="338"/>
                      <a:pt x="1099" y="338"/>
                      <a:pt x="1099" y="338"/>
                    </a:cubicBezTo>
                    <a:cubicBezTo>
                      <a:pt x="1099" y="328"/>
                      <a:pt x="1107" y="319"/>
                      <a:pt x="1118" y="319"/>
                    </a:cubicBezTo>
                    <a:cubicBezTo>
                      <a:pt x="1156" y="319"/>
                      <a:pt x="1156" y="319"/>
                      <a:pt x="1156" y="319"/>
                    </a:cubicBezTo>
                    <a:cubicBezTo>
                      <a:pt x="1178" y="319"/>
                      <a:pt x="1196" y="301"/>
                      <a:pt x="1196" y="279"/>
                    </a:cubicBezTo>
                    <a:cubicBezTo>
                      <a:pt x="1196" y="257"/>
                      <a:pt x="1178" y="239"/>
                      <a:pt x="1156" y="239"/>
                    </a:cubicBezTo>
                    <a:cubicBezTo>
                      <a:pt x="1118" y="239"/>
                      <a:pt x="1118" y="239"/>
                      <a:pt x="1118" y="239"/>
                    </a:cubicBezTo>
                    <a:cubicBezTo>
                      <a:pt x="1076" y="239"/>
                      <a:pt x="1040" y="265"/>
                      <a:pt x="1026" y="301"/>
                    </a:cubicBezTo>
                    <a:cubicBezTo>
                      <a:pt x="963" y="301"/>
                      <a:pt x="905" y="273"/>
                      <a:pt x="865" y="225"/>
                    </a:cubicBezTo>
                    <a:cubicBezTo>
                      <a:pt x="765" y="105"/>
                      <a:pt x="765" y="105"/>
                      <a:pt x="765" y="105"/>
                    </a:cubicBezTo>
                    <a:cubicBezTo>
                      <a:pt x="710" y="38"/>
                      <a:pt x="628" y="0"/>
                      <a:pt x="542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56" y="0"/>
                      <a:pt x="0" y="56"/>
                      <a:pt x="0" y="124"/>
                    </a:cubicBezTo>
                    <a:cubicBezTo>
                      <a:pt x="0" y="192"/>
                      <a:pt x="56" y="247"/>
                      <a:pt x="124" y="247"/>
                    </a:cubicBezTo>
                    <a:cubicBezTo>
                      <a:pt x="295" y="247"/>
                      <a:pt x="295" y="247"/>
                      <a:pt x="295" y="247"/>
                    </a:cubicBezTo>
                    <a:cubicBezTo>
                      <a:pt x="317" y="247"/>
                      <a:pt x="335" y="229"/>
                      <a:pt x="335" y="207"/>
                    </a:cubicBezTo>
                    <a:cubicBezTo>
                      <a:pt x="335" y="185"/>
                      <a:pt x="317" y="167"/>
                      <a:pt x="295" y="167"/>
                    </a:cubicBezTo>
                    <a:cubicBezTo>
                      <a:pt x="124" y="167"/>
                      <a:pt x="124" y="167"/>
                      <a:pt x="124" y="167"/>
                    </a:cubicBezTo>
                    <a:cubicBezTo>
                      <a:pt x="100" y="167"/>
                      <a:pt x="80" y="148"/>
                      <a:pt x="80" y="124"/>
                    </a:cubicBezTo>
                    <a:cubicBezTo>
                      <a:pt x="80" y="100"/>
                      <a:pt x="100" y="80"/>
                      <a:pt x="124" y="80"/>
                    </a:cubicBezTo>
                    <a:cubicBezTo>
                      <a:pt x="542" y="80"/>
                      <a:pt x="542" y="80"/>
                      <a:pt x="542" y="80"/>
                    </a:cubicBezTo>
                    <a:cubicBezTo>
                      <a:pt x="604" y="80"/>
                      <a:pt x="663" y="108"/>
                      <a:pt x="704" y="156"/>
                    </a:cubicBezTo>
                    <a:cubicBezTo>
                      <a:pt x="803" y="276"/>
                      <a:pt x="803" y="276"/>
                      <a:pt x="803" y="276"/>
                    </a:cubicBezTo>
                    <a:cubicBezTo>
                      <a:pt x="857" y="341"/>
                      <a:pt x="935" y="378"/>
                      <a:pt x="1019" y="381"/>
                    </a:cubicBezTo>
                    <a:cubicBezTo>
                      <a:pt x="1019" y="617"/>
                      <a:pt x="1019" y="617"/>
                      <a:pt x="1019" y="617"/>
                    </a:cubicBezTo>
                    <a:cubicBezTo>
                      <a:pt x="871" y="617"/>
                      <a:pt x="871" y="617"/>
                      <a:pt x="871" y="617"/>
                    </a:cubicBezTo>
                    <a:cubicBezTo>
                      <a:pt x="799" y="617"/>
                      <a:pt x="730" y="589"/>
                      <a:pt x="678" y="539"/>
                    </a:cubicBezTo>
                    <a:cubicBezTo>
                      <a:pt x="462" y="331"/>
                      <a:pt x="462" y="331"/>
                      <a:pt x="462" y="331"/>
                    </a:cubicBezTo>
                    <a:cubicBezTo>
                      <a:pt x="447" y="316"/>
                      <a:pt x="446" y="291"/>
                      <a:pt x="460" y="276"/>
                    </a:cubicBezTo>
                    <a:cubicBezTo>
                      <a:pt x="475" y="260"/>
                      <a:pt x="500" y="259"/>
                      <a:pt x="516" y="274"/>
                    </a:cubicBezTo>
                    <a:cubicBezTo>
                      <a:pt x="685" y="429"/>
                      <a:pt x="685" y="429"/>
                      <a:pt x="685" y="429"/>
                    </a:cubicBezTo>
                    <a:cubicBezTo>
                      <a:pt x="701" y="444"/>
                      <a:pt x="727" y="443"/>
                      <a:pt x="742" y="426"/>
                    </a:cubicBezTo>
                    <a:cubicBezTo>
                      <a:pt x="757" y="410"/>
                      <a:pt x="756" y="385"/>
                      <a:pt x="739" y="370"/>
                    </a:cubicBezTo>
                    <a:cubicBezTo>
                      <a:pt x="570" y="215"/>
                      <a:pt x="570" y="215"/>
                      <a:pt x="570" y="215"/>
                    </a:cubicBezTo>
                    <a:cubicBezTo>
                      <a:pt x="522" y="170"/>
                      <a:pt x="446" y="173"/>
                      <a:pt x="402" y="222"/>
                    </a:cubicBezTo>
                    <a:cubicBezTo>
                      <a:pt x="358" y="269"/>
                      <a:pt x="360" y="344"/>
                      <a:pt x="407" y="388"/>
                    </a:cubicBezTo>
                    <a:cubicBezTo>
                      <a:pt x="622" y="596"/>
                      <a:pt x="622" y="596"/>
                      <a:pt x="622" y="596"/>
                    </a:cubicBezTo>
                    <a:cubicBezTo>
                      <a:pt x="689" y="661"/>
                      <a:pt x="778" y="697"/>
                      <a:pt x="871" y="697"/>
                    </a:cubicBezTo>
                    <a:cubicBezTo>
                      <a:pt x="1026" y="697"/>
                      <a:pt x="1026" y="697"/>
                      <a:pt x="1026" y="697"/>
                    </a:cubicBezTo>
                    <a:cubicBezTo>
                      <a:pt x="1041" y="733"/>
                      <a:pt x="1077" y="758"/>
                      <a:pt x="1118" y="758"/>
                    </a:cubicBezTo>
                    <a:cubicBezTo>
                      <a:pt x="1306" y="758"/>
                      <a:pt x="1306" y="758"/>
                      <a:pt x="1306" y="758"/>
                    </a:cubicBezTo>
                    <a:cubicBezTo>
                      <a:pt x="1328" y="758"/>
                      <a:pt x="1346" y="740"/>
                      <a:pt x="1346" y="718"/>
                    </a:cubicBezTo>
                    <a:cubicBezTo>
                      <a:pt x="1346" y="410"/>
                      <a:pt x="1346" y="410"/>
                      <a:pt x="1346" y="410"/>
                    </a:cubicBezTo>
                    <a:cubicBezTo>
                      <a:pt x="1346" y="388"/>
                      <a:pt x="1328" y="370"/>
                      <a:pt x="1306" y="3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18" name="Freeform 7">
                <a:extLst>
                  <a:ext uri="{FF2B5EF4-FFF2-40B4-BE49-F238E27FC236}">
                    <a16:creationId xmlns:a16="http://schemas.microsoft.com/office/drawing/2014/main" id="{51EC38D1-08C7-43ED-83E2-556262C6B3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760200" y="2547938"/>
                <a:ext cx="163512" cy="155575"/>
              </a:xfrm>
              <a:custGeom>
                <a:avLst/>
                <a:gdLst>
                  <a:gd name="T0" fmla="*/ 30 w 91"/>
                  <a:gd name="T1" fmla="*/ 10 h 86"/>
                  <a:gd name="T2" fmla="*/ 9 w 91"/>
                  <a:gd name="T3" fmla="*/ 62 h 86"/>
                  <a:gd name="T4" fmla="*/ 45 w 91"/>
                  <a:gd name="T5" fmla="*/ 86 h 86"/>
                  <a:gd name="T6" fmla="*/ 61 w 91"/>
                  <a:gd name="T7" fmla="*/ 83 h 86"/>
                  <a:gd name="T8" fmla="*/ 62 w 91"/>
                  <a:gd name="T9" fmla="*/ 83 h 86"/>
                  <a:gd name="T10" fmla="*/ 82 w 91"/>
                  <a:gd name="T11" fmla="*/ 30 h 86"/>
                  <a:gd name="T12" fmla="*/ 30 w 91"/>
                  <a:gd name="T13" fmla="*/ 1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30" y="10"/>
                    </a:moveTo>
                    <a:cubicBezTo>
                      <a:pt x="9" y="18"/>
                      <a:pt x="0" y="42"/>
                      <a:pt x="9" y="62"/>
                    </a:cubicBezTo>
                    <a:cubicBezTo>
                      <a:pt x="15" y="77"/>
                      <a:pt x="30" y="86"/>
                      <a:pt x="45" y="86"/>
                    </a:cubicBezTo>
                    <a:cubicBezTo>
                      <a:pt x="51" y="86"/>
                      <a:pt x="56" y="85"/>
                      <a:pt x="61" y="83"/>
                    </a:cubicBezTo>
                    <a:cubicBezTo>
                      <a:pt x="62" y="83"/>
                      <a:pt x="62" y="83"/>
                      <a:pt x="62" y="83"/>
                    </a:cubicBezTo>
                    <a:cubicBezTo>
                      <a:pt x="82" y="73"/>
                      <a:pt x="91" y="50"/>
                      <a:pt x="82" y="30"/>
                    </a:cubicBezTo>
                    <a:cubicBezTo>
                      <a:pt x="73" y="9"/>
                      <a:pt x="50" y="0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19" name="Freeform 8">
                <a:extLst>
                  <a:ext uri="{FF2B5EF4-FFF2-40B4-BE49-F238E27FC236}">
                    <a16:creationId xmlns:a16="http://schemas.microsoft.com/office/drawing/2014/main" id="{DD463127-2861-4FC4-8F4A-72A0CB13DF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47525" y="2441576"/>
                <a:ext cx="163512" cy="153988"/>
              </a:xfrm>
              <a:custGeom>
                <a:avLst/>
                <a:gdLst>
                  <a:gd name="T0" fmla="*/ 22 w 91"/>
                  <a:gd name="T1" fmla="*/ 13 h 85"/>
                  <a:gd name="T2" fmla="*/ 13 w 91"/>
                  <a:gd name="T3" fmla="*/ 69 h 85"/>
                  <a:gd name="T4" fmla="*/ 45 w 91"/>
                  <a:gd name="T5" fmla="*/ 85 h 85"/>
                  <a:gd name="T6" fmla="*/ 69 w 91"/>
                  <a:gd name="T7" fmla="*/ 77 h 85"/>
                  <a:gd name="T8" fmla="*/ 70 w 91"/>
                  <a:gd name="T9" fmla="*/ 77 h 85"/>
                  <a:gd name="T10" fmla="*/ 78 w 91"/>
                  <a:gd name="T11" fmla="*/ 21 h 85"/>
                  <a:gd name="T12" fmla="*/ 22 w 91"/>
                  <a:gd name="T13" fmla="*/ 1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5">
                    <a:moveTo>
                      <a:pt x="22" y="13"/>
                    </a:moveTo>
                    <a:cubicBezTo>
                      <a:pt x="4" y="26"/>
                      <a:pt x="0" y="51"/>
                      <a:pt x="13" y="69"/>
                    </a:cubicBezTo>
                    <a:cubicBezTo>
                      <a:pt x="21" y="79"/>
                      <a:pt x="33" y="85"/>
                      <a:pt x="45" y="85"/>
                    </a:cubicBezTo>
                    <a:cubicBezTo>
                      <a:pt x="54" y="85"/>
                      <a:pt x="62" y="83"/>
                      <a:pt x="69" y="77"/>
                    </a:cubicBezTo>
                    <a:cubicBezTo>
                      <a:pt x="69" y="77"/>
                      <a:pt x="69" y="77"/>
                      <a:pt x="70" y="77"/>
                    </a:cubicBezTo>
                    <a:cubicBezTo>
                      <a:pt x="87" y="64"/>
                      <a:pt x="91" y="39"/>
                      <a:pt x="78" y="21"/>
                    </a:cubicBezTo>
                    <a:cubicBezTo>
                      <a:pt x="65" y="3"/>
                      <a:pt x="40" y="0"/>
                      <a:pt x="2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0" name="Freeform 9">
                <a:extLst>
                  <a:ext uri="{FF2B5EF4-FFF2-40B4-BE49-F238E27FC236}">
                    <a16:creationId xmlns:a16="http://schemas.microsoft.com/office/drawing/2014/main" id="{DA8B41AF-1EEF-49F6-BC30-8D1370D67E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558588" y="2617788"/>
                <a:ext cx="155575" cy="152400"/>
              </a:xfrm>
              <a:custGeom>
                <a:avLst/>
                <a:gdLst>
                  <a:gd name="T0" fmla="*/ 35 w 87"/>
                  <a:gd name="T1" fmla="*/ 5 h 84"/>
                  <a:gd name="T2" fmla="*/ 4 w 87"/>
                  <a:gd name="T3" fmla="*/ 51 h 84"/>
                  <a:gd name="T4" fmla="*/ 43 w 87"/>
                  <a:gd name="T5" fmla="*/ 84 h 84"/>
                  <a:gd name="T6" fmla="*/ 51 w 87"/>
                  <a:gd name="T7" fmla="*/ 83 h 84"/>
                  <a:gd name="T8" fmla="*/ 52 w 87"/>
                  <a:gd name="T9" fmla="*/ 83 h 84"/>
                  <a:gd name="T10" fmla="*/ 83 w 87"/>
                  <a:gd name="T11" fmla="*/ 35 h 84"/>
                  <a:gd name="T12" fmla="*/ 35 w 87"/>
                  <a:gd name="T13" fmla="*/ 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84">
                    <a:moveTo>
                      <a:pt x="35" y="5"/>
                    </a:moveTo>
                    <a:cubicBezTo>
                      <a:pt x="14" y="9"/>
                      <a:pt x="0" y="30"/>
                      <a:pt x="4" y="51"/>
                    </a:cubicBezTo>
                    <a:cubicBezTo>
                      <a:pt x="7" y="70"/>
                      <a:pt x="24" y="84"/>
                      <a:pt x="43" y="84"/>
                    </a:cubicBezTo>
                    <a:cubicBezTo>
                      <a:pt x="46" y="84"/>
                      <a:pt x="48" y="84"/>
                      <a:pt x="51" y="83"/>
                    </a:cubicBezTo>
                    <a:cubicBezTo>
                      <a:pt x="51" y="83"/>
                      <a:pt x="51" y="83"/>
                      <a:pt x="52" y="83"/>
                    </a:cubicBezTo>
                    <a:cubicBezTo>
                      <a:pt x="73" y="78"/>
                      <a:pt x="87" y="57"/>
                      <a:pt x="83" y="35"/>
                    </a:cubicBezTo>
                    <a:cubicBezTo>
                      <a:pt x="78" y="14"/>
                      <a:pt x="57" y="0"/>
                      <a:pt x="3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1" name="Freeform 10">
                <a:extLst>
                  <a:ext uri="{FF2B5EF4-FFF2-40B4-BE49-F238E27FC236}">
                    <a16:creationId xmlns:a16="http://schemas.microsoft.com/office/drawing/2014/main" id="{1BC86C8C-6F5F-4712-B21E-3C4CAAB0648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2109450" y="2295526"/>
                <a:ext cx="158750" cy="153988"/>
              </a:xfrm>
              <a:custGeom>
                <a:avLst/>
                <a:gdLst>
                  <a:gd name="T0" fmla="*/ 71 w 89"/>
                  <a:gd name="T1" fmla="*/ 15 h 85"/>
                  <a:gd name="T2" fmla="*/ 15 w 89"/>
                  <a:gd name="T3" fmla="*/ 18 h 85"/>
                  <a:gd name="T4" fmla="*/ 14 w 89"/>
                  <a:gd name="T5" fmla="*/ 19 h 85"/>
                  <a:gd name="T6" fmla="*/ 18 w 89"/>
                  <a:gd name="T7" fmla="*/ 76 h 85"/>
                  <a:gd name="T8" fmla="*/ 44 w 89"/>
                  <a:gd name="T9" fmla="*/ 85 h 85"/>
                  <a:gd name="T10" fmla="*/ 74 w 89"/>
                  <a:gd name="T11" fmla="*/ 72 h 85"/>
                  <a:gd name="T12" fmla="*/ 71 w 89"/>
                  <a:gd name="T13" fmla="*/ 15 h 85"/>
                  <a:gd name="T14" fmla="*/ 49 w 89"/>
                  <a:gd name="T15" fmla="*/ 49 h 85"/>
                  <a:gd name="T16" fmla="*/ 45 w 89"/>
                  <a:gd name="T17" fmla="*/ 45 h 85"/>
                  <a:gd name="T18" fmla="*/ 49 w 89"/>
                  <a:gd name="T19" fmla="*/ 4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85">
                    <a:moveTo>
                      <a:pt x="71" y="15"/>
                    </a:moveTo>
                    <a:cubicBezTo>
                      <a:pt x="55" y="0"/>
                      <a:pt x="30" y="2"/>
                      <a:pt x="15" y="18"/>
                    </a:cubicBezTo>
                    <a:cubicBezTo>
                      <a:pt x="15" y="18"/>
                      <a:pt x="14" y="19"/>
                      <a:pt x="14" y="19"/>
                    </a:cubicBezTo>
                    <a:cubicBezTo>
                      <a:pt x="0" y="36"/>
                      <a:pt x="1" y="61"/>
                      <a:pt x="18" y="76"/>
                    </a:cubicBezTo>
                    <a:cubicBezTo>
                      <a:pt x="26" y="82"/>
                      <a:pt x="35" y="85"/>
                      <a:pt x="44" y="85"/>
                    </a:cubicBezTo>
                    <a:cubicBezTo>
                      <a:pt x="55" y="85"/>
                      <a:pt x="66" y="81"/>
                      <a:pt x="74" y="72"/>
                    </a:cubicBezTo>
                    <a:cubicBezTo>
                      <a:pt x="89" y="55"/>
                      <a:pt x="88" y="30"/>
                      <a:pt x="71" y="15"/>
                    </a:cubicBezTo>
                    <a:close/>
                    <a:moveTo>
                      <a:pt x="49" y="49"/>
                    </a:moveTo>
                    <a:cubicBezTo>
                      <a:pt x="45" y="45"/>
                      <a:pt x="45" y="45"/>
                      <a:pt x="45" y="45"/>
                    </a:cubicBezTo>
                    <a:cubicBezTo>
                      <a:pt x="49" y="49"/>
                      <a:pt x="49" y="49"/>
                      <a:pt x="49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2" name="Freeform 11">
                <a:extLst>
                  <a:ext uri="{FF2B5EF4-FFF2-40B4-BE49-F238E27FC236}">
                    <a16:creationId xmlns:a16="http://schemas.microsoft.com/office/drawing/2014/main" id="{9A2358A1-0BC5-4333-BAFD-BDDA8FA10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19000" y="1920876"/>
                <a:ext cx="160337" cy="153988"/>
              </a:xfrm>
              <a:custGeom>
                <a:avLst/>
                <a:gdLst>
                  <a:gd name="T0" fmla="*/ 56 w 89"/>
                  <a:gd name="T1" fmla="*/ 6 h 85"/>
                  <a:gd name="T2" fmla="*/ 6 w 89"/>
                  <a:gd name="T3" fmla="*/ 33 h 85"/>
                  <a:gd name="T4" fmla="*/ 33 w 89"/>
                  <a:gd name="T5" fmla="*/ 83 h 85"/>
                  <a:gd name="T6" fmla="*/ 44 w 89"/>
                  <a:gd name="T7" fmla="*/ 85 h 85"/>
                  <a:gd name="T8" fmla="*/ 83 w 89"/>
                  <a:gd name="T9" fmla="*/ 57 h 85"/>
                  <a:gd name="T10" fmla="*/ 83 w 89"/>
                  <a:gd name="T11" fmla="*/ 56 h 85"/>
                  <a:gd name="T12" fmla="*/ 56 w 89"/>
                  <a:gd name="T13" fmla="*/ 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" h="85">
                    <a:moveTo>
                      <a:pt x="56" y="6"/>
                    </a:moveTo>
                    <a:cubicBezTo>
                      <a:pt x="35" y="0"/>
                      <a:pt x="13" y="12"/>
                      <a:pt x="6" y="33"/>
                    </a:cubicBezTo>
                    <a:cubicBezTo>
                      <a:pt x="0" y="54"/>
                      <a:pt x="12" y="77"/>
                      <a:pt x="33" y="83"/>
                    </a:cubicBezTo>
                    <a:cubicBezTo>
                      <a:pt x="37" y="84"/>
                      <a:pt x="41" y="85"/>
                      <a:pt x="44" y="85"/>
                    </a:cubicBezTo>
                    <a:cubicBezTo>
                      <a:pt x="62" y="85"/>
                      <a:pt x="77" y="74"/>
                      <a:pt x="83" y="57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9" y="35"/>
                      <a:pt x="77" y="13"/>
                      <a:pt x="5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3" name="Freeform 12">
                <a:extLst>
                  <a:ext uri="{FF2B5EF4-FFF2-40B4-BE49-F238E27FC236}">
                    <a16:creationId xmlns:a16="http://schemas.microsoft.com/office/drawing/2014/main" id="{E495C539-BEAB-4280-8089-2B27305A7F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61863" y="1495426"/>
                <a:ext cx="157162" cy="150813"/>
              </a:xfrm>
              <a:custGeom>
                <a:avLst/>
                <a:gdLst>
                  <a:gd name="T0" fmla="*/ 83 w 87"/>
                  <a:gd name="T1" fmla="*/ 36 h 84"/>
                  <a:gd name="T2" fmla="*/ 36 w 87"/>
                  <a:gd name="T3" fmla="*/ 5 h 84"/>
                  <a:gd name="T4" fmla="*/ 5 w 87"/>
                  <a:gd name="T5" fmla="*/ 52 h 84"/>
                  <a:gd name="T6" fmla="*/ 44 w 87"/>
                  <a:gd name="T7" fmla="*/ 84 h 84"/>
                  <a:gd name="T8" fmla="*/ 51 w 87"/>
                  <a:gd name="T9" fmla="*/ 83 h 84"/>
                  <a:gd name="T10" fmla="*/ 83 w 87"/>
                  <a:gd name="T11" fmla="*/ 37 h 84"/>
                  <a:gd name="T12" fmla="*/ 83 w 87"/>
                  <a:gd name="T13" fmla="*/ 3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84">
                    <a:moveTo>
                      <a:pt x="83" y="36"/>
                    </a:moveTo>
                    <a:cubicBezTo>
                      <a:pt x="79" y="14"/>
                      <a:pt x="57" y="0"/>
                      <a:pt x="36" y="5"/>
                    </a:cubicBezTo>
                    <a:cubicBezTo>
                      <a:pt x="14" y="9"/>
                      <a:pt x="0" y="30"/>
                      <a:pt x="5" y="52"/>
                    </a:cubicBezTo>
                    <a:cubicBezTo>
                      <a:pt x="8" y="71"/>
                      <a:pt x="25" y="84"/>
                      <a:pt x="44" y="84"/>
                    </a:cubicBezTo>
                    <a:cubicBezTo>
                      <a:pt x="46" y="84"/>
                      <a:pt x="49" y="84"/>
                      <a:pt x="51" y="83"/>
                    </a:cubicBezTo>
                    <a:cubicBezTo>
                      <a:pt x="73" y="80"/>
                      <a:pt x="87" y="59"/>
                      <a:pt x="83" y="37"/>
                    </a:cubicBezTo>
                    <a:cubicBezTo>
                      <a:pt x="83" y="37"/>
                      <a:pt x="83" y="36"/>
                      <a:pt x="83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4" name="Freeform 13">
                <a:extLst>
                  <a:ext uri="{FF2B5EF4-FFF2-40B4-BE49-F238E27FC236}">
                    <a16:creationId xmlns:a16="http://schemas.microsoft.com/office/drawing/2014/main" id="{07F84A06-DB99-4C41-B805-DD4D875C5B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366625" y="1714501"/>
                <a:ext cx="149225" cy="147638"/>
              </a:xfrm>
              <a:custGeom>
                <a:avLst/>
                <a:gdLst>
                  <a:gd name="T0" fmla="*/ 45 w 83"/>
                  <a:gd name="T1" fmla="*/ 2 h 82"/>
                  <a:gd name="T2" fmla="*/ 1 w 83"/>
                  <a:gd name="T3" fmla="*/ 38 h 82"/>
                  <a:gd name="T4" fmla="*/ 1 w 83"/>
                  <a:gd name="T5" fmla="*/ 40 h 82"/>
                  <a:gd name="T6" fmla="*/ 39 w 83"/>
                  <a:gd name="T7" fmla="*/ 82 h 82"/>
                  <a:gd name="T8" fmla="*/ 41 w 83"/>
                  <a:gd name="T9" fmla="*/ 82 h 82"/>
                  <a:gd name="T10" fmla="*/ 81 w 83"/>
                  <a:gd name="T11" fmla="*/ 45 h 82"/>
                  <a:gd name="T12" fmla="*/ 45 w 83"/>
                  <a:gd name="T13" fmla="*/ 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82">
                    <a:moveTo>
                      <a:pt x="45" y="2"/>
                    </a:moveTo>
                    <a:cubicBezTo>
                      <a:pt x="23" y="0"/>
                      <a:pt x="3" y="16"/>
                      <a:pt x="1" y="38"/>
                    </a:cubicBezTo>
                    <a:cubicBezTo>
                      <a:pt x="1" y="39"/>
                      <a:pt x="1" y="39"/>
                      <a:pt x="1" y="40"/>
                    </a:cubicBezTo>
                    <a:cubicBezTo>
                      <a:pt x="0" y="62"/>
                      <a:pt x="17" y="81"/>
                      <a:pt x="39" y="82"/>
                    </a:cubicBezTo>
                    <a:cubicBezTo>
                      <a:pt x="40" y="82"/>
                      <a:pt x="40" y="82"/>
                      <a:pt x="41" y="82"/>
                    </a:cubicBezTo>
                    <a:cubicBezTo>
                      <a:pt x="62" y="82"/>
                      <a:pt x="79" y="66"/>
                      <a:pt x="81" y="45"/>
                    </a:cubicBezTo>
                    <a:cubicBezTo>
                      <a:pt x="83" y="23"/>
                      <a:pt x="67" y="4"/>
                      <a:pt x="4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5" name="Freeform 14">
                <a:extLst>
                  <a:ext uri="{FF2B5EF4-FFF2-40B4-BE49-F238E27FC236}">
                    <a16:creationId xmlns:a16="http://schemas.microsoft.com/office/drawing/2014/main" id="{42CC5E78-B736-4254-9B80-56662015E4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231688" y="2117726"/>
                <a:ext cx="165100" cy="157163"/>
              </a:xfrm>
              <a:custGeom>
                <a:avLst/>
                <a:gdLst>
                  <a:gd name="T0" fmla="*/ 66 w 92"/>
                  <a:gd name="T1" fmla="*/ 11 h 87"/>
                  <a:gd name="T2" fmla="*/ 11 w 92"/>
                  <a:gd name="T3" fmla="*/ 26 h 87"/>
                  <a:gd name="T4" fmla="*/ 11 w 92"/>
                  <a:gd name="T5" fmla="*/ 27 h 87"/>
                  <a:gd name="T6" fmla="*/ 27 w 92"/>
                  <a:gd name="T7" fmla="*/ 82 h 87"/>
                  <a:gd name="T8" fmla="*/ 46 w 92"/>
                  <a:gd name="T9" fmla="*/ 87 h 87"/>
                  <a:gd name="T10" fmla="*/ 81 w 92"/>
                  <a:gd name="T11" fmla="*/ 66 h 87"/>
                  <a:gd name="T12" fmla="*/ 46 w 92"/>
                  <a:gd name="T13" fmla="*/ 46 h 87"/>
                  <a:gd name="T14" fmla="*/ 81 w 92"/>
                  <a:gd name="T15" fmla="*/ 66 h 87"/>
                  <a:gd name="T16" fmla="*/ 66 w 92"/>
                  <a:gd name="T17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87">
                    <a:moveTo>
                      <a:pt x="66" y="11"/>
                    </a:moveTo>
                    <a:cubicBezTo>
                      <a:pt x="47" y="0"/>
                      <a:pt x="22" y="7"/>
                      <a:pt x="11" y="26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0" y="47"/>
                      <a:pt x="7" y="71"/>
                      <a:pt x="27" y="82"/>
                    </a:cubicBezTo>
                    <a:cubicBezTo>
                      <a:pt x="33" y="85"/>
                      <a:pt x="40" y="87"/>
                      <a:pt x="46" y="87"/>
                    </a:cubicBezTo>
                    <a:cubicBezTo>
                      <a:pt x="60" y="87"/>
                      <a:pt x="74" y="79"/>
                      <a:pt x="81" y="66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81" y="66"/>
                      <a:pt x="81" y="66"/>
                      <a:pt x="81" y="66"/>
                    </a:cubicBezTo>
                    <a:cubicBezTo>
                      <a:pt x="92" y="47"/>
                      <a:pt x="85" y="22"/>
                      <a:pt x="6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6" name="Freeform 15">
                <a:extLst>
                  <a:ext uri="{FF2B5EF4-FFF2-40B4-BE49-F238E27FC236}">
                    <a16:creationId xmlns:a16="http://schemas.microsoft.com/office/drawing/2014/main" id="{2C01F213-8B8D-4A6E-B89F-D41A023F80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98188" y="715963"/>
                <a:ext cx="163512" cy="155575"/>
              </a:xfrm>
              <a:custGeom>
                <a:avLst/>
                <a:gdLst>
                  <a:gd name="T0" fmla="*/ 46 w 91"/>
                  <a:gd name="T1" fmla="*/ 86 h 86"/>
                  <a:gd name="T2" fmla="*/ 64 w 91"/>
                  <a:gd name="T3" fmla="*/ 81 h 86"/>
                  <a:gd name="T4" fmla="*/ 82 w 91"/>
                  <a:gd name="T5" fmla="*/ 28 h 86"/>
                  <a:gd name="T6" fmla="*/ 28 w 91"/>
                  <a:gd name="T7" fmla="*/ 10 h 86"/>
                  <a:gd name="T8" fmla="*/ 28 w 91"/>
                  <a:gd name="T9" fmla="*/ 10 h 86"/>
                  <a:gd name="T10" fmla="*/ 10 w 91"/>
                  <a:gd name="T11" fmla="*/ 63 h 86"/>
                  <a:gd name="T12" fmla="*/ 46 w 91"/>
                  <a:gd name="T13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46" y="86"/>
                    </a:moveTo>
                    <a:cubicBezTo>
                      <a:pt x="52" y="86"/>
                      <a:pt x="58" y="84"/>
                      <a:pt x="64" y="81"/>
                    </a:cubicBezTo>
                    <a:cubicBezTo>
                      <a:pt x="83" y="71"/>
                      <a:pt x="91" y="47"/>
                      <a:pt x="82" y="28"/>
                    </a:cubicBezTo>
                    <a:cubicBezTo>
                      <a:pt x="72" y="8"/>
                      <a:pt x="48" y="0"/>
                      <a:pt x="28" y="10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8" y="20"/>
                      <a:pt x="0" y="44"/>
                      <a:pt x="10" y="63"/>
                    </a:cubicBezTo>
                    <a:cubicBezTo>
                      <a:pt x="17" y="77"/>
                      <a:pt x="31" y="86"/>
                      <a:pt x="46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7" name="Freeform 16">
                <a:extLst>
                  <a:ext uri="{FF2B5EF4-FFF2-40B4-BE49-F238E27FC236}">
                    <a16:creationId xmlns:a16="http://schemas.microsoft.com/office/drawing/2014/main" id="{7D239995-DD39-4D57-A6EC-72732B04BF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102975" y="644526"/>
                <a:ext cx="158750" cy="150813"/>
              </a:xfrm>
              <a:custGeom>
                <a:avLst/>
                <a:gdLst>
                  <a:gd name="T0" fmla="*/ 44 w 88"/>
                  <a:gd name="T1" fmla="*/ 84 h 84"/>
                  <a:gd name="T2" fmla="*/ 54 w 88"/>
                  <a:gd name="T3" fmla="*/ 83 h 84"/>
                  <a:gd name="T4" fmla="*/ 83 w 88"/>
                  <a:gd name="T5" fmla="*/ 34 h 84"/>
                  <a:gd name="T6" fmla="*/ 35 w 88"/>
                  <a:gd name="T7" fmla="*/ 5 h 84"/>
                  <a:gd name="T8" fmla="*/ 34 w 88"/>
                  <a:gd name="T9" fmla="*/ 5 h 84"/>
                  <a:gd name="T10" fmla="*/ 5 w 88"/>
                  <a:gd name="T11" fmla="*/ 54 h 84"/>
                  <a:gd name="T12" fmla="*/ 44 w 88"/>
                  <a:gd name="T13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4">
                    <a:moveTo>
                      <a:pt x="44" y="84"/>
                    </a:moveTo>
                    <a:cubicBezTo>
                      <a:pt x="47" y="84"/>
                      <a:pt x="51" y="83"/>
                      <a:pt x="54" y="83"/>
                    </a:cubicBezTo>
                    <a:cubicBezTo>
                      <a:pt x="75" y="77"/>
                      <a:pt x="88" y="56"/>
                      <a:pt x="83" y="34"/>
                    </a:cubicBezTo>
                    <a:cubicBezTo>
                      <a:pt x="78" y="13"/>
                      <a:pt x="56" y="0"/>
                      <a:pt x="35" y="5"/>
                    </a:cubicBezTo>
                    <a:cubicBezTo>
                      <a:pt x="35" y="5"/>
                      <a:pt x="34" y="5"/>
                      <a:pt x="34" y="5"/>
                    </a:cubicBezTo>
                    <a:cubicBezTo>
                      <a:pt x="13" y="11"/>
                      <a:pt x="0" y="32"/>
                      <a:pt x="5" y="54"/>
                    </a:cubicBezTo>
                    <a:cubicBezTo>
                      <a:pt x="10" y="72"/>
                      <a:pt x="26" y="84"/>
                      <a:pt x="44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8" name="Freeform 17">
                <a:extLst>
                  <a:ext uri="{FF2B5EF4-FFF2-40B4-BE49-F238E27FC236}">
                    <a16:creationId xmlns:a16="http://schemas.microsoft.com/office/drawing/2014/main" id="{3365B0A3-7CAF-4843-963C-62C2DA7E0B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715625" y="833438"/>
                <a:ext cx="163512" cy="155575"/>
              </a:xfrm>
              <a:custGeom>
                <a:avLst/>
                <a:gdLst>
                  <a:gd name="T0" fmla="*/ 45 w 91"/>
                  <a:gd name="T1" fmla="*/ 86 h 86"/>
                  <a:gd name="T2" fmla="*/ 70 w 91"/>
                  <a:gd name="T3" fmla="*/ 77 h 86"/>
                  <a:gd name="T4" fmla="*/ 71 w 91"/>
                  <a:gd name="T5" fmla="*/ 76 h 86"/>
                  <a:gd name="T6" fmla="*/ 77 w 91"/>
                  <a:gd name="T7" fmla="*/ 20 h 86"/>
                  <a:gd name="T8" fmla="*/ 21 w 91"/>
                  <a:gd name="T9" fmla="*/ 14 h 86"/>
                  <a:gd name="T10" fmla="*/ 45 w 91"/>
                  <a:gd name="T11" fmla="*/ 46 h 86"/>
                  <a:gd name="T12" fmla="*/ 20 w 91"/>
                  <a:gd name="T13" fmla="*/ 14 h 86"/>
                  <a:gd name="T14" fmla="*/ 14 w 91"/>
                  <a:gd name="T15" fmla="*/ 70 h 86"/>
                  <a:gd name="T16" fmla="*/ 45 w 91"/>
                  <a:gd name="T17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86">
                    <a:moveTo>
                      <a:pt x="45" y="86"/>
                    </a:moveTo>
                    <a:cubicBezTo>
                      <a:pt x="54" y="86"/>
                      <a:pt x="63" y="83"/>
                      <a:pt x="70" y="77"/>
                    </a:cubicBezTo>
                    <a:cubicBezTo>
                      <a:pt x="71" y="76"/>
                      <a:pt x="71" y="76"/>
                      <a:pt x="71" y="76"/>
                    </a:cubicBezTo>
                    <a:cubicBezTo>
                      <a:pt x="88" y="63"/>
                      <a:pt x="91" y="37"/>
                      <a:pt x="77" y="20"/>
                    </a:cubicBezTo>
                    <a:cubicBezTo>
                      <a:pt x="63" y="3"/>
                      <a:pt x="38" y="0"/>
                      <a:pt x="21" y="14"/>
                    </a:cubicBezTo>
                    <a:cubicBezTo>
                      <a:pt x="45" y="46"/>
                      <a:pt x="45" y="46"/>
                      <a:pt x="45" y="46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3" y="28"/>
                      <a:pt x="0" y="53"/>
                      <a:pt x="14" y="70"/>
                    </a:cubicBezTo>
                    <a:cubicBezTo>
                      <a:pt x="22" y="80"/>
                      <a:pt x="34" y="86"/>
                      <a:pt x="45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29" name="Freeform 18">
                <a:extLst>
                  <a:ext uri="{FF2B5EF4-FFF2-40B4-BE49-F238E27FC236}">
                    <a16:creationId xmlns:a16="http://schemas.microsoft.com/office/drawing/2014/main" id="{B102B023-2A3B-43D0-B3BE-5119E6EAF0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72725" y="1371601"/>
                <a:ext cx="157162" cy="153988"/>
              </a:xfrm>
              <a:custGeom>
                <a:avLst/>
                <a:gdLst>
                  <a:gd name="T0" fmla="*/ 35 w 88"/>
                  <a:gd name="T1" fmla="*/ 84 h 85"/>
                  <a:gd name="T2" fmla="*/ 44 w 88"/>
                  <a:gd name="T3" fmla="*/ 85 h 85"/>
                  <a:gd name="T4" fmla="*/ 83 w 88"/>
                  <a:gd name="T5" fmla="*/ 54 h 85"/>
                  <a:gd name="T6" fmla="*/ 55 w 88"/>
                  <a:gd name="T7" fmla="*/ 6 h 85"/>
                  <a:gd name="T8" fmla="*/ 5 w 88"/>
                  <a:gd name="T9" fmla="*/ 34 h 85"/>
                  <a:gd name="T10" fmla="*/ 5 w 88"/>
                  <a:gd name="T11" fmla="*/ 35 h 85"/>
                  <a:gd name="T12" fmla="*/ 35 w 88"/>
                  <a:gd name="T13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5">
                    <a:moveTo>
                      <a:pt x="35" y="84"/>
                    </a:moveTo>
                    <a:cubicBezTo>
                      <a:pt x="38" y="84"/>
                      <a:pt x="41" y="85"/>
                      <a:pt x="44" y="85"/>
                    </a:cubicBezTo>
                    <a:cubicBezTo>
                      <a:pt x="62" y="85"/>
                      <a:pt x="78" y="73"/>
                      <a:pt x="83" y="54"/>
                    </a:cubicBezTo>
                    <a:cubicBezTo>
                      <a:pt x="88" y="33"/>
                      <a:pt x="76" y="12"/>
                      <a:pt x="55" y="6"/>
                    </a:cubicBezTo>
                    <a:cubicBezTo>
                      <a:pt x="33" y="0"/>
                      <a:pt x="11" y="13"/>
                      <a:pt x="5" y="34"/>
                    </a:cubicBezTo>
                    <a:cubicBezTo>
                      <a:pt x="5" y="34"/>
                      <a:pt x="5" y="35"/>
                      <a:pt x="5" y="35"/>
                    </a:cubicBezTo>
                    <a:cubicBezTo>
                      <a:pt x="0" y="57"/>
                      <a:pt x="13" y="78"/>
                      <a:pt x="35" y="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0" name="Freeform 19">
                <a:extLst>
                  <a:ext uri="{FF2B5EF4-FFF2-40B4-BE49-F238E27FC236}">
                    <a16:creationId xmlns:a16="http://schemas.microsoft.com/office/drawing/2014/main" id="{2AD8C5B2-703E-492D-B90E-D132847335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47325" y="1592263"/>
                <a:ext cx="147637" cy="147638"/>
              </a:xfrm>
              <a:custGeom>
                <a:avLst/>
                <a:gdLst>
                  <a:gd name="T0" fmla="*/ 40 w 82"/>
                  <a:gd name="T1" fmla="*/ 82 h 82"/>
                  <a:gd name="T2" fmla="*/ 41 w 82"/>
                  <a:gd name="T3" fmla="*/ 82 h 82"/>
                  <a:gd name="T4" fmla="*/ 81 w 82"/>
                  <a:gd name="T5" fmla="*/ 43 h 82"/>
                  <a:gd name="T6" fmla="*/ 43 w 82"/>
                  <a:gd name="T7" fmla="*/ 1 h 82"/>
                  <a:gd name="T8" fmla="*/ 1 w 82"/>
                  <a:gd name="T9" fmla="*/ 39 h 82"/>
                  <a:gd name="T10" fmla="*/ 1 w 82"/>
                  <a:gd name="T11" fmla="*/ 41 h 82"/>
                  <a:gd name="T12" fmla="*/ 40 w 82"/>
                  <a:gd name="T13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82">
                    <a:moveTo>
                      <a:pt x="40" y="82"/>
                    </a:moveTo>
                    <a:cubicBezTo>
                      <a:pt x="40" y="82"/>
                      <a:pt x="40" y="82"/>
                      <a:pt x="41" y="82"/>
                    </a:cubicBezTo>
                    <a:cubicBezTo>
                      <a:pt x="62" y="82"/>
                      <a:pt x="80" y="65"/>
                      <a:pt x="81" y="43"/>
                    </a:cubicBezTo>
                    <a:cubicBezTo>
                      <a:pt x="82" y="21"/>
                      <a:pt x="65" y="3"/>
                      <a:pt x="43" y="1"/>
                    </a:cubicBezTo>
                    <a:cubicBezTo>
                      <a:pt x="21" y="0"/>
                      <a:pt x="2" y="17"/>
                      <a:pt x="1" y="39"/>
                    </a:cubicBezTo>
                    <a:cubicBezTo>
                      <a:pt x="1" y="39"/>
                      <a:pt x="1" y="40"/>
                      <a:pt x="1" y="41"/>
                    </a:cubicBezTo>
                    <a:cubicBezTo>
                      <a:pt x="0" y="63"/>
                      <a:pt x="17" y="81"/>
                      <a:pt x="40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1" name="Freeform 20">
                <a:extLst>
                  <a:ext uri="{FF2B5EF4-FFF2-40B4-BE49-F238E27FC236}">
                    <a16:creationId xmlns:a16="http://schemas.microsoft.com/office/drawing/2014/main" id="{3C994A4A-09AD-413B-AE39-E7FC3C0A93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445750" y="1166813"/>
                <a:ext cx="163512" cy="155575"/>
              </a:xfrm>
              <a:custGeom>
                <a:avLst/>
                <a:gdLst>
                  <a:gd name="T0" fmla="*/ 27 w 91"/>
                  <a:gd name="T1" fmla="*/ 82 h 86"/>
                  <a:gd name="T2" fmla="*/ 45 w 91"/>
                  <a:gd name="T3" fmla="*/ 86 h 86"/>
                  <a:gd name="T4" fmla="*/ 81 w 91"/>
                  <a:gd name="T5" fmla="*/ 64 h 86"/>
                  <a:gd name="T6" fmla="*/ 64 w 91"/>
                  <a:gd name="T7" fmla="*/ 11 h 86"/>
                  <a:gd name="T8" fmla="*/ 10 w 91"/>
                  <a:gd name="T9" fmla="*/ 27 h 86"/>
                  <a:gd name="T10" fmla="*/ 9 w 91"/>
                  <a:gd name="T11" fmla="*/ 29 h 86"/>
                  <a:gd name="T12" fmla="*/ 27 w 91"/>
                  <a:gd name="T13" fmla="*/ 8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86">
                    <a:moveTo>
                      <a:pt x="27" y="82"/>
                    </a:moveTo>
                    <a:cubicBezTo>
                      <a:pt x="33" y="85"/>
                      <a:pt x="39" y="86"/>
                      <a:pt x="45" y="86"/>
                    </a:cubicBezTo>
                    <a:cubicBezTo>
                      <a:pt x="60" y="86"/>
                      <a:pt x="74" y="78"/>
                      <a:pt x="81" y="64"/>
                    </a:cubicBezTo>
                    <a:cubicBezTo>
                      <a:pt x="91" y="45"/>
                      <a:pt x="83" y="21"/>
                      <a:pt x="64" y="11"/>
                    </a:cubicBezTo>
                    <a:cubicBezTo>
                      <a:pt x="44" y="0"/>
                      <a:pt x="20" y="8"/>
                      <a:pt x="10" y="27"/>
                    </a:cubicBezTo>
                    <a:cubicBezTo>
                      <a:pt x="9" y="29"/>
                      <a:pt x="9" y="29"/>
                      <a:pt x="9" y="29"/>
                    </a:cubicBezTo>
                    <a:cubicBezTo>
                      <a:pt x="0" y="48"/>
                      <a:pt x="8" y="72"/>
                      <a:pt x="27" y="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2" name="Freeform 21">
                <a:extLst>
                  <a:ext uri="{FF2B5EF4-FFF2-40B4-BE49-F238E27FC236}">
                    <a16:creationId xmlns:a16="http://schemas.microsoft.com/office/drawing/2014/main" id="{F51680A9-A6A5-46D5-B90B-B97BCB97E0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63225" y="987426"/>
                <a:ext cx="161925" cy="152400"/>
              </a:xfrm>
              <a:custGeom>
                <a:avLst/>
                <a:gdLst>
                  <a:gd name="T0" fmla="*/ 21 w 90"/>
                  <a:gd name="T1" fmla="*/ 77 h 85"/>
                  <a:gd name="T2" fmla="*/ 45 w 90"/>
                  <a:gd name="T3" fmla="*/ 85 h 85"/>
                  <a:gd name="T4" fmla="*/ 77 w 90"/>
                  <a:gd name="T5" fmla="*/ 70 h 85"/>
                  <a:gd name="T6" fmla="*/ 71 w 90"/>
                  <a:gd name="T7" fmla="*/ 14 h 85"/>
                  <a:gd name="T8" fmla="*/ 15 w 90"/>
                  <a:gd name="T9" fmla="*/ 20 h 85"/>
                  <a:gd name="T10" fmla="*/ 14 w 90"/>
                  <a:gd name="T11" fmla="*/ 21 h 85"/>
                  <a:gd name="T12" fmla="*/ 21 w 90"/>
                  <a:gd name="T13" fmla="*/ 77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85">
                    <a:moveTo>
                      <a:pt x="21" y="77"/>
                    </a:moveTo>
                    <a:cubicBezTo>
                      <a:pt x="28" y="83"/>
                      <a:pt x="37" y="85"/>
                      <a:pt x="45" y="85"/>
                    </a:cubicBezTo>
                    <a:cubicBezTo>
                      <a:pt x="57" y="85"/>
                      <a:pt x="69" y="80"/>
                      <a:pt x="77" y="70"/>
                    </a:cubicBezTo>
                    <a:cubicBezTo>
                      <a:pt x="90" y="53"/>
                      <a:pt x="88" y="28"/>
                      <a:pt x="71" y="14"/>
                    </a:cubicBezTo>
                    <a:cubicBezTo>
                      <a:pt x="54" y="0"/>
                      <a:pt x="29" y="3"/>
                      <a:pt x="15" y="20"/>
                    </a:cubicBezTo>
                    <a:cubicBezTo>
                      <a:pt x="15" y="20"/>
                      <a:pt x="14" y="20"/>
                      <a:pt x="14" y="21"/>
                    </a:cubicBezTo>
                    <a:cubicBezTo>
                      <a:pt x="0" y="38"/>
                      <a:pt x="3" y="63"/>
                      <a:pt x="21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3" name="Freeform 22">
                <a:extLst>
                  <a:ext uri="{FF2B5EF4-FFF2-40B4-BE49-F238E27FC236}">
                    <a16:creationId xmlns:a16="http://schemas.microsoft.com/office/drawing/2014/main" id="{8E9F220A-D759-4303-9EE0-1BA6C51962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56850" y="1804988"/>
                <a:ext cx="155575" cy="149225"/>
              </a:xfrm>
              <a:custGeom>
                <a:avLst/>
                <a:gdLst>
                  <a:gd name="T0" fmla="*/ 36 w 86"/>
                  <a:gd name="T1" fmla="*/ 4 h 83"/>
                  <a:gd name="T2" fmla="*/ 4 w 86"/>
                  <a:gd name="T3" fmla="*/ 50 h 83"/>
                  <a:gd name="T4" fmla="*/ 4 w 86"/>
                  <a:gd name="T5" fmla="*/ 51 h 83"/>
                  <a:gd name="T6" fmla="*/ 43 w 86"/>
                  <a:gd name="T7" fmla="*/ 83 h 83"/>
                  <a:gd name="T8" fmla="*/ 50 w 86"/>
                  <a:gd name="T9" fmla="*/ 83 h 83"/>
                  <a:gd name="T10" fmla="*/ 82 w 86"/>
                  <a:gd name="T11" fmla="*/ 36 h 83"/>
                  <a:gd name="T12" fmla="*/ 36 w 86"/>
                  <a:gd name="T13" fmla="*/ 4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83">
                    <a:moveTo>
                      <a:pt x="36" y="4"/>
                    </a:moveTo>
                    <a:cubicBezTo>
                      <a:pt x="14" y="8"/>
                      <a:pt x="0" y="28"/>
                      <a:pt x="4" y="50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7" y="70"/>
                      <a:pt x="24" y="83"/>
                      <a:pt x="43" y="83"/>
                    </a:cubicBezTo>
                    <a:cubicBezTo>
                      <a:pt x="45" y="83"/>
                      <a:pt x="48" y="83"/>
                      <a:pt x="50" y="83"/>
                    </a:cubicBezTo>
                    <a:cubicBezTo>
                      <a:pt x="72" y="79"/>
                      <a:pt x="86" y="58"/>
                      <a:pt x="82" y="36"/>
                    </a:cubicBezTo>
                    <a:cubicBezTo>
                      <a:pt x="78" y="14"/>
                      <a:pt x="58" y="0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4" name="Freeform 23">
                <a:extLst>
                  <a:ext uri="{FF2B5EF4-FFF2-40B4-BE49-F238E27FC236}">
                    <a16:creationId xmlns:a16="http://schemas.microsoft.com/office/drawing/2014/main" id="{324A64D1-1CBD-4DC9-9E81-9D9A408F7F2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53738" y="1322388"/>
                <a:ext cx="1154112" cy="933450"/>
              </a:xfrm>
              <a:custGeom>
                <a:avLst/>
                <a:gdLst>
                  <a:gd name="T0" fmla="*/ 67 w 641"/>
                  <a:gd name="T1" fmla="*/ 329 h 519"/>
                  <a:gd name="T2" fmla="*/ 68 w 641"/>
                  <a:gd name="T3" fmla="*/ 330 h 519"/>
                  <a:gd name="T4" fmla="*/ 296 w 641"/>
                  <a:gd name="T5" fmla="*/ 510 h 519"/>
                  <a:gd name="T6" fmla="*/ 321 w 641"/>
                  <a:gd name="T7" fmla="*/ 519 h 519"/>
                  <a:gd name="T8" fmla="*/ 346 w 641"/>
                  <a:gd name="T9" fmla="*/ 510 h 519"/>
                  <a:gd name="T10" fmla="*/ 583 w 641"/>
                  <a:gd name="T11" fmla="*/ 321 h 519"/>
                  <a:gd name="T12" fmla="*/ 586 w 641"/>
                  <a:gd name="T13" fmla="*/ 318 h 519"/>
                  <a:gd name="T14" fmla="*/ 641 w 641"/>
                  <a:gd name="T15" fmla="*/ 186 h 519"/>
                  <a:gd name="T16" fmla="*/ 455 w 641"/>
                  <a:gd name="T17" fmla="*/ 0 h 519"/>
                  <a:gd name="T18" fmla="*/ 321 w 641"/>
                  <a:gd name="T19" fmla="*/ 58 h 519"/>
                  <a:gd name="T20" fmla="*/ 186 w 641"/>
                  <a:gd name="T21" fmla="*/ 0 h 519"/>
                  <a:gd name="T22" fmla="*/ 0 w 641"/>
                  <a:gd name="T23" fmla="*/ 186 h 519"/>
                  <a:gd name="T24" fmla="*/ 67 w 641"/>
                  <a:gd name="T25" fmla="*/ 329 h 519"/>
                  <a:gd name="T26" fmla="*/ 186 w 641"/>
                  <a:gd name="T27" fmla="*/ 80 h 519"/>
                  <a:gd name="T28" fmla="*/ 284 w 641"/>
                  <a:gd name="T29" fmla="*/ 146 h 519"/>
                  <a:gd name="T30" fmla="*/ 321 w 641"/>
                  <a:gd name="T31" fmla="*/ 170 h 519"/>
                  <a:gd name="T32" fmla="*/ 358 w 641"/>
                  <a:gd name="T33" fmla="*/ 146 h 519"/>
                  <a:gd name="T34" fmla="*/ 455 w 641"/>
                  <a:gd name="T35" fmla="*/ 80 h 519"/>
                  <a:gd name="T36" fmla="*/ 561 w 641"/>
                  <a:gd name="T37" fmla="*/ 186 h 519"/>
                  <a:gd name="T38" fmla="*/ 531 w 641"/>
                  <a:gd name="T39" fmla="*/ 260 h 519"/>
                  <a:gd name="T40" fmla="*/ 321 w 641"/>
                  <a:gd name="T41" fmla="*/ 428 h 519"/>
                  <a:gd name="T42" fmla="*/ 118 w 641"/>
                  <a:gd name="T43" fmla="*/ 267 h 519"/>
                  <a:gd name="T44" fmla="*/ 80 w 641"/>
                  <a:gd name="T45" fmla="*/ 186 h 519"/>
                  <a:gd name="T46" fmla="*/ 186 w 641"/>
                  <a:gd name="T47" fmla="*/ 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41" h="519">
                    <a:moveTo>
                      <a:pt x="67" y="329"/>
                    </a:moveTo>
                    <a:cubicBezTo>
                      <a:pt x="67" y="329"/>
                      <a:pt x="68" y="329"/>
                      <a:pt x="68" y="330"/>
                    </a:cubicBezTo>
                    <a:cubicBezTo>
                      <a:pt x="296" y="510"/>
                      <a:pt x="296" y="510"/>
                      <a:pt x="296" y="510"/>
                    </a:cubicBezTo>
                    <a:cubicBezTo>
                      <a:pt x="303" y="516"/>
                      <a:pt x="312" y="519"/>
                      <a:pt x="321" y="519"/>
                    </a:cubicBezTo>
                    <a:cubicBezTo>
                      <a:pt x="329" y="519"/>
                      <a:pt x="338" y="516"/>
                      <a:pt x="346" y="510"/>
                    </a:cubicBezTo>
                    <a:cubicBezTo>
                      <a:pt x="583" y="321"/>
                      <a:pt x="583" y="321"/>
                      <a:pt x="583" y="321"/>
                    </a:cubicBezTo>
                    <a:cubicBezTo>
                      <a:pt x="584" y="320"/>
                      <a:pt x="585" y="319"/>
                      <a:pt x="586" y="318"/>
                    </a:cubicBezTo>
                    <a:cubicBezTo>
                      <a:pt x="622" y="283"/>
                      <a:pt x="641" y="236"/>
                      <a:pt x="641" y="186"/>
                    </a:cubicBezTo>
                    <a:cubicBezTo>
                      <a:pt x="641" y="84"/>
                      <a:pt x="558" y="0"/>
                      <a:pt x="455" y="0"/>
                    </a:cubicBezTo>
                    <a:cubicBezTo>
                      <a:pt x="403" y="0"/>
                      <a:pt x="355" y="22"/>
                      <a:pt x="321" y="58"/>
                    </a:cubicBezTo>
                    <a:cubicBezTo>
                      <a:pt x="286" y="22"/>
                      <a:pt x="238" y="0"/>
                      <a:pt x="186" y="0"/>
                    </a:cubicBezTo>
                    <a:cubicBezTo>
                      <a:pt x="84" y="0"/>
                      <a:pt x="0" y="84"/>
                      <a:pt x="0" y="186"/>
                    </a:cubicBezTo>
                    <a:cubicBezTo>
                      <a:pt x="0" y="241"/>
                      <a:pt x="25" y="293"/>
                      <a:pt x="67" y="329"/>
                    </a:cubicBezTo>
                    <a:close/>
                    <a:moveTo>
                      <a:pt x="186" y="80"/>
                    </a:moveTo>
                    <a:cubicBezTo>
                      <a:pt x="229" y="80"/>
                      <a:pt x="267" y="106"/>
                      <a:pt x="284" y="146"/>
                    </a:cubicBezTo>
                    <a:cubicBezTo>
                      <a:pt x="290" y="161"/>
                      <a:pt x="304" y="170"/>
                      <a:pt x="321" y="170"/>
                    </a:cubicBezTo>
                    <a:cubicBezTo>
                      <a:pt x="337" y="170"/>
                      <a:pt x="351" y="161"/>
                      <a:pt x="358" y="146"/>
                    </a:cubicBezTo>
                    <a:cubicBezTo>
                      <a:pt x="374" y="106"/>
                      <a:pt x="412" y="80"/>
                      <a:pt x="455" y="80"/>
                    </a:cubicBezTo>
                    <a:cubicBezTo>
                      <a:pt x="514" y="80"/>
                      <a:pt x="561" y="128"/>
                      <a:pt x="561" y="186"/>
                    </a:cubicBezTo>
                    <a:cubicBezTo>
                      <a:pt x="561" y="214"/>
                      <a:pt x="551" y="240"/>
                      <a:pt x="531" y="260"/>
                    </a:cubicBezTo>
                    <a:cubicBezTo>
                      <a:pt x="321" y="428"/>
                      <a:pt x="321" y="428"/>
                      <a:pt x="321" y="428"/>
                    </a:cubicBezTo>
                    <a:cubicBezTo>
                      <a:pt x="118" y="267"/>
                      <a:pt x="118" y="267"/>
                      <a:pt x="118" y="267"/>
                    </a:cubicBezTo>
                    <a:cubicBezTo>
                      <a:pt x="94" y="247"/>
                      <a:pt x="80" y="218"/>
                      <a:pt x="80" y="186"/>
                    </a:cubicBezTo>
                    <a:cubicBezTo>
                      <a:pt x="80" y="128"/>
                      <a:pt x="128" y="80"/>
                      <a:pt x="18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5" name="Oval 24">
                <a:extLst>
                  <a:ext uri="{FF2B5EF4-FFF2-40B4-BE49-F238E27FC236}">
                    <a16:creationId xmlns:a16="http://schemas.microsoft.com/office/drawing/2014/main" id="{FDE2AE4F-84F5-4888-862C-1D1524FC2E1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583738" y="2695576"/>
                <a:ext cx="144462" cy="144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  <p:sp>
            <p:nvSpPr>
              <p:cNvPr id="1536" name="Oval 25">
                <a:extLst>
                  <a:ext uri="{FF2B5EF4-FFF2-40B4-BE49-F238E27FC236}">
                    <a16:creationId xmlns:a16="http://schemas.microsoft.com/office/drawing/2014/main" id="{3BD6F674-868C-402B-B223-4DF68AC1DDE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3125450" y="581026"/>
                <a:ext cx="144462" cy="144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900"/>
              </a:p>
            </p:txBody>
          </p:sp>
        </p:grpSp>
        <p:sp>
          <p:nvSpPr>
            <p:cNvPr id="1515" name="TextBox 16">
              <a:extLst>
                <a:ext uri="{FF2B5EF4-FFF2-40B4-BE49-F238E27FC236}">
                  <a16:creationId xmlns:a16="http://schemas.microsoft.com/office/drawing/2014/main" id="{1A8F5BD9-9338-4D87-AED0-05740927DEE6}"/>
                </a:ext>
              </a:extLst>
            </p:cNvPr>
            <p:cNvSpPr txBox="1"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9377916" y="1349249"/>
              <a:ext cx="933999" cy="137618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913542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80000" lvl="1" indent="-180000" defTabSz="91354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360000" lvl="2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540000" lvl="3" indent="-180000" defTabSz="91354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20000" lvl="4" indent="-180000" defTabSz="91354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6pPr>
              <a:lvl7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7pPr>
              <a:lvl8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8pPr>
              <a:lvl9pPr marL="765042" indent="-132820" defTabSz="91354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632" baseline="0">
                  <a:latin typeface="+mn-lt"/>
                </a:defRPr>
              </a:lvl9pPr>
            </a:lstStyle>
            <a:p>
              <a:pPr lvl="0" algn="ctr">
                <a:buClr>
                  <a:srgbClr val="B2B2B2"/>
                </a:buClr>
                <a:defRPr/>
              </a:pPr>
              <a:r>
                <a:rPr lang="en-GB" sz="400" b="1">
                  <a:solidFill>
                    <a:schemeClr val="tx2"/>
                  </a:solidFill>
                  <a:cs typeface="Calibri" panose="020F0502020204030204" pitchFamily="34" charset="0"/>
                </a:rPr>
                <a:t>HEALTHY HOUSING</a:t>
              </a:r>
              <a:endParaRPr lang="en-GB" sz="400" b="1" dirty="0">
                <a:solidFill>
                  <a:schemeClr val="tx2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537" name="Flussdiagramm: Prozess 272">
            <a:extLst>
              <a:ext uri="{FF2B5EF4-FFF2-40B4-BE49-F238E27FC236}">
                <a16:creationId xmlns:a16="http://schemas.microsoft.com/office/drawing/2014/main" id="{1087E14E-8912-444A-9FF0-6FFF15BAF3FC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466724" y="4344377"/>
            <a:ext cx="1472722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Lucida Sans Techem"/>
                <a:ea typeface="ＭＳ Ｐゴシック" pitchFamily="80" charset="-128"/>
                <a:cs typeface="Lucida Sans Unicode" pitchFamily="34" charset="0"/>
              </a:rPr>
              <a:t>EnergieKomb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ucida Sans Techem"/>
                <a:ea typeface="ＭＳ Ｐゴシック" pitchFamily="80" charset="-128"/>
                <a:cs typeface="Lucida Sans Unicode" pitchFamily="34" charset="0"/>
              </a:rPr>
              <a:t> Plus</a:t>
            </a:r>
          </a:p>
        </p:txBody>
      </p:sp>
      <p:sp>
        <p:nvSpPr>
          <p:cNvPr id="1538" name="Flussdiagramm: Prozess 272">
            <a:extLst>
              <a:ext uri="{FF2B5EF4-FFF2-40B4-BE49-F238E27FC236}">
                <a16:creationId xmlns:a16="http://schemas.microsoft.com/office/drawing/2014/main" id="{409AECD6-FB15-4036-B190-09817AF59CE5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465950" y="1769668"/>
            <a:ext cx="1951496" cy="27268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Metering, digital</a:t>
            </a:r>
            <a:br>
              <a:rPr lang="en-GB" sz="900" dirty="0">
                <a:ea typeface="ＭＳ Ｐゴシック" pitchFamily="80" charset="-128"/>
                <a:cs typeface="Lucida Sans Unicode" pitchFamily="34" charset="0"/>
              </a:rPr>
            </a:b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billing service (heating)</a:t>
            </a:r>
          </a:p>
        </p:txBody>
      </p:sp>
      <p:sp>
        <p:nvSpPr>
          <p:cNvPr id="1539" name="Flussdiagramm: Prozess 272">
            <a:extLst>
              <a:ext uri="{FF2B5EF4-FFF2-40B4-BE49-F238E27FC236}">
                <a16:creationId xmlns:a16="http://schemas.microsoft.com/office/drawing/2014/main" id="{63715EFB-FC7A-4AE3-BE99-0C2825BC2F8D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465951" y="2308101"/>
            <a:ext cx="1472722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Lucida Sans Techem"/>
                <a:ea typeface="ＭＳ Ｐゴシック" pitchFamily="80" charset="-128"/>
                <a:cs typeface="Lucida Sans Unicode" pitchFamily="34" charset="0"/>
              </a:rPr>
              <a:t>SmartHeating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1541" name="Flussdiagramm: Prozess 272">
            <a:extLst>
              <a:ext uri="{FF2B5EF4-FFF2-40B4-BE49-F238E27FC236}">
                <a16:creationId xmlns:a16="http://schemas.microsoft.com/office/drawing/2014/main" id="{3F3F9870-02CC-40DB-833A-43F3A0314170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466724" y="3667130"/>
            <a:ext cx="1472722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de-DE" sz="900" dirty="0" err="1"/>
              <a:t>Heating</a:t>
            </a:r>
            <a:r>
              <a:rPr lang="de-DE" sz="900" dirty="0"/>
              <a:t> </a:t>
            </a:r>
            <a:r>
              <a:rPr lang="de-DE" sz="900" dirty="0" err="1"/>
              <a:t>servic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1542" name="Freihandform 826">
            <a:extLst>
              <a:ext uri="{FF2B5EF4-FFF2-40B4-BE49-F238E27FC236}">
                <a16:creationId xmlns:a16="http://schemas.microsoft.com/office/drawing/2014/main" id="{561E9534-B678-4885-B83A-C3B4FB3797DA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 flipH="1" flipV="1">
            <a:off x="466724" y="4565962"/>
            <a:ext cx="2304964" cy="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800100"/>
              <a:gd name="connsiteY0" fmla="*/ 0 h 0"/>
              <a:gd name="connsiteX1" fmla="*/ 800100 w 80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noFill/>
          <a:ln w="9525">
            <a:solidFill>
              <a:schemeClr val="accent1"/>
            </a:solidFill>
            <a:headEnd type="oval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43" name="Freihandform 808">
            <a:extLst>
              <a:ext uri="{FF2B5EF4-FFF2-40B4-BE49-F238E27FC236}">
                <a16:creationId xmlns:a16="http://schemas.microsoft.com/office/drawing/2014/main" id="{D062C452-084E-4B97-BF1D-C80C5A582D5A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468314" y="2085978"/>
            <a:ext cx="1930752" cy="495439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1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44" name="Freihandform 821">
            <a:extLst>
              <a:ext uri="{FF2B5EF4-FFF2-40B4-BE49-F238E27FC236}">
                <a16:creationId xmlns:a16="http://schemas.microsoft.com/office/drawing/2014/main" id="{6D452C14-D3D1-435C-86C1-30DFF5B69922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68313" y="2524850"/>
            <a:ext cx="2032343" cy="88888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1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46" name="Freihandform 829">
            <a:extLst>
              <a:ext uri="{FF2B5EF4-FFF2-40B4-BE49-F238E27FC236}">
                <a16:creationId xmlns:a16="http://schemas.microsoft.com/office/drawing/2014/main" id="{B9B76979-F071-424F-B955-287FEC3B2E32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468313" y="3884197"/>
            <a:ext cx="2777166" cy="518717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1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grpSp>
        <p:nvGrpSpPr>
          <p:cNvPr id="1547" name="Gruppieren 1546">
            <a:extLst>
              <a:ext uri="{FF2B5EF4-FFF2-40B4-BE49-F238E27FC236}">
                <a16:creationId xmlns:a16="http://schemas.microsoft.com/office/drawing/2014/main" id="{4A8AD9ED-6376-4132-A59D-2213310AC8AA}"/>
              </a:ext>
            </a:extLst>
          </p:cNvPr>
          <p:cNvGrpSpPr/>
          <p:nvPr>
            <p:custDataLst>
              <p:tags r:id="rId35"/>
            </p:custDataLst>
          </p:nvPr>
        </p:nvGrpSpPr>
        <p:grpSpPr bwMode="gray">
          <a:xfrm flipH="1">
            <a:off x="5950996" y="3038667"/>
            <a:ext cx="2724689" cy="194105"/>
            <a:chOff x="2402680" y="2319722"/>
            <a:chExt cx="797719" cy="909637"/>
          </a:xfrm>
        </p:grpSpPr>
        <p:sp>
          <p:nvSpPr>
            <p:cNvPr id="1548" name="Freihandform 834">
              <a:extLst>
                <a:ext uri="{FF2B5EF4-FFF2-40B4-BE49-F238E27FC236}">
                  <a16:creationId xmlns:a16="http://schemas.microsoft.com/office/drawing/2014/main" id="{AB7E29D0-61D2-4C7E-8F99-8AF42A1E016F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 bwMode="gray">
            <a:xfrm>
              <a:off x="2402680" y="2319722"/>
              <a:ext cx="797719" cy="909637"/>
            </a:xfrm>
            <a:custGeom>
              <a:avLst/>
              <a:gdLst>
                <a:gd name="connsiteX0" fmla="*/ 0 w 800100"/>
                <a:gd name="connsiteY0" fmla="*/ 0 h 909637"/>
                <a:gd name="connsiteX1" fmla="*/ 800100 w 800100"/>
                <a:gd name="connsiteY1" fmla="*/ 0 h 909637"/>
                <a:gd name="connsiteX2" fmla="*/ 800100 w 800100"/>
                <a:gd name="connsiteY2" fmla="*/ 909637 h 90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0100" h="909637">
                  <a:moveTo>
                    <a:pt x="0" y="0"/>
                  </a:moveTo>
                  <a:lnTo>
                    <a:pt x="800100" y="0"/>
                  </a:lnTo>
                  <a:lnTo>
                    <a:pt x="800100" y="909637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headEnd type="none" w="sm" len="sm"/>
              <a:tailEnd type="oval" w="sm" len="sm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Lucida Sans Techem"/>
                <a:cs typeface="Calibri"/>
              </a:endParaRPr>
            </a:p>
          </p:txBody>
        </p:sp>
        <p:sp>
          <p:nvSpPr>
            <p:cNvPr id="1549" name="Freihandform 835">
              <a:extLst>
                <a:ext uri="{FF2B5EF4-FFF2-40B4-BE49-F238E27FC236}">
                  <a16:creationId xmlns:a16="http://schemas.microsoft.com/office/drawing/2014/main" id="{0456267B-F46D-4B5B-AF40-0C2F67CBEEA4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2402680" y="2319722"/>
              <a:ext cx="797719" cy="909637"/>
            </a:xfrm>
            <a:custGeom>
              <a:avLst/>
              <a:gdLst>
                <a:gd name="connsiteX0" fmla="*/ 0 w 800100"/>
                <a:gd name="connsiteY0" fmla="*/ 0 h 909637"/>
                <a:gd name="connsiteX1" fmla="*/ 800100 w 800100"/>
                <a:gd name="connsiteY1" fmla="*/ 0 h 909637"/>
                <a:gd name="connsiteX2" fmla="*/ 800100 w 800100"/>
                <a:gd name="connsiteY2" fmla="*/ 909637 h 90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0100" h="909637">
                  <a:moveTo>
                    <a:pt x="0" y="0"/>
                  </a:moveTo>
                  <a:lnTo>
                    <a:pt x="800100" y="0"/>
                  </a:lnTo>
                  <a:lnTo>
                    <a:pt x="800100" y="909637"/>
                  </a:lnTo>
                </a:path>
              </a:pathLst>
            </a:custGeom>
            <a:noFill/>
            <a:ln w="9525">
              <a:solidFill>
                <a:schemeClr val="accent1"/>
              </a:solidFill>
              <a:headEnd type="none" w="sm" len="sm"/>
              <a:tailEnd type="oval" w="sm" len="sm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Lucida Sans Techem"/>
                <a:cs typeface="Calibri"/>
              </a:endParaRPr>
            </a:p>
          </p:txBody>
        </p:sp>
      </p:grpSp>
      <p:sp>
        <p:nvSpPr>
          <p:cNvPr id="1550" name="Flussdiagramm: Prozess 272">
            <a:extLst>
              <a:ext uri="{FF2B5EF4-FFF2-40B4-BE49-F238E27FC236}">
                <a16:creationId xmlns:a16="http://schemas.microsoft.com/office/drawing/2014/main" id="{6D3490DD-D96C-4B81-81D5-8A71F3B7D95D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945706" y="2722909"/>
            <a:ext cx="1733865" cy="274381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r"/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Metering, digital</a:t>
            </a:r>
            <a:br>
              <a:rPr lang="en-GB" sz="900" dirty="0">
                <a:ea typeface="ＭＳ Ｐゴシック" pitchFamily="80" charset="-128"/>
                <a:cs typeface="Lucida Sans Unicode" pitchFamily="34" charset="0"/>
              </a:rPr>
            </a:b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billing service (water)</a:t>
            </a:r>
          </a:p>
        </p:txBody>
      </p:sp>
      <p:sp>
        <p:nvSpPr>
          <p:cNvPr id="1574" name="Flussdiagramm: Prozess 272">
            <a:extLst>
              <a:ext uri="{FF2B5EF4-FFF2-40B4-BE49-F238E27FC236}">
                <a16:creationId xmlns:a16="http://schemas.microsoft.com/office/drawing/2014/main" id="{40D45DFB-48F6-457F-A38E-B0EDAA63F6F6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7056456" y="1707654"/>
            <a:ext cx="1620000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Energy performance certificat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1575" name="Freihandform 837">
            <a:extLst>
              <a:ext uri="{FF2B5EF4-FFF2-40B4-BE49-F238E27FC236}">
                <a16:creationId xmlns:a16="http://schemas.microsoft.com/office/drawing/2014/main" id="{0AD93231-87D9-4D79-A6D6-E75FF66F0D79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 rot="10800000" flipV="1">
            <a:off x="6068260" y="1973649"/>
            <a:ext cx="2607428" cy="134302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Lucida Sans Techem"/>
              <a:cs typeface="Calibri"/>
            </a:endParaRPr>
          </a:p>
        </p:txBody>
      </p:sp>
      <p:grpSp>
        <p:nvGrpSpPr>
          <p:cNvPr id="1579" name="Gruppieren 1578">
            <a:extLst>
              <a:ext uri="{FF2B5EF4-FFF2-40B4-BE49-F238E27FC236}">
                <a16:creationId xmlns:a16="http://schemas.microsoft.com/office/drawing/2014/main" id="{8F8BC41A-24A7-494B-A3A9-0080ED22CE46}"/>
              </a:ext>
            </a:extLst>
          </p:cNvPr>
          <p:cNvGrpSpPr/>
          <p:nvPr>
            <p:custDataLst>
              <p:tags r:id="rId39"/>
            </p:custDataLst>
          </p:nvPr>
        </p:nvGrpSpPr>
        <p:grpSpPr bwMode="gray">
          <a:xfrm flipH="1">
            <a:off x="5950996" y="3038667"/>
            <a:ext cx="2724689" cy="194105"/>
            <a:chOff x="2402680" y="2319722"/>
            <a:chExt cx="797719" cy="909637"/>
          </a:xfrm>
        </p:grpSpPr>
        <p:sp>
          <p:nvSpPr>
            <p:cNvPr id="1580" name="Freihandform 834">
              <a:extLst>
                <a:ext uri="{FF2B5EF4-FFF2-40B4-BE49-F238E27FC236}">
                  <a16:creationId xmlns:a16="http://schemas.microsoft.com/office/drawing/2014/main" id="{AD5215B0-E0E4-4051-B272-5958DA1C4D50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gray">
            <a:xfrm>
              <a:off x="2402680" y="2319722"/>
              <a:ext cx="797719" cy="909637"/>
            </a:xfrm>
            <a:custGeom>
              <a:avLst/>
              <a:gdLst>
                <a:gd name="connsiteX0" fmla="*/ 0 w 800100"/>
                <a:gd name="connsiteY0" fmla="*/ 0 h 909637"/>
                <a:gd name="connsiteX1" fmla="*/ 800100 w 800100"/>
                <a:gd name="connsiteY1" fmla="*/ 0 h 909637"/>
                <a:gd name="connsiteX2" fmla="*/ 800100 w 800100"/>
                <a:gd name="connsiteY2" fmla="*/ 909637 h 90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0100" h="909637">
                  <a:moveTo>
                    <a:pt x="0" y="0"/>
                  </a:moveTo>
                  <a:lnTo>
                    <a:pt x="800100" y="0"/>
                  </a:lnTo>
                  <a:lnTo>
                    <a:pt x="800100" y="909637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headEnd type="none" w="sm" len="sm"/>
              <a:tailEnd type="oval" w="sm" len="sm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Lucida Sans Techem"/>
                <a:cs typeface="Calibri"/>
              </a:endParaRPr>
            </a:p>
          </p:txBody>
        </p:sp>
        <p:sp>
          <p:nvSpPr>
            <p:cNvPr id="1581" name="Freihandform 835">
              <a:extLst>
                <a:ext uri="{FF2B5EF4-FFF2-40B4-BE49-F238E27FC236}">
                  <a16:creationId xmlns:a16="http://schemas.microsoft.com/office/drawing/2014/main" id="{9BAEFB98-B915-4CEA-957B-9BD3D353D7AC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2402680" y="2319722"/>
              <a:ext cx="797719" cy="909637"/>
            </a:xfrm>
            <a:custGeom>
              <a:avLst/>
              <a:gdLst>
                <a:gd name="connsiteX0" fmla="*/ 0 w 800100"/>
                <a:gd name="connsiteY0" fmla="*/ 0 h 909637"/>
                <a:gd name="connsiteX1" fmla="*/ 800100 w 800100"/>
                <a:gd name="connsiteY1" fmla="*/ 0 h 909637"/>
                <a:gd name="connsiteX2" fmla="*/ 800100 w 800100"/>
                <a:gd name="connsiteY2" fmla="*/ 909637 h 90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00100" h="909637">
                  <a:moveTo>
                    <a:pt x="0" y="0"/>
                  </a:moveTo>
                  <a:lnTo>
                    <a:pt x="800100" y="0"/>
                  </a:lnTo>
                  <a:lnTo>
                    <a:pt x="800100" y="909637"/>
                  </a:lnTo>
                </a:path>
              </a:pathLst>
            </a:custGeom>
            <a:noFill/>
            <a:ln w="9525">
              <a:solidFill>
                <a:schemeClr val="accent4"/>
              </a:solidFill>
              <a:headEnd type="none" w="sm" len="sm"/>
              <a:tailEnd type="oval" w="sm" len="sm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  <a:latin typeface="Lucida Sans Techem"/>
                <a:cs typeface="Calibri"/>
              </a:endParaRPr>
            </a:p>
          </p:txBody>
        </p:sp>
      </p:grpSp>
      <p:sp>
        <p:nvSpPr>
          <p:cNvPr id="1582" name="Flussdiagramm: Prozess 272">
            <a:extLst>
              <a:ext uri="{FF2B5EF4-FFF2-40B4-BE49-F238E27FC236}">
                <a16:creationId xmlns:a16="http://schemas.microsoft.com/office/drawing/2014/main" id="{EBA8C636-C9E2-4402-9793-CE964BBD54B2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7056456" y="3305604"/>
            <a:ext cx="1620000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lvl="0" algn="r">
              <a:defRPr/>
            </a:pP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Hydraulic</a:t>
            </a:r>
            <a:br>
              <a:rPr lang="en-GB" sz="900" dirty="0">
                <a:ea typeface="ＭＳ Ｐゴシック" pitchFamily="80" charset="-128"/>
                <a:cs typeface="Lucida Sans Unicode" pitchFamily="34" charset="0"/>
              </a:rPr>
            </a:br>
            <a:r>
              <a:rPr lang="en-GB" sz="900" dirty="0">
                <a:ea typeface="ＭＳ Ｐゴシック" pitchFamily="80" charset="-128"/>
                <a:cs typeface="Lucida Sans Unicode" pitchFamily="34" charset="0"/>
              </a:rPr>
              <a:t>balancing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1583" name="Freihandform 847">
            <a:extLst>
              <a:ext uri="{FF2B5EF4-FFF2-40B4-BE49-F238E27FC236}">
                <a16:creationId xmlns:a16="http://schemas.microsoft.com/office/drawing/2014/main" id="{EA106668-5E83-4129-95C8-D486F2A7752F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 flipH="1">
            <a:off x="2577780" y="3595342"/>
            <a:ext cx="6098675" cy="776047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Lucida Sans Techem"/>
              <a:cs typeface="Calibri"/>
            </a:endParaRPr>
          </a:p>
        </p:txBody>
      </p:sp>
      <p:sp>
        <p:nvSpPr>
          <p:cNvPr id="1584" name="Flussdiagramm: Prozess 272">
            <a:extLst>
              <a:ext uri="{FF2B5EF4-FFF2-40B4-BE49-F238E27FC236}">
                <a16:creationId xmlns:a16="http://schemas.microsoft.com/office/drawing/2014/main" id="{BEAA9139-89CB-49F0-B506-6C162E5FF83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7790975" y="4037334"/>
            <a:ext cx="885481" cy="21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Lucida Sans Techem"/>
                <a:ea typeface="ＭＳ Ｐゴシック" pitchFamily="80" charset="-128"/>
                <a:cs typeface="Lucida Sans Unicode" pitchFamily="34" charset="0"/>
              </a:rPr>
              <a:t>adapterm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ucida Sans Techem"/>
              <a:ea typeface="ＭＳ Ｐゴシック" pitchFamily="80" charset="-128"/>
              <a:cs typeface="Lucida Sans Unicode" pitchFamily="34" charset="0"/>
            </a:endParaRPr>
          </a:p>
        </p:txBody>
      </p:sp>
      <p:sp>
        <p:nvSpPr>
          <p:cNvPr id="1585" name="Freihandform 860">
            <a:extLst>
              <a:ext uri="{FF2B5EF4-FFF2-40B4-BE49-F238E27FC236}">
                <a16:creationId xmlns:a16="http://schemas.microsoft.com/office/drawing/2014/main" id="{A2E12367-8F19-4738-914C-22C76B2ACC06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 flipH="1" flipV="1">
            <a:off x="2411760" y="4255382"/>
            <a:ext cx="6264000" cy="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800100"/>
              <a:gd name="connsiteY0" fmla="*/ 0 h 0"/>
              <a:gd name="connsiteX1" fmla="*/ 800100 w 80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Lucida Sans Techem"/>
              <a:cs typeface="Calibri"/>
            </a:endParaRPr>
          </a:p>
        </p:txBody>
      </p:sp>
      <p:sp>
        <p:nvSpPr>
          <p:cNvPr id="1586" name="Freihandform 808">
            <a:extLst>
              <a:ext uri="{FF2B5EF4-FFF2-40B4-BE49-F238E27FC236}">
                <a16:creationId xmlns:a16="http://schemas.microsoft.com/office/drawing/2014/main" id="{4BD54307-94EA-4640-B30C-718B719B3304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68314" y="2085978"/>
            <a:ext cx="1930752" cy="495439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87" name="Freihandform 821">
            <a:extLst>
              <a:ext uri="{FF2B5EF4-FFF2-40B4-BE49-F238E27FC236}">
                <a16:creationId xmlns:a16="http://schemas.microsoft.com/office/drawing/2014/main" id="{94FE75E4-5774-4B7C-9086-B2E122ABE950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468313" y="2524850"/>
            <a:ext cx="2032343" cy="88888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89" name="Freihandform 829">
            <a:extLst>
              <a:ext uri="{FF2B5EF4-FFF2-40B4-BE49-F238E27FC236}">
                <a16:creationId xmlns:a16="http://schemas.microsoft.com/office/drawing/2014/main" id="{555144D3-5EB9-442D-AC9A-074B8673F33B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468313" y="3884197"/>
            <a:ext cx="2777166" cy="518717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0100" h="909637">
                <a:moveTo>
                  <a:pt x="0" y="0"/>
                </a:moveTo>
                <a:lnTo>
                  <a:pt x="800100" y="0"/>
                </a:lnTo>
                <a:lnTo>
                  <a:pt x="800100" y="909637"/>
                </a:lnTo>
              </a:path>
            </a:pathLst>
          </a:custGeom>
          <a:noFill/>
          <a:ln w="9525">
            <a:solidFill>
              <a:schemeClr val="accent4"/>
            </a:solidFill>
            <a:headEnd type="none" w="sm" len="sm"/>
            <a:tailEnd type="oval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p:sp>
        <p:nvSpPr>
          <p:cNvPr id="1590" name="Freihandform 826">
            <a:extLst>
              <a:ext uri="{FF2B5EF4-FFF2-40B4-BE49-F238E27FC236}">
                <a16:creationId xmlns:a16="http://schemas.microsoft.com/office/drawing/2014/main" id="{8E54090F-92C4-412C-B0E1-C6D56DE44B2E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 flipH="1" flipV="1">
            <a:off x="466724" y="4565962"/>
            <a:ext cx="2304964" cy="0"/>
          </a:xfrm>
          <a:custGeom>
            <a:avLst/>
            <a:gdLst>
              <a:gd name="connsiteX0" fmla="*/ 0 w 800100"/>
              <a:gd name="connsiteY0" fmla="*/ 0 h 909637"/>
              <a:gd name="connsiteX1" fmla="*/ 800100 w 800100"/>
              <a:gd name="connsiteY1" fmla="*/ 0 h 909637"/>
              <a:gd name="connsiteX2" fmla="*/ 800100 w 800100"/>
              <a:gd name="connsiteY2" fmla="*/ 909637 h 909637"/>
              <a:gd name="connsiteX0" fmla="*/ 0 w 800100"/>
              <a:gd name="connsiteY0" fmla="*/ 0 h 0"/>
              <a:gd name="connsiteX1" fmla="*/ 800100 w 80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00100">
                <a:moveTo>
                  <a:pt x="0" y="0"/>
                </a:moveTo>
                <a:lnTo>
                  <a:pt x="800100" y="0"/>
                </a:lnTo>
              </a:path>
            </a:pathLst>
          </a:custGeom>
          <a:noFill/>
          <a:ln w="9525">
            <a:solidFill>
              <a:schemeClr val="accent4"/>
            </a:solidFill>
            <a:headEnd type="oval" w="sm" len="sm"/>
            <a:tailEnd type="none" w="sm" len="sm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  <a:latin typeface="Lucida Sans Techem"/>
              <a:cs typeface="Calibri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591" name="Slide Zoom 21">
                <a:extLst>
                  <a:ext uri="{FF2B5EF4-FFF2-40B4-BE49-F238E27FC236}">
                    <a16:creationId xmlns:a16="http://schemas.microsoft.com/office/drawing/2014/main" id="{E56D967E-64B6-421E-BF13-D18BB4FE1DCB}"/>
                  </a:ext>
                </a:extLst>
              </p:cNvPr>
              <p:cNvGraphicFramePr>
                <a:graphicFrameLocks noChangeAspect="1"/>
              </p:cNvGraphicFramePr>
              <p:nvPr>
                <p:custDataLst>
                  <p:tags r:id="rId48"/>
                </p:custDataLst>
                <p:extLst>
                  <p:ext uri="{D42A27DB-BD31-4B8C-83A1-F6EECF244321}">
                    <p14:modId xmlns:p14="http://schemas.microsoft.com/office/powerpoint/2010/main" val="3726578472"/>
                  </p:ext>
                </p:extLst>
              </p:nvPr>
            </p:nvGraphicFramePr>
            <p:xfrm>
              <a:off x="6890980" y="4349391"/>
              <a:ext cx="1216322" cy="684352"/>
            </p:xfrm>
            <a:graphic>
              <a:graphicData uri="http://schemas.microsoft.com/office/powerpoint/2016/slidezoom">
                <pslz:sldZm>
                  <pslz:sldZmObj sldId="5222" cId="1534836652">
                    <pslz:zmPr id="{A4458E6A-C2D0-4964-A5A6-63F6AD8F0BFA}" returnToParent="0" imageType="cover" transitionDur="1500">
                      <p166:blipFill xmlns:p166="http://schemas.microsoft.com/office/powerpoint/2016/6/main">
                        <a:blip r:embed="rId112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1216322" cy="684352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591" name="Slide Zoom 21">
                <a:hlinkClick r:id="rId118" action="ppaction://hlinksldjump"/>
                <a:extLst>
                  <a:ext uri="{FF2B5EF4-FFF2-40B4-BE49-F238E27FC236}">
                    <a16:creationId xmlns:a16="http://schemas.microsoft.com/office/drawing/2014/main" id="{E56D967E-64B6-421E-BF13-D18BB4FE1D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0980" y="4349391"/>
                <a:ext cx="1216322" cy="684352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32B4B8-F810-4A38-9B4C-5847A8EFFE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71840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7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7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2" decel="7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decel="72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7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750"/>
                            </p:stCondLst>
                            <p:childTnLst>
                              <p:par>
                                <p:cTn id="4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250"/>
                            </p:stCondLst>
                            <p:childTnLst>
                              <p:par>
                                <p:cTn id="5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14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5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250"/>
                            </p:stCondLst>
                            <p:childTnLst>
                              <p:par>
                                <p:cTn id="7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1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75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250"/>
                            </p:stCondLst>
                            <p:childTnLst>
                              <p:par>
                                <p:cTn id="8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1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75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3250"/>
                            </p:stCondLst>
                            <p:childTnLst>
                              <p:par>
                                <p:cTn id="9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1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375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4250"/>
                            </p:stCondLst>
                            <p:childTnLst>
                              <p:par>
                                <p:cTn id="10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500"/>
                                        <p:tgtEl>
                                          <p:spTgt spid="1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4750"/>
                            </p:stCondLst>
                            <p:childTnLst>
                              <p:par>
                                <p:cTn id="10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5" dur="500"/>
                                        <p:tgtEl>
                                          <p:spTgt spid="14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4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750"/>
                            </p:stCondLst>
                            <p:childTnLst>
                              <p:par>
                                <p:cTn id="12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6" dur="500"/>
                                        <p:tgtEl>
                                          <p:spTgt spid="1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1250"/>
                            </p:stCondLst>
                            <p:childTnLst>
                              <p:par>
                                <p:cTn id="1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1750"/>
                            </p:stCondLst>
                            <p:childTnLst>
                              <p:par>
                                <p:cTn id="13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4" dur="500"/>
                                        <p:tgtEl>
                                          <p:spTgt spid="1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2250"/>
                            </p:stCondLst>
                            <p:childTnLst>
                              <p:par>
                                <p:cTn id="1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8" dur="500"/>
                                        <p:tgtEl>
                                          <p:spTgt spid="1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275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3250"/>
                            </p:stCondLst>
                            <p:childTnLst>
                              <p:par>
                                <p:cTn id="14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6" dur="500"/>
                                        <p:tgtEl>
                                          <p:spTgt spid="1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3750"/>
                            </p:stCondLst>
                            <p:childTnLst>
                              <p:par>
                                <p:cTn id="1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3" dur="500"/>
                                        <p:tgtEl>
                                          <p:spTgt spid="1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4250"/>
                            </p:stCondLst>
                            <p:childTnLst>
                              <p:par>
                                <p:cTn id="1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7" dur="500"/>
                                        <p:tgtEl>
                                          <p:spTgt spid="15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4750"/>
                            </p:stCondLst>
                            <p:childTnLst>
                              <p:par>
                                <p:cTn id="1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1" dur="500"/>
                                        <p:tgtEl>
                                          <p:spTgt spid="1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5250"/>
                            </p:stCondLst>
                            <p:childTnLst>
                              <p:par>
                                <p:cTn id="1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5" dur="500"/>
                                        <p:tgtEl>
                                          <p:spTgt spid="1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6" grpId="0"/>
      <p:bldP spid="767" grpId="0"/>
      <p:bldP spid="1507" grpId="0"/>
      <p:bldP spid="1508" grpId="0"/>
      <p:bldP spid="1509" grpId="0" animBg="1"/>
      <p:bldP spid="1510" grpId="0" animBg="1"/>
      <p:bldP spid="1511" grpId="0" animBg="1"/>
      <p:bldP spid="1512" grpId="0" animBg="1"/>
      <p:bldP spid="1537" grpId="0"/>
      <p:bldP spid="1538" grpId="0"/>
      <p:bldP spid="1539" grpId="0"/>
      <p:bldP spid="1541" grpId="0"/>
      <p:bldP spid="1542" grpId="0" animBg="1"/>
      <p:bldP spid="1543" grpId="0" animBg="1"/>
      <p:bldP spid="1544" grpId="0" animBg="1"/>
      <p:bldP spid="1546" grpId="0" animBg="1"/>
      <p:bldP spid="1550" grpId="0"/>
      <p:bldP spid="1574" grpId="0"/>
      <p:bldP spid="1575" grpId="0" animBg="1"/>
      <p:bldP spid="1582" grpId="0"/>
      <p:bldP spid="1583" grpId="0" animBg="1"/>
      <p:bldP spid="1584" grpId="0"/>
      <p:bldP spid="1585" grpId="0" animBg="1"/>
      <p:bldP spid="1586" grpId="0" animBg="1"/>
      <p:bldP spid="1587" grpId="0" animBg="1"/>
      <p:bldP spid="1589" grpId="0" animBg="1"/>
      <p:bldP spid="159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Picture 140">
            <a:extLst>
              <a:ext uri="{FF2B5EF4-FFF2-40B4-BE49-F238E27FC236}">
                <a16:creationId xmlns:a16="http://schemas.microsoft.com/office/drawing/2014/main" id="{FC0E22DC-40AC-48F3-BC98-DA3BB23D0B7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" t="6847" b="10723"/>
          <a:stretch/>
        </p:blipFill>
        <p:spPr bwMode="gray">
          <a:xfrm flipH="1">
            <a:off x="0" y="-5169840"/>
            <a:ext cx="9177866" cy="5284574"/>
          </a:xfrm>
          <a:prstGeom prst="rect">
            <a:avLst/>
          </a:prstGeom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3F87499E-D530-4B11-B6CF-0BCE8CF8F6F6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 rot="5400000">
            <a:off x="1946646" y="-7116486"/>
            <a:ext cx="5284574" cy="9177866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B03D4FF1-577E-4428-A70F-AC36C800C80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30976" y="-4614314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>
                <a:solidFill>
                  <a:schemeClr val="tx1"/>
                </a:solidFill>
              </a:rPr>
              <a:t>THE BENEFITS</a:t>
            </a:r>
            <a:endParaRPr lang="en-GB" sz="3200" b="1" dirty="0">
              <a:solidFill>
                <a:schemeClr val="tx1"/>
              </a:solidFill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8176D9FD-5306-4FB5-A761-097BBEE8F5F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4315" y="-403825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tx1"/>
                </a:solidFill>
              </a:rPr>
              <a:t>of this approach</a:t>
            </a:r>
            <a:endParaRPr lang="en-GB" sz="1800" dirty="0">
              <a:solidFill>
                <a:schemeClr val="tx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907D03E-5ED8-4FCF-A2DF-79BCFFD8794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51" t="-11" r="36524" b="54118"/>
          <a:stretch/>
        </p:blipFill>
        <p:spPr bwMode="gray">
          <a:xfrm>
            <a:off x="-16933" y="-9525"/>
            <a:ext cx="9177866" cy="5162550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FA09B9ED-66DA-4BA1-A18C-EF5FDAAB3249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0" y="-29468"/>
            <a:ext cx="9144000" cy="5182493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CE9C71E8-65B2-44E3-A793-771FCD2D0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6A58E93E-D387-493E-A751-F532DE031F41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>
                <a:solidFill>
                  <a:schemeClr val="bg1"/>
                </a:solidFill>
              </a:rPr>
              <a:t>02 Techem’s holistic approach</a:t>
            </a:r>
            <a:endParaRPr lang="en-GB" sz="1050" kern="600" dirty="0">
              <a:solidFill>
                <a:schemeClr val="bg1"/>
              </a:solidFill>
            </a:endParaRP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1B4C4A5F-857F-400F-BF82-DF564A67A2E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30976" y="555526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HE POTENTIAL FOR SUCCESS</a:t>
            </a:r>
            <a:endParaRPr lang="en-GB" sz="32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" name="Rectangle 21">
            <a:extLst>
              <a:ext uri="{FF2B5EF4-FFF2-40B4-BE49-F238E27FC236}">
                <a16:creationId xmlns:a16="http://schemas.microsoft.com/office/drawing/2014/main" id="{D1A43285-DA0F-4FC5-BD19-7D675064B9C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45265" y="113159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bg1"/>
                </a:solidFill>
              </a:rPr>
              <a:t>of the approach</a:t>
            </a:r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7D126C8-D161-4655-B539-345F0ACD5027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468000" y="2342283"/>
            <a:ext cx="1331999" cy="1741635"/>
            <a:chOff x="468000" y="2342283"/>
            <a:chExt cx="1331999" cy="1741635"/>
          </a:xfrm>
        </p:grpSpPr>
        <p:sp>
          <p:nvSpPr>
            <p:cNvPr id="97" name="Rectangle 23">
              <a:extLst>
                <a:ext uri="{FF2B5EF4-FFF2-40B4-BE49-F238E27FC236}">
                  <a16:creationId xmlns:a16="http://schemas.microsoft.com/office/drawing/2014/main" id="{4C03B309-D0DE-4A93-97A5-B016D032C272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468000" y="2342283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chemeClr val="bg1"/>
                  </a:solidFill>
                </a:rPr>
                <a:t>Reducing average </a:t>
              </a:r>
              <a:r>
                <a:rPr lang="en-GB" sz="1100" b="1">
                  <a:solidFill>
                    <a:schemeClr val="bg1"/>
                  </a:solidFill>
                </a:rPr>
                <a:t>ENERGY CONSUMPTION </a:t>
              </a:r>
              <a:r>
                <a:rPr lang="en-GB" sz="1100">
                  <a:solidFill>
                    <a:schemeClr val="bg1"/>
                  </a:solidFill>
                </a:rPr>
                <a:t>and beyond by consumption-based billing</a:t>
              </a:r>
              <a:endParaRPr lang="en-GB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103" name="Gerader Verbinder 68">
              <a:extLst>
                <a:ext uri="{FF2B5EF4-FFF2-40B4-BE49-F238E27FC236}">
                  <a16:creationId xmlns:a16="http://schemas.microsoft.com/office/drawing/2014/main" id="{DFC7257B-7580-4BE2-8F1E-1098F6D1DBA5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 bwMode="gray">
            <a:xfrm>
              <a:off x="1134000" y="3579862"/>
              <a:ext cx="0" cy="504056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23024BF-03C8-44CC-9ABD-D0391838469E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1843291" y="1995686"/>
            <a:ext cx="1331999" cy="2088232"/>
            <a:chOff x="1843291" y="1995686"/>
            <a:chExt cx="1331999" cy="2088232"/>
          </a:xfrm>
        </p:grpSpPr>
        <p:sp>
          <p:nvSpPr>
            <p:cNvPr id="98" name="Rectangle 23">
              <a:extLst>
                <a:ext uri="{FF2B5EF4-FFF2-40B4-BE49-F238E27FC236}">
                  <a16:creationId xmlns:a16="http://schemas.microsoft.com/office/drawing/2014/main" id="{E21C4718-E7A2-4F0B-A0E4-4CE29EA5B724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1843291" y="1995686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US" sz="11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round 7 MILLION TONS annual avoidance in CO</a:t>
              </a:r>
              <a:r>
                <a:rPr lang="en-US" sz="1100" baseline="-250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2</a:t>
              </a:r>
              <a:r>
                <a:rPr lang="en-US" sz="11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 emissions globally (for landlords and tenants)</a:t>
              </a:r>
            </a:p>
          </p:txBody>
        </p:sp>
        <p:cxnSp>
          <p:nvCxnSpPr>
            <p:cNvPr id="104" name="Gerader Verbinder 68">
              <a:extLst>
                <a:ext uri="{FF2B5EF4-FFF2-40B4-BE49-F238E27FC236}">
                  <a16:creationId xmlns:a16="http://schemas.microsoft.com/office/drawing/2014/main" id="{6A938271-646B-4DE6-ADCC-AEE9F12523EE}"/>
                </a:ext>
              </a:extLst>
            </p:cNvPr>
            <p:cNvCxnSpPr>
              <a:cxnSpLocks/>
            </p:cNvCxnSpPr>
            <p:nvPr>
              <p:custDataLst>
                <p:tags r:id="rId28"/>
              </p:custDataLst>
            </p:nvPr>
          </p:nvCxnSpPr>
          <p:spPr bwMode="gray">
            <a:xfrm>
              <a:off x="2509290" y="3206501"/>
              <a:ext cx="0" cy="877417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C2A2C11-7848-45BE-B6EE-705CFF1C4180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3218583" y="2169989"/>
            <a:ext cx="1331999" cy="1913929"/>
            <a:chOff x="3218583" y="2169989"/>
            <a:chExt cx="1331999" cy="1913929"/>
          </a:xfrm>
        </p:grpSpPr>
        <p:sp>
          <p:nvSpPr>
            <p:cNvPr id="99" name="Rectangle 23">
              <a:extLst>
                <a:ext uri="{FF2B5EF4-FFF2-40B4-BE49-F238E27FC236}">
                  <a16:creationId xmlns:a16="http://schemas.microsoft.com/office/drawing/2014/main" id="{83340B7D-14CC-497C-9E77-4AF395D60866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3218583" y="2169989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lvl="0" algn="ctr"/>
              <a:r>
                <a:rPr lang="en-GB" sz="11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 further </a:t>
              </a:r>
              <a:r>
                <a:rPr lang="en-GB" sz="1100" b="1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15 %</a:t>
              </a:r>
              <a:br>
                <a:rPr lang="en-GB" sz="1100" b="1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</a:br>
              <a:r>
                <a:rPr lang="en-GB" sz="1100" b="1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REDUCTION IN CONSUMPTION via</a:t>
              </a:r>
              <a:r>
                <a:rPr lang="en-GB" sz="11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 integrated measures in heating systems</a:t>
              </a:r>
              <a:endParaRPr lang="en-GB" sz="1100" b="1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05" name="Gerader Verbinder 68">
              <a:extLst>
                <a:ext uri="{FF2B5EF4-FFF2-40B4-BE49-F238E27FC236}">
                  <a16:creationId xmlns:a16="http://schemas.microsoft.com/office/drawing/2014/main" id="{DCC9287C-879F-4A6A-8343-F3CB4BD6EFC4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3884583" y="3400747"/>
              <a:ext cx="0" cy="683171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2512EAE-319E-441C-A82F-59FB7FFF1731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4593873" y="1496343"/>
            <a:ext cx="1331999" cy="2587575"/>
            <a:chOff x="4593873" y="1496343"/>
            <a:chExt cx="1331999" cy="2587575"/>
          </a:xfrm>
        </p:grpSpPr>
        <p:sp>
          <p:nvSpPr>
            <p:cNvPr id="100" name="Rectangle 23">
              <a:extLst>
                <a:ext uri="{FF2B5EF4-FFF2-40B4-BE49-F238E27FC236}">
                  <a16:creationId xmlns:a16="http://schemas.microsoft.com/office/drawing/2014/main" id="{80F99871-09D0-4492-8CB4-B5F591DE73D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4593873" y="1496343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Up to </a:t>
              </a:r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€1.5BN IN SAVINGS 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for petroleum, oil and district heating</a:t>
              </a:r>
              <a:endParaRPr lang="en-GB" sz="1100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06" name="Gerader Verbinder 68">
              <a:extLst>
                <a:ext uri="{FF2B5EF4-FFF2-40B4-BE49-F238E27FC236}">
                  <a16:creationId xmlns:a16="http://schemas.microsoft.com/office/drawing/2014/main" id="{5164B2B4-36F8-49FD-83AA-3524199629DE}"/>
                </a:ext>
              </a:extLst>
            </p:cNvPr>
            <p:cNvCxnSpPr>
              <a:cxnSpLocks/>
            </p:cNvCxnSpPr>
            <p:nvPr>
              <p:custDataLst>
                <p:tags r:id="rId24"/>
              </p:custDataLst>
            </p:nvPr>
          </p:nvCxnSpPr>
          <p:spPr bwMode="gray">
            <a:xfrm>
              <a:off x="5259873" y="2709658"/>
              <a:ext cx="0" cy="137426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1A2736C-DE19-4620-8FC2-DCBDAD310537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5969164" y="2169654"/>
            <a:ext cx="1331999" cy="1914264"/>
            <a:chOff x="5969164" y="2169654"/>
            <a:chExt cx="1331999" cy="1914264"/>
          </a:xfrm>
        </p:grpSpPr>
        <p:sp>
          <p:nvSpPr>
            <p:cNvPr id="101" name="Rectangle 23">
              <a:extLst>
                <a:ext uri="{FF2B5EF4-FFF2-40B4-BE49-F238E27FC236}">
                  <a16:creationId xmlns:a16="http://schemas.microsoft.com/office/drawing/2014/main" id="{E9DE8216-7AA5-4FD3-BAE2-BD8889486E51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69164" y="2169654"/>
              <a:ext cx="1331999" cy="6605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OVER 700,000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 water samples taken</a:t>
              </a:r>
              <a:endParaRPr lang="en-GB" sz="1100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07" name="Gerader Verbinder 68">
              <a:extLst>
                <a:ext uri="{FF2B5EF4-FFF2-40B4-BE49-F238E27FC236}">
                  <a16:creationId xmlns:a16="http://schemas.microsoft.com/office/drawing/2014/main" id="{76F2EAA1-49E7-47D7-9F24-54AEF1AB83EB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 bwMode="gray">
            <a:xfrm>
              <a:off x="6635163" y="2902744"/>
              <a:ext cx="0" cy="1181174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E043608-29C7-45F1-9698-D3D0C67FB125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7344457" y="2000399"/>
            <a:ext cx="1331999" cy="2083519"/>
            <a:chOff x="7344457" y="2000399"/>
            <a:chExt cx="1331999" cy="2083519"/>
          </a:xfrm>
        </p:grpSpPr>
        <p:sp>
          <p:nvSpPr>
            <p:cNvPr id="102" name="Rectangle 23">
              <a:extLst>
                <a:ext uri="{FF2B5EF4-FFF2-40B4-BE49-F238E27FC236}">
                  <a16:creationId xmlns:a16="http://schemas.microsoft.com/office/drawing/2014/main" id="{C9799956-099D-427B-AB5F-5A96230DE90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7344457" y="2000399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 b="1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88 % OF THE 6.8M </a:t>
              </a:r>
              <a:r>
                <a:rPr lang="en-GB" sz="1100" dirty="0">
                  <a:solidFill>
                    <a:srgbClr val="FFFFFF"/>
                  </a:solidFill>
                  <a:latin typeface="Lucida Sans Techem" panose="020B0602040502020204" pitchFamily="34" charset="0"/>
                </a:rPr>
                <a:t>smoke detectors can be inspected remotely</a:t>
              </a:r>
            </a:p>
          </p:txBody>
        </p:sp>
        <p:cxnSp>
          <p:nvCxnSpPr>
            <p:cNvPr id="109" name="Gerader Verbinder 68">
              <a:extLst>
                <a:ext uri="{FF2B5EF4-FFF2-40B4-BE49-F238E27FC236}">
                  <a16:creationId xmlns:a16="http://schemas.microsoft.com/office/drawing/2014/main" id="{1112AE6B-332A-4418-8AFA-3FC2B5F6525E}"/>
                </a:ext>
              </a:extLst>
            </p:cNvPr>
            <p:cNvCxnSpPr>
              <a:cxnSpLocks/>
            </p:cNvCxnSpPr>
            <p:nvPr>
              <p:custDataLst>
                <p:tags r:id="rId20"/>
              </p:custDataLst>
            </p:nvPr>
          </p:nvCxnSpPr>
          <p:spPr bwMode="gray">
            <a:xfrm>
              <a:off x="8010457" y="3228975"/>
              <a:ext cx="0" cy="854943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70CD349-7F4F-46CA-9764-92630B1FCDD5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111" name="Rechteck 12">
              <a:extLst>
                <a:ext uri="{FF2B5EF4-FFF2-40B4-BE49-F238E27FC236}">
                  <a16:creationId xmlns:a16="http://schemas.microsoft.com/office/drawing/2014/main" id="{203E32CA-93B6-4984-BD5D-F5CF5F05AE78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36A6448B-1DCD-4BEE-A742-5B04C60A0B5B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113" name="Rectangle 5">
                <a:extLst>
                  <a:ext uri="{FF2B5EF4-FFF2-40B4-BE49-F238E27FC236}">
                    <a16:creationId xmlns:a16="http://schemas.microsoft.com/office/drawing/2014/main" id="{4C6B3202-4443-4F82-BD9C-5260F0FC6844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149476C3-F38E-4605-9284-A4E477D4A8B1}"/>
                  </a:ext>
                </a:extLst>
              </p:cNvPr>
              <p:cNvGrpSpPr/>
              <p:nvPr userDrawn="1">
                <p:custDataLst>
                  <p:tags r:id="rId1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115" name="Freeform 6">
                  <a:extLst>
                    <a:ext uri="{FF2B5EF4-FFF2-40B4-BE49-F238E27FC236}">
                      <a16:creationId xmlns:a16="http://schemas.microsoft.com/office/drawing/2014/main" id="{6970A8FE-F10B-43FB-B222-DCFC3F326E9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6" name="Freeform 7">
                  <a:extLst>
                    <a:ext uri="{FF2B5EF4-FFF2-40B4-BE49-F238E27FC236}">
                      <a16:creationId xmlns:a16="http://schemas.microsoft.com/office/drawing/2014/main" id="{5AFB7987-9D60-4371-A479-C72051C6518A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Freeform 8">
                  <a:extLst>
                    <a:ext uri="{FF2B5EF4-FFF2-40B4-BE49-F238E27FC236}">
                      <a16:creationId xmlns:a16="http://schemas.microsoft.com/office/drawing/2014/main" id="{814EA70F-01A7-4370-A33E-5EB7C14EB5A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9">
                  <a:extLst>
                    <a:ext uri="{FF2B5EF4-FFF2-40B4-BE49-F238E27FC236}">
                      <a16:creationId xmlns:a16="http://schemas.microsoft.com/office/drawing/2014/main" id="{9C643D98-527E-4952-9D3C-8E29321A5B1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10">
                  <a:extLst>
                    <a:ext uri="{FF2B5EF4-FFF2-40B4-BE49-F238E27FC236}">
                      <a16:creationId xmlns:a16="http://schemas.microsoft.com/office/drawing/2014/main" id="{D3DEC391-CC75-401E-802A-C3549EB82424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1">
                  <a:extLst>
                    <a:ext uri="{FF2B5EF4-FFF2-40B4-BE49-F238E27FC236}">
                      <a16:creationId xmlns:a16="http://schemas.microsoft.com/office/drawing/2014/main" id="{5B664FBB-4021-44DB-A940-266A54669B4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12">
                  <a:extLst>
                    <a:ext uri="{FF2B5EF4-FFF2-40B4-BE49-F238E27FC236}">
                      <a16:creationId xmlns:a16="http://schemas.microsoft.com/office/drawing/2014/main" id="{D72B5765-C76E-4C8A-8882-4EB7DAC9EE7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2" name="Freeform 13">
                  <a:extLst>
                    <a:ext uri="{FF2B5EF4-FFF2-40B4-BE49-F238E27FC236}">
                      <a16:creationId xmlns:a16="http://schemas.microsoft.com/office/drawing/2014/main" id="{502835DF-6C3F-4468-AFB1-CE4B0D86774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E7FF9F4-972E-40CC-AB47-A01FEA781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4836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082D867-672C-4B14-A96B-070001DB00C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" t="6847" b="10723"/>
          <a:stretch/>
        </p:blipFill>
        <p:spPr bwMode="gray">
          <a:xfrm flipH="1">
            <a:off x="0" y="0"/>
            <a:ext cx="9177866" cy="5284574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CB2792CC-B232-4575-9ED2-FB058ABAD6D4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 rot="5400000">
            <a:off x="1946646" y="-1946646"/>
            <a:ext cx="5284574" cy="9177866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D6E6971-4E50-4F90-B637-9F25DEDDABD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30976" y="555526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>
                <a:solidFill>
                  <a:schemeClr val="tx1"/>
                </a:solidFill>
              </a:rPr>
              <a:t>THE BENEFITS</a:t>
            </a:r>
            <a:endParaRPr lang="en-GB" sz="3200" b="1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2F582C1-60C3-4007-A29E-6E7983D7C6BB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4315" y="113159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tx1"/>
                </a:solidFill>
              </a:rPr>
              <a:t>of this approach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23" name="Fußzeilenplatzhalter 11">
            <a:extLst>
              <a:ext uri="{FF2B5EF4-FFF2-40B4-BE49-F238E27FC236}">
                <a16:creationId xmlns:a16="http://schemas.microsoft.com/office/drawing/2014/main" id="{6800E1BA-7563-4959-92DF-D3B260E1CB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47" name="Rectangle 23">
            <a:extLst>
              <a:ext uri="{FF2B5EF4-FFF2-40B4-BE49-F238E27FC236}">
                <a16:creationId xmlns:a16="http://schemas.microsoft.com/office/drawing/2014/main" id="{C25B9F97-C690-4812-8606-136C75CC88A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173422" y="1971551"/>
            <a:ext cx="4118658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PROPERTY OWNERS 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peace of mind, legal certainty and value retention</a:t>
            </a:r>
          </a:p>
        </p:txBody>
      </p:sp>
      <p:sp>
        <p:nvSpPr>
          <p:cNvPr id="48" name="Rectangle 68">
            <a:extLst>
              <a:ext uri="{FF2B5EF4-FFF2-40B4-BE49-F238E27FC236}">
                <a16:creationId xmlns:a16="http://schemas.microsoft.com/office/drawing/2014/main" id="{39EAA2CC-1D05-4B03-9CED-0238AF77F29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86202" y="2779746"/>
            <a:ext cx="4095960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SOCIETY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affordable climate protection, sustainability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49" name="Rectangle 87">
            <a:extLst>
              <a:ext uri="{FF2B5EF4-FFF2-40B4-BE49-F238E27FC236}">
                <a16:creationId xmlns:a16="http://schemas.microsoft.com/office/drawing/2014/main" id="{CD04C855-A405-46BB-BCC7-D2E3FBD3E1AF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88745" y="3587941"/>
            <a:ext cx="4091446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RESIDENTS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energy cost reduction, comfort and security</a:t>
            </a:r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AF0E0A6-F7E6-4CF5-B6F8-E82A108CE325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468297" y="1923678"/>
            <a:ext cx="504000" cy="504000"/>
            <a:chOff x="2120614" y="2571750"/>
            <a:chExt cx="504000" cy="504000"/>
          </a:xfrm>
        </p:grpSpPr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B617D1DE-D474-4D52-BF1D-741DBE1284C7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2120614" y="257175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4" name="Grafik 83">
              <a:extLst>
                <a:ext uri="{FF2B5EF4-FFF2-40B4-BE49-F238E27FC236}">
                  <a16:creationId xmlns:a16="http://schemas.microsoft.com/office/drawing/2014/main" id="{1EE700B1-648D-4728-8C6A-FFE7BE4AD563}"/>
                </a:ext>
              </a:extLst>
            </p:cNvPr>
            <p:cNvPicPr>
              <a:picLocks noChangeAspect="1"/>
            </p:cNvPicPr>
            <p:nvPr>
              <p:custDataLst>
                <p:tags r:id="rId42"/>
              </p:custDataLst>
            </p:nvPr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 bwMode="gray">
            <a:xfrm>
              <a:off x="2204718" y="2655854"/>
              <a:ext cx="335793" cy="335793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61079CE-6867-40F4-8594-622B40960CE9}"/>
              </a:ext>
            </a:extLst>
          </p:cNvPr>
          <p:cNvGrpSpPr/>
          <p:nvPr>
            <p:custDataLst>
              <p:tags r:id="rId9"/>
            </p:custDataLst>
          </p:nvPr>
        </p:nvGrpSpPr>
        <p:grpSpPr bwMode="gray">
          <a:xfrm>
            <a:off x="468297" y="2731873"/>
            <a:ext cx="504000" cy="504000"/>
            <a:chOff x="1835696" y="2947897"/>
            <a:chExt cx="504000" cy="504000"/>
          </a:xfrm>
        </p:grpSpPr>
        <p:sp>
          <p:nvSpPr>
            <p:cNvPr id="71" name="Rectangle 106">
              <a:extLst>
                <a:ext uri="{FF2B5EF4-FFF2-40B4-BE49-F238E27FC236}">
                  <a16:creationId xmlns:a16="http://schemas.microsoft.com/office/drawing/2014/main" id="{3E74E79E-A5D1-4D94-8B10-A560F6727F6B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gray">
            <a:xfrm>
              <a:off x="1835696" y="2947897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C1426183-2009-4124-9689-97673632D062}"/>
                </a:ext>
              </a:extLst>
            </p:cNvPr>
            <p:cNvPicPr>
              <a:picLocks noChangeAspect="1"/>
            </p:cNvPicPr>
            <p:nvPr>
              <p:custDataLst>
                <p:tags r:id="rId40"/>
              </p:custDataLst>
            </p:nvPr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9"/>
                </a:ext>
              </a:extLst>
            </a:blip>
            <a:stretch>
              <a:fillRect/>
            </a:stretch>
          </p:blipFill>
          <p:spPr bwMode="gray">
            <a:xfrm>
              <a:off x="1904377" y="3016578"/>
              <a:ext cx="366638" cy="366638"/>
            </a:xfrm>
            <a:prstGeom prst="rect">
              <a:avLst/>
            </a:prstGeom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9ED2CF1-BEBD-4A88-BA18-4791D7C5BE2C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468297" y="3540068"/>
            <a:ext cx="504000" cy="504000"/>
            <a:chOff x="1835696" y="3756092"/>
            <a:chExt cx="504000" cy="504000"/>
          </a:xfrm>
        </p:grpSpPr>
        <p:sp>
          <p:nvSpPr>
            <p:cNvPr id="76" name="Rectangle 107">
              <a:extLst>
                <a:ext uri="{FF2B5EF4-FFF2-40B4-BE49-F238E27FC236}">
                  <a16:creationId xmlns:a16="http://schemas.microsoft.com/office/drawing/2014/main" id="{37969E73-B18E-44AE-9703-56BE54907D4D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gray">
            <a:xfrm>
              <a:off x="1835696" y="3756092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82" name="Grafik 81">
              <a:extLst>
                <a:ext uri="{FF2B5EF4-FFF2-40B4-BE49-F238E27FC236}">
                  <a16:creationId xmlns:a16="http://schemas.microsoft.com/office/drawing/2014/main" id="{A908E073-3A84-4941-983D-ED98576ED41B}"/>
                </a:ext>
              </a:extLst>
            </p:cNvPr>
            <p:cNvPicPr>
              <a:picLocks noChangeAspect="1"/>
            </p:cNvPicPr>
            <p:nvPr>
              <p:custDataLst>
                <p:tags r:id="rId38"/>
              </p:custDataLst>
            </p:nvPr>
          </p:nvPicPr>
          <p:blipFill>
            <a:blip r:embed="rId5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1"/>
                </a:ext>
              </a:extLst>
            </a:blip>
            <a:stretch>
              <a:fillRect/>
            </a:stretch>
          </p:blipFill>
          <p:spPr bwMode="gray">
            <a:xfrm>
              <a:off x="1900949" y="3821345"/>
              <a:ext cx="373494" cy="373494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6DFDE59-747E-4788-90E2-D32C81BA993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54" name="Rechteck 12">
              <a:extLst>
                <a:ext uri="{FF2B5EF4-FFF2-40B4-BE49-F238E27FC236}">
                  <a16:creationId xmlns:a16="http://schemas.microsoft.com/office/drawing/2014/main" id="{425E8997-F9AA-491E-91FF-8F11537F82D8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61D19A54-3F00-4C4A-9B95-AE56178B91CE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56" name="Rectangle 5">
                <a:extLst>
                  <a:ext uri="{FF2B5EF4-FFF2-40B4-BE49-F238E27FC236}">
                    <a16:creationId xmlns:a16="http://schemas.microsoft.com/office/drawing/2014/main" id="{C14776E1-D744-4E29-AA8B-2868A9A9FBE6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35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C9B8E6E3-EBE8-4D33-B2D5-4048C1A34B83}"/>
                  </a:ext>
                </a:extLst>
              </p:cNvPr>
              <p:cNvGrpSpPr/>
              <p:nvPr userDrawn="1">
                <p:custDataLst>
                  <p:tags r:id="rId36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58" name="Freeform 6">
                  <a:extLst>
                    <a:ext uri="{FF2B5EF4-FFF2-40B4-BE49-F238E27FC236}">
                      <a16:creationId xmlns:a16="http://schemas.microsoft.com/office/drawing/2014/main" id="{15C92B90-4079-41E3-A36B-79657FD3093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9" name="Freeform 7">
                  <a:extLst>
                    <a:ext uri="{FF2B5EF4-FFF2-40B4-BE49-F238E27FC236}">
                      <a16:creationId xmlns:a16="http://schemas.microsoft.com/office/drawing/2014/main" id="{E1173808-955C-4978-86D4-68C74A91A41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" name="Freeform 8">
                  <a:extLst>
                    <a:ext uri="{FF2B5EF4-FFF2-40B4-BE49-F238E27FC236}">
                      <a16:creationId xmlns:a16="http://schemas.microsoft.com/office/drawing/2014/main" id="{695360CD-97BE-4694-B055-EF52307D5DC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9">
                  <a:extLst>
                    <a:ext uri="{FF2B5EF4-FFF2-40B4-BE49-F238E27FC236}">
                      <a16:creationId xmlns:a16="http://schemas.microsoft.com/office/drawing/2014/main" id="{9BAEE57C-A731-4421-989F-EFE45921562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10">
                  <a:extLst>
                    <a:ext uri="{FF2B5EF4-FFF2-40B4-BE49-F238E27FC236}">
                      <a16:creationId xmlns:a16="http://schemas.microsoft.com/office/drawing/2014/main" id="{5BD486A5-CC90-4E91-812B-7470558DA08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11">
                  <a:extLst>
                    <a:ext uri="{FF2B5EF4-FFF2-40B4-BE49-F238E27FC236}">
                      <a16:creationId xmlns:a16="http://schemas.microsoft.com/office/drawing/2014/main" id="{8EDC4376-E951-4CDA-8E6C-A39B1F9DA1D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12">
                  <a:extLst>
                    <a:ext uri="{FF2B5EF4-FFF2-40B4-BE49-F238E27FC236}">
                      <a16:creationId xmlns:a16="http://schemas.microsoft.com/office/drawing/2014/main" id="{E6408841-1772-4537-A1A8-9AD11676CAE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13">
                  <a:extLst>
                    <a:ext uri="{FF2B5EF4-FFF2-40B4-BE49-F238E27FC236}">
                      <a16:creationId xmlns:a16="http://schemas.microsoft.com/office/drawing/2014/main" id="{73710952-7EF0-4CC7-8FBA-24F135366C7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98" name="Textplatzhalter 6">
            <a:extLst>
              <a:ext uri="{FF2B5EF4-FFF2-40B4-BE49-F238E27FC236}">
                <a16:creationId xmlns:a16="http://schemas.microsoft.com/office/drawing/2014/main" id="{AC26FEB8-8748-458D-B20C-5C0755E88F2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2 Techem’s holistic approach</a:t>
            </a:r>
            <a:endParaRPr lang="en-GB" sz="1050" kern="600" dirty="0"/>
          </a:p>
        </p:txBody>
      </p:sp>
      <p:pic>
        <p:nvPicPr>
          <p:cNvPr id="122" name="Grafik 15">
            <a:extLst>
              <a:ext uri="{FF2B5EF4-FFF2-40B4-BE49-F238E27FC236}">
                <a16:creationId xmlns:a16="http://schemas.microsoft.com/office/drawing/2014/main" id="{C4D9FBA1-5F62-4C85-A2F7-30B0593CBE9E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51" t="-11" r="36524" b="54118"/>
          <a:stretch/>
        </p:blipFill>
        <p:spPr bwMode="gray">
          <a:xfrm>
            <a:off x="-16933" y="5147568"/>
            <a:ext cx="9177866" cy="5162550"/>
          </a:xfrm>
          <a:prstGeom prst="rect">
            <a:avLst/>
          </a:prstGeom>
        </p:spPr>
      </p:pic>
      <p:sp>
        <p:nvSpPr>
          <p:cNvPr id="123" name="Rectangle 14">
            <a:extLst>
              <a:ext uri="{FF2B5EF4-FFF2-40B4-BE49-F238E27FC236}">
                <a16:creationId xmlns:a16="http://schemas.microsoft.com/office/drawing/2014/main" id="{EA60A39D-3A56-4F0E-930C-1CBAA55F6FA5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0" y="5127625"/>
            <a:ext cx="9144000" cy="5182493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4" name="Rectangle 20">
            <a:extLst>
              <a:ext uri="{FF2B5EF4-FFF2-40B4-BE49-F238E27FC236}">
                <a16:creationId xmlns:a16="http://schemas.microsoft.com/office/drawing/2014/main" id="{B873B2EE-5C74-4D65-A4C3-71C67E56E7D0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30976" y="5712619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HE POTENTIAL FOR SUCCESS</a:t>
            </a:r>
            <a:endParaRPr lang="en-GB" sz="32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25" name="Rectangle 21">
            <a:extLst>
              <a:ext uri="{FF2B5EF4-FFF2-40B4-BE49-F238E27FC236}">
                <a16:creationId xmlns:a16="http://schemas.microsoft.com/office/drawing/2014/main" id="{39DACBDD-610F-496E-9B8F-1D05358D9308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45265" y="6288683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bg1"/>
                </a:solidFill>
              </a:rPr>
              <a:t>of the approach</a:t>
            </a:r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D5A6E95-22D4-4831-A82E-B837A6144F4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68000" y="7499376"/>
            <a:ext cx="1331999" cy="1741635"/>
            <a:chOff x="468000" y="2342283"/>
            <a:chExt cx="1331999" cy="1741635"/>
          </a:xfrm>
        </p:grpSpPr>
        <p:sp>
          <p:nvSpPr>
            <p:cNvPr id="142" name="Rectangle 23">
              <a:extLst>
                <a:ext uri="{FF2B5EF4-FFF2-40B4-BE49-F238E27FC236}">
                  <a16:creationId xmlns:a16="http://schemas.microsoft.com/office/drawing/2014/main" id="{57F5FEFD-1522-4F92-BA97-20515DF7FD8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468000" y="2342283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chemeClr val="bg1"/>
                  </a:solidFill>
                </a:rPr>
                <a:t>Reducing average </a:t>
              </a:r>
              <a:r>
                <a:rPr lang="en-GB" sz="1100" b="1">
                  <a:solidFill>
                    <a:schemeClr val="bg1"/>
                  </a:solidFill>
                </a:rPr>
                <a:t>ENERGY CONSUMPTION </a:t>
              </a:r>
              <a:r>
                <a:rPr lang="en-GB" sz="1100">
                  <a:solidFill>
                    <a:schemeClr val="bg1"/>
                  </a:solidFill>
                </a:rPr>
                <a:t>and beyond by consumption-based billing</a:t>
              </a:r>
              <a:endParaRPr lang="en-GB" sz="1100" dirty="0">
                <a:solidFill>
                  <a:schemeClr val="bg1"/>
                </a:solidFill>
              </a:endParaRPr>
            </a:p>
          </p:txBody>
        </p:sp>
        <p:cxnSp>
          <p:nvCxnSpPr>
            <p:cNvPr id="143" name="Gerader Verbinder 68">
              <a:extLst>
                <a:ext uri="{FF2B5EF4-FFF2-40B4-BE49-F238E27FC236}">
                  <a16:creationId xmlns:a16="http://schemas.microsoft.com/office/drawing/2014/main" id="{E6FEF2E2-E50E-45A0-BE05-0C8F5768C130}"/>
                </a:ext>
              </a:extLst>
            </p:cNvPr>
            <p:cNvCxnSpPr>
              <a:cxnSpLocks/>
            </p:cNvCxnSpPr>
            <p:nvPr>
              <p:custDataLst>
                <p:tags r:id="rId34"/>
              </p:custDataLst>
            </p:nvPr>
          </p:nvCxnSpPr>
          <p:spPr bwMode="gray">
            <a:xfrm>
              <a:off x="1134000" y="3579862"/>
              <a:ext cx="0" cy="504056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7DFD82DD-226C-43D7-A7AE-E0C5D7C8EDE4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1843291" y="7152779"/>
            <a:ext cx="1331999" cy="2088232"/>
            <a:chOff x="1843291" y="1995686"/>
            <a:chExt cx="1331999" cy="2088232"/>
          </a:xfrm>
        </p:grpSpPr>
        <p:sp>
          <p:nvSpPr>
            <p:cNvPr id="140" name="Rectangle 23">
              <a:extLst>
                <a:ext uri="{FF2B5EF4-FFF2-40B4-BE49-F238E27FC236}">
                  <a16:creationId xmlns:a16="http://schemas.microsoft.com/office/drawing/2014/main" id="{6346F6F7-4948-4EE9-A595-3165130FFD6E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1843291" y="1995686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nnual reduction in CO2 emissions (for landlords and residents) of around </a:t>
              </a:r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7M TONNES 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round the world</a:t>
              </a:r>
              <a:endParaRPr lang="en-GB" sz="1100" b="1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41" name="Gerader Verbinder 68">
              <a:extLst>
                <a:ext uri="{FF2B5EF4-FFF2-40B4-BE49-F238E27FC236}">
                  <a16:creationId xmlns:a16="http://schemas.microsoft.com/office/drawing/2014/main" id="{3D81AF35-B460-447A-97AF-58373E804C7F}"/>
                </a:ext>
              </a:extLst>
            </p:cNvPr>
            <p:cNvCxnSpPr>
              <a:cxnSpLocks/>
            </p:cNvCxnSpPr>
            <p:nvPr>
              <p:custDataLst>
                <p:tags r:id="rId32"/>
              </p:custDataLst>
            </p:nvPr>
          </p:nvCxnSpPr>
          <p:spPr bwMode="gray">
            <a:xfrm>
              <a:off x="2509290" y="3206501"/>
              <a:ext cx="0" cy="877417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D84A387-F91D-44FA-8E7D-5158F1E0EE97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4593873" y="6653436"/>
            <a:ext cx="1331999" cy="2587575"/>
            <a:chOff x="4593873" y="1496343"/>
            <a:chExt cx="1331999" cy="2587575"/>
          </a:xfrm>
        </p:grpSpPr>
        <p:sp>
          <p:nvSpPr>
            <p:cNvPr id="136" name="Rectangle 23">
              <a:extLst>
                <a:ext uri="{FF2B5EF4-FFF2-40B4-BE49-F238E27FC236}">
                  <a16:creationId xmlns:a16="http://schemas.microsoft.com/office/drawing/2014/main" id="{2ED42805-C158-4603-8482-8AB0692215EB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4593873" y="1496343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Up to </a:t>
              </a:r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€1.5BN IN SAVINGS 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for petroleum, oil and district heating</a:t>
              </a:r>
              <a:endParaRPr lang="en-GB" sz="1100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37" name="Gerader Verbinder 68">
              <a:extLst>
                <a:ext uri="{FF2B5EF4-FFF2-40B4-BE49-F238E27FC236}">
                  <a16:creationId xmlns:a16="http://schemas.microsoft.com/office/drawing/2014/main" id="{135F8436-DC70-4412-9BF5-0EAE6EAF57B5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 bwMode="gray">
            <a:xfrm>
              <a:off x="5259873" y="2709658"/>
              <a:ext cx="0" cy="137426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39FEEB3-8513-437F-AA25-63606B493CFD}"/>
              </a:ext>
            </a:extLst>
          </p:cNvPr>
          <p:cNvGrpSpPr/>
          <p:nvPr>
            <p:custDataLst>
              <p:tags r:id="rId20"/>
            </p:custDataLst>
          </p:nvPr>
        </p:nvGrpSpPr>
        <p:grpSpPr bwMode="gray">
          <a:xfrm>
            <a:off x="5969164" y="7326747"/>
            <a:ext cx="1331999" cy="1914264"/>
            <a:chOff x="5969164" y="2169654"/>
            <a:chExt cx="1331999" cy="1914264"/>
          </a:xfrm>
        </p:grpSpPr>
        <p:sp>
          <p:nvSpPr>
            <p:cNvPr id="134" name="Rectangle 23">
              <a:extLst>
                <a:ext uri="{FF2B5EF4-FFF2-40B4-BE49-F238E27FC236}">
                  <a16:creationId xmlns:a16="http://schemas.microsoft.com/office/drawing/2014/main" id="{6CBA64A1-B22C-4634-9A5C-FB5C4FF2929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5969164" y="2169654"/>
              <a:ext cx="1331999" cy="6605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OVER 700,000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 water samples taken</a:t>
              </a:r>
              <a:endParaRPr lang="en-GB" sz="1100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35" name="Gerader Verbinder 68">
              <a:extLst>
                <a:ext uri="{FF2B5EF4-FFF2-40B4-BE49-F238E27FC236}">
                  <a16:creationId xmlns:a16="http://schemas.microsoft.com/office/drawing/2014/main" id="{C1DA26E2-C851-4A9C-8F2B-B5CB3E0CE208}"/>
                </a:ext>
              </a:extLst>
            </p:cNvPr>
            <p:cNvCxnSpPr>
              <a:cxnSpLocks/>
            </p:cNvCxnSpPr>
            <p:nvPr>
              <p:custDataLst>
                <p:tags r:id="rId28"/>
              </p:custDataLst>
            </p:nvPr>
          </p:nvCxnSpPr>
          <p:spPr bwMode="gray">
            <a:xfrm>
              <a:off x="6635163" y="2902744"/>
              <a:ext cx="0" cy="1181174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F3B84368-64D6-40E5-BDD7-1C16B04A9E7A}"/>
              </a:ext>
            </a:extLst>
          </p:cNvPr>
          <p:cNvGrpSpPr/>
          <p:nvPr>
            <p:custDataLst>
              <p:tags r:id="rId21"/>
            </p:custDataLst>
          </p:nvPr>
        </p:nvGrpSpPr>
        <p:grpSpPr bwMode="gray">
          <a:xfrm>
            <a:off x="7344457" y="7157492"/>
            <a:ext cx="1331999" cy="2083519"/>
            <a:chOff x="7344457" y="2000399"/>
            <a:chExt cx="1331999" cy="2083519"/>
          </a:xfrm>
        </p:grpSpPr>
        <p:sp>
          <p:nvSpPr>
            <p:cNvPr id="132" name="Rectangle 23">
              <a:extLst>
                <a:ext uri="{FF2B5EF4-FFF2-40B4-BE49-F238E27FC236}">
                  <a16:creationId xmlns:a16="http://schemas.microsoft.com/office/drawing/2014/main" id="{7D1AA02A-D3E9-4C28-9B8B-E319E8AA4599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7344457" y="2000399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86% OF THE 6.1M 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smoke detectors can be inspected remotely</a:t>
              </a:r>
              <a:endParaRPr lang="en-GB" sz="1100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133" name="Gerader Verbinder 68">
              <a:extLst>
                <a:ext uri="{FF2B5EF4-FFF2-40B4-BE49-F238E27FC236}">
                  <a16:creationId xmlns:a16="http://schemas.microsoft.com/office/drawing/2014/main" id="{43C41A93-A7B2-4DC0-9975-448CF97B2321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 bwMode="gray">
            <a:xfrm>
              <a:off x="8010457" y="3228975"/>
              <a:ext cx="0" cy="854943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4AC148A-412A-4CA0-9E9F-1E84E6E7C7B0}"/>
              </a:ext>
            </a:extLst>
          </p:cNvPr>
          <p:cNvGrpSpPr/>
          <p:nvPr>
            <p:custDataLst>
              <p:tags r:id="rId22"/>
            </p:custDataLst>
          </p:nvPr>
        </p:nvGrpSpPr>
        <p:grpSpPr bwMode="gray">
          <a:xfrm>
            <a:off x="3218583" y="7102872"/>
            <a:ext cx="1331999" cy="1913929"/>
            <a:chOff x="3218583" y="7102872"/>
            <a:chExt cx="1331999" cy="1913929"/>
          </a:xfrm>
        </p:grpSpPr>
        <p:sp>
          <p:nvSpPr>
            <p:cNvPr id="67" name="Rectangle 23">
              <a:extLst>
                <a:ext uri="{FF2B5EF4-FFF2-40B4-BE49-F238E27FC236}">
                  <a16:creationId xmlns:a16="http://schemas.microsoft.com/office/drawing/2014/main" id="{5D212757-AE2E-4EA9-BAE0-04CA1563AD4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3218583" y="7102872"/>
              <a:ext cx="1331999" cy="11655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b" anchorCtr="0"/>
            <a:lstStyle/>
            <a:p>
              <a:pPr algn="ctr"/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n</a:t>
              </a:r>
              <a:b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</a:b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additional </a:t>
              </a:r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15%</a:t>
              </a:r>
              <a:b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</a:br>
              <a:r>
                <a:rPr lang="en-GB" sz="1100" b="1">
                  <a:solidFill>
                    <a:srgbClr val="FFFFFF"/>
                  </a:solidFill>
                  <a:latin typeface="Lucida Sans Techem" panose="020B0602040502020204" pitchFamily="34" charset="0"/>
                </a:rPr>
                <a:t>REDUCTION IN CONSUMPTION </a:t>
              </a:r>
              <a:r>
                <a:rPr lang="en-GB" sz="1100">
                  <a:solidFill>
                    <a:srgbClr val="FFFFFF"/>
                  </a:solidFill>
                  <a:latin typeface="Lucida Sans Techem" panose="020B0602040502020204" pitchFamily="34" charset="0"/>
                </a:rPr>
                <a:t>by integrated measures in heating systems</a:t>
              </a:r>
              <a:endParaRPr lang="en-GB" sz="1100" b="1" dirty="0">
                <a:solidFill>
                  <a:srgbClr val="FFFFFF"/>
                </a:solidFill>
                <a:latin typeface="Lucida Sans Techem" panose="020B0602040502020204" pitchFamily="34" charset="0"/>
              </a:endParaRPr>
            </a:p>
          </p:txBody>
        </p:sp>
        <p:cxnSp>
          <p:nvCxnSpPr>
            <p:cNvPr id="68" name="Gerader Verbinder 68">
              <a:extLst>
                <a:ext uri="{FF2B5EF4-FFF2-40B4-BE49-F238E27FC236}">
                  <a16:creationId xmlns:a16="http://schemas.microsoft.com/office/drawing/2014/main" id="{C702843B-E597-4D99-B9F7-D2437AA2E9D4}"/>
                </a:ext>
              </a:extLst>
            </p:cNvPr>
            <p:cNvCxnSpPr>
              <a:cxnSpLocks/>
            </p:cNvCxnSpPr>
            <p:nvPr>
              <p:custDataLst>
                <p:tags r:id="rId24"/>
              </p:custDataLst>
            </p:nvPr>
          </p:nvCxnSpPr>
          <p:spPr bwMode="gray">
            <a:xfrm>
              <a:off x="3884583" y="8333630"/>
              <a:ext cx="0" cy="683171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24BF5-070D-4720-A484-973400C69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5101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48" grpId="0"/>
      <p:bldP spid="4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C37E974-D341-4914-9220-09E85CDE95C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1"/>
          <a:stretch/>
        </p:blipFill>
        <p:spPr bwMode="gray">
          <a:xfrm>
            <a:off x="0" y="0"/>
            <a:ext cx="10764688" cy="5888346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F4834FF0-0BE8-4E72-BDD8-AD2D1B42B887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ECBA213B-1944-46AC-B5BA-AD5D54F9EAAF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9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ECB49D6-81E3-42F5-8502-CA8A534FADDC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74C6C09-EF02-4024-A9B2-66B1BE3D1BE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9140608" cy="51435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3019C1-1259-4CEB-B61E-87DBB49C85C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50066" y="1738580"/>
            <a:ext cx="5975896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 AS A STRONG PARTNER FOR YOUR CHALLENG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99C8B48-805C-486E-852E-6F53A779E8D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50066" y="987574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7200" b="1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0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40F4F8-D8FA-472D-9360-091D78F0D8B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84"/>
          <a:stretch/>
        </p:blipFill>
        <p:spPr bwMode="gray">
          <a:xfrm>
            <a:off x="2195736" y="0"/>
            <a:ext cx="7520268" cy="5143500"/>
          </a:xfrm>
          <a:prstGeom prst="rect">
            <a:avLst/>
          </a:prstGeom>
          <a:effectLst>
            <a:outerShdw blurRad="63500" dist="38100" algn="l" rotWithShape="0">
              <a:prstClr val="black">
                <a:alpha val="27000"/>
              </a:prstClr>
            </a:outerShdw>
          </a:effectLst>
        </p:spPr>
      </p:pic>
      <p:sp>
        <p:nvSpPr>
          <p:cNvPr id="34" name="Fußzeilenplatzhalter 1">
            <a:extLst>
              <a:ext uri="{FF2B5EF4-FFF2-40B4-BE49-F238E27FC236}">
                <a16:creationId xmlns:a16="http://schemas.microsoft.com/office/drawing/2014/main" id="{E42D9DB2-E2E5-418A-B3EC-3F4FFE664D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ECHEM – THE SERVICE PARTNER FOR GREEN AND SMART BUILDINGS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B37A60EC-0B4D-463F-9F77-9203BA068B2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84324" y="-5235791"/>
            <a:ext cx="9312648" cy="5232398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44BC1A39-BEDA-424A-BD12-EB9CB39EB4F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84324" y="-5355896"/>
            <a:ext cx="10728424" cy="521520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213A6FA4-89C1-4B8C-A203-98586917CBE6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9" r="897"/>
          <a:stretch/>
        </p:blipFill>
        <p:spPr bwMode="gray">
          <a:xfrm>
            <a:off x="-84324" y="-5355896"/>
            <a:ext cx="9312648" cy="5215206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037F647E-9B77-4AC0-A59B-ECFEA99BB6F2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696" y="-5191343"/>
            <a:ext cx="9140608" cy="5187949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55000"/>
                </a:schemeClr>
              </a:gs>
              <a:gs pos="100000">
                <a:schemeClr val="bg1">
                  <a:alpha val="3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7DE1B34-77FF-4993-B124-0CF4501D5F3F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36" name="Rechteck 12">
              <a:extLst>
                <a:ext uri="{FF2B5EF4-FFF2-40B4-BE49-F238E27FC236}">
                  <a16:creationId xmlns:a16="http://schemas.microsoft.com/office/drawing/2014/main" id="{49146434-CC9D-454C-BE52-63152165EDBF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DC64C1A2-80FB-4DB1-9D5F-7DAD1814983F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38" name="Rectangle 5">
                <a:extLst>
                  <a:ext uri="{FF2B5EF4-FFF2-40B4-BE49-F238E27FC236}">
                    <a16:creationId xmlns:a16="http://schemas.microsoft.com/office/drawing/2014/main" id="{34D015C4-725C-4F75-BA2C-5E0C64131B28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632671C1-F2D1-419C-B6ED-1213EB136BD2}"/>
                  </a:ext>
                </a:extLst>
              </p:cNvPr>
              <p:cNvGrpSpPr/>
              <p:nvPr userDrawn="1">
                <p:custDataLst>
                  <p:tags r:id="rId1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0" name="Freeform 6">
                  <a:extLst>
                    <a:ext uri="{FF2B5EF4-FFF2-40B4-BE49-F238E27FC236}">
                      <a16:creationId xmlns:a16="http://schemas.microsoft.com/office/drawing/2014/main" id="{9A3B8876-A573-46A2-A079-E0ACE9300B3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">
                  <a:extLst>
                    <a:ext uri="{FF2B5EF4-FFF2-40B4-BE49-F238E27FC236}">
                      <a16:creationId xmlns:a16="http://schemas.microsoft.com/office/drawing/2014/main" id="{88C69987-4FAE-4D1D-BA76-968894F1D10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8">
                  <a:extLst>
                    <a:ext uri="{FF2B5EF4-FFF2-40B4-BE49-F238E27FC236}">
                      <a16:creationId xmlns:a16="http://schemas.microsoft.com/office/drawing/2014/main" id="{7F10063A-E1F1-448B-BE1A-C4EF2461BA3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9">
                  <a:extLst>
                    <a:ext uri="{FF2B5EF4-FFF2-40B4-BE49-F238E27FC236}">
                      <a16:creationId xmlns:a16="http://schemas.microsoft.com/office/drawing/2014/main" id="{C8DA07EB-4110-4C45-B1D8-66D6B6C40AC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10">
                  <a:extLst>
                    <a:ext uri="{FF2B5EF4-FFF2-40B4-BE49-F238E27FC236}">
                      <a16:creationId xmlns:a16="http://schemas.microsoft.com/office/drawing/2014/main" id="{1B46BF1E-B32E-4444-9701-1CD96241A48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11">
                  <a:extLst>
                    <a:ext uri="{FF2B5EF4-FFF2-40B4-BE49-F238E27FC236}">
                      <a16:creationId xmlns:a16="http://schemas.microsoft.com/office/drawing/2014/main" id="{C77D677E-63A5-4DD0-AEE8-407E4D9E61C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12">
                  <a:extLst>
                    <a:ext uri="{FF2B5EF4-FFF2-40B4-BE49-F238E27FC236}">
                      <a16:creationId xmlns:a16="http://schemas.microsoft.com/office/drawing/2014/main" id="{61E1E020-31BE-41CE-B780-F3ECBD83AC4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13">
                  <a:extLst>
                    <a:ext uri="{FF2B5EF4-FFF2-40B4-BE49-F238E27FC236}">
                      <a16:creationId xmlns:a16="http://schemas.microsoft.com/office/drawing/2014/main" id="{CD444B20-2F11-458A-B696-CBB5F7EC28A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EE367A-A17E-444E-91D6-007830888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0691371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22222E-6 L -0.02465 -2.22222E-6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68133083-184E-48CD-BF13-53C53EABFA7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04"/>
          <a:stretch/>
        </p:blipFill>
        <p:spPr bwMode="gray">
          <a:xfrm>
            <a:off x="-8898" y="-1320639"/>
            <a:ext cx="9161796" cy="9124478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CDF5ECDA-62C7-4F9B-AF5A-D4A71CDD6B0F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C316D813-02EB-4C59-9373-2A144578F39A}"/>
                </a:ext>
              </a:extLst>
            </p:cNvPr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24">
              <a:biLevel thresh="50000"/>
              <a:alphaModFix amt="6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8D8AE51-B0AB-4FAF-A560-42D930024FBD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97BD56A3-E3B6-4596-9763-8D328B27DF0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64000"/>
                </a:schemeClr>
              </a:gs>
              <a:gs pos="79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2" name="Rectangle 20">
            <a:extLst>
              <a:ext uri="{FF2B5EF4-FFF2-40B4-BE49-F238E27FC236}">
                <a16:creationId xmlns:a16="http://schemas.microsoft.com/office/drawing/2014/main" id="{293EA5F2-83E5-4351-94DB-D88C66E2341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827584" y="2274060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>
              <a:spcAft>
                <a:spcPts val="400"/>
              </a:spcAft>
            </a:pPr>
            <a:r>
              <a:rPr lang="en-GB" sz="9600" b="1" dirty="0">
                <a:solidFill>
                  <a:srgbClr val="FF0000">
                    <a:alpha val="94000"/>
                  </a:srgbClr>
                </a:solidFill>
              </a:rPr>
              <a:t>„</a:t>
            </a:r>
          </a:p>
        </p:txBody>
      </p:sp>
      <p:sp>
        <p:nvSpPr>
          <p:cNvPr id="53" name="Rectangle 23">
            <a:extLst>
              <a:ext uri="{FF2B5EF4-FFF2-40B4-BE49-F238E27FC236}">
                <a16:creationId xmlns:a16="http://schemas.microsoft.com/office/drawing/2014/main" id="{D6FC929C-EA8A-4493-AC9B-DE4E6525501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712788" y="1995686"/>
            <a:ext cx="5235476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2000" dirty="0" err="1">
                <a:solidFill>
                  <a:schemeClr val="tx1">
                    <a:alpha val="94000"/>
                  </a:schemeClr>
                </a:solidFill>
              </a:rPr>
              <a:t>Techem’s</a:t>
            </a:r>
            <a:r>
              <a:rPr lang="en-GB" sz="2000" dirty="0">
                <a:solidFill>
                  <a:schemeClr val="tx1">
                    <a:alpha val="94000"/>
                  </a:schemeClr>
                </a:solidFill>
              </a:rPr>
              <a:t> real-estate products and solutions avoid CO</a:t>
            </a:r>
            <a:r>
              <a:rPr lang="en-GB" sz="2000" baseline="-25000" dirty="0">
                <a:solidFill>
                  <a:schemeClr val="tx1">
                    <a:alpha val="94000"/>
                  </a:schemeClr>
                </a:solidFill>
              </a:rPr>
              <a:t>2</a:t>
            </a:r>
            <a:r>
              <a:rPr lang="en-GB" sz="2000" dirty="0">
                <a:solidFill>
                  <a:schemeClr val="tx1">
                    <a:alpha val="94000"/>
                  </a:schemeClr>
                </a:solidFill>
              </a:rPr>
              <a:t> by around </a:t>
            </a:r>
            <a:r>
              <a:rPr lang="en-GB" sz="2000" dirty="0">
                <a:solidFill>
                  <a:schemeClr val="accent1">
                    <a:alpha val="94000"/>
                  </a:schemeClr>
                </a:solidFill>
              </a:rPr>
              <a:t>7 million </a:t>
            </a:r>
            <a:r>
              <a:rPr lang="en-GB" sz="2000" dirty="0">
                <a:solidFill>
                  <a:schemeClr val="tx1">
                    <a:alpha val="94000"/>
                  </a:schemeClr>
                </a:solidFill>
              </a:rPr>
              <a:t>tonnes every year.</a:t>
            </a:r>
          </a:p>
        </p:txBody>
      </p:sp>
      <p:sp>
        <p:nvSpPr>
          <p:cNvPr id="55" name="Fußzeilenplatzhalter 1">
            <a:extLst>
              <a:ext uri="{FF2B5EF4-FFF2-40B4-BE49-F238E27FC236}">
                <a16:creationId xmlns:a16="http://schemas.microsoft.com/office/drawing/2014/main" id="{A14B9791-B804-48DE-AD5C-4ABC0CB7B4D9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FD29A6BF-256C-411D-9099-FACDE0B7236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50800" y="5137750"/>
            <a:ext cx="9245600" cy="6147340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7B35F441-EE0D-4BB1-B990-0A8845EAC3AB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-554636" y="5137750"/>
            <a:ext cx="9695735" cy="5457314"/>
            <a:chOff x="-554636" y="2376"/>
            <a:chExt cx="9695735" cy="5457314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A5027BEF-B961-4728-82C1-F53298616332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4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ED91FD2-4619-456D-8A62-590742FCA7C2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85D8D405-19C8-4FDE-8EAC-94EE450BC1E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-18892" y="513775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56DDEE74-0197-4514-955B-A9A295A759C5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26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5" t="33381" r="31455" b="7872"/>
          <a:stretch/>
        </p:blipFill>
        <p:spPr bwMode="gray">
          <a:xfrm>
            <a:off x="5772431" y="6217684"/>
            <a:ext cx="3192057" cy="2324254"/>
          </a:xfrm>
          <a:prstGeom prst="ellipse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85DD721A-7E50-4F42-933D-7CCB7606D6F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6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46" t="2255" b="47987"/>
          <a:stretch/>
        </p:blipFill>
        <p:spPr bwMode="gray">
          <a:xfrm>
            <a:off x="539552" y="5829467"/>
            <a:ext cx="2832019" cy="1968622"/>
          </a:xfrm>
          <a:prstGeom prst="rect">
            <a:avLst/>
          </a:prstGeom>
        </p:spPr>
      </p:pic>
      <p:sp>
        <p:nvSpPr>
          <p:cNvPr id="31" name="Rectangle 20">
            <a:extLst>
              <a:ext uri="{FF2B5EF4-FFF2-40B4-BE49-F238E27FC236}">
                <a16:creationId xmlns:a16="http://schemas.microsoft.com/office/drawing/2014/main" id="{250AF7C1-1202-474A-8E9B-22C99F09A25E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497057" y="3645657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>
              <a:spcAft>
                <a:spcPts val="400"/>
              </a:spcAft>
            </a:pPr>
            <a:r>
              <a:rPr lang="en-GB" sz="9600" b="1" dirty="0">
                <a:solidFill>
                  <a:srgbClr val="FF0000">
                    <a:alpha val="94000"/>
                  </a:srgbClr>
                </a:solidFill>
              </a:rPr>
              <a:t>„</a:t>
            </a: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DCC313CC-7DD6-45E3-8B20-F022693D78F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382261" y="3367283"/>
            <a:ext cx="5083076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2000" dirty="0" err="1">
                <a:solidFill>
                  <a:schemeClr val="tx1">
                    <a:alpha val="94000"/>
                  </a:schemeClr>
                </a:solidFill>
              </a:rPr>
              <a:t>Techem</a:t>
            </a:r>
            <a:r>
              <a:rPr lang="en-GB" sz="2000" dirty="0">
                <a:solidFill>
                  <a:schemeClr val="tx1">
                    <a:alpha val="94000"/>
                  </a:schemeClr>
                </a:solidFill>
              </a:rPr>
              <a:t> is a market leader for radio smoke detectors with </a:t>
            </a:r>
            <a:r>
              <a:rPr lang="en-GB" sz="2000" dirty="0">
                <a:solidFill>
                  <a:schemeClr val="accent1">
                    <a:alpha val="94000"/>
                  </a:schemeClr>
                </a:solidFill>
              </a:rPr>
              <a:t>remote inspection.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FAA8F24-2AAD-4D1B-843B-55A4DFEFF07C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0" name="Rechteck 12">
              <a:extLst>
                <a:ext uri="{FF2B5EF4-FFF2-40B4-BE49-F238E27FC236}">
                  <a16:creationId xmlns:a16="http://schemas.microsoft.com/office/drawing/2014/main" id="{81884EB0-5673-46CD-91DC-4C575C767F56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4FB944C-C2EE-4022-A424-2BF19C38046A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2" name="Rectangle 5">
                <a:extLst>
                  <a:ext uri="{FF2B5EF4-FFF2-40B4-BE49-F238E27FC236}">
                    <a16:creationId xmlns:a16="http://schemas.microsoft.com/office/drawing/2014/main" id="{79DC5298-2B1A-4A53-AB56-7D71AD9584A7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305B57CE-2FB0-4356-93B5-593F3878A3A7}"/>
                  </a:ext>
                </a:extLst>
              </p:cNvPr>
              <p:cNvGrpSpPr/>
              <p:nvPr userDrawn="1">
                <p:custDataLst>
                  <p:tags r:id="rId16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4" name="Freeform 6">
                  <a:extLst>
                    <a:ext uri="{FF2B5EF4-FFF2-40B4-BE49-F238E27FC236}">
                      <a16:creationId xmlns:a16="http://schemas.microsoft.com/office/drawing/2014/main" id="{D04755DF-D686-44C5-A22E-D1B82AAA34B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5" name="Freeform 7">
                  <a:extLst>
                    <a:ext uri="{FF2B5EF4-FFF2-40B4-BE49-F238E27FC236}">
                      <a16:creationId xmlns:a16="http://schemas.microsoft.com/office/drawing/2014/main" id="{F31F5246-62FF-4211-8F75-6411C9197CB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8">
                  <a:extLst>
                    <a:ext uri="{FF2B5EF4-FFF2-40B4-BE49-F238E27FC236}">
                      <a16:creationId xmlns:a16="http://schemas.microsoft.com/office/drawing/2014/main" id="{06529FDE-0668-4629-ABE9-F1060EC3E07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9">
                  <a:extLst>
                    <a:ext uri="{FF2B5EF4-FFF2-40B4-BE49-F238E27FC236}">
                      <a16:creationId xmlns:a16="http://schemas.microsoft.com/office/drawing/2014/main" id="{67B4FC73-BB59-40EF-AA97-910642E5085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0">
                  <a:extLst>
                    <a:ext uri="{FF2B5EF4-FFF2-40B4-BE49-F238E27FC236}">
                      <a16:creationId xmlns:a16="http://schemas.microsoft.com/office/drawing/2014/main" id="{BD638F52-6F4F-4BDC-A8DA-801F1DB9140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1">
                  <a:extLst>
                    <a:ext uri="{FF2B5EF4-FFF2-40B4-BE49-F238E27FC236}">
                      <a16:creationId xmlns:a16="http://schemas.microsoft.com/office/drawing/2014/main" id="{F5CDCF69-8C1C-4339-B0B7-E19504345A2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2">
                  <a:extLst>
                    <a:ext uri="{FF2B5EF4-FFF2-40B4-BE49-F238E27FC236}">
                      <a16:creationId xmlns:a16="http://schemas.microsoft.com/office/drawing/2014/main" id="{3491A876-28D9-4BCD-8D78-B529205FBC6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3">
                  <a:extLst>
                    <a:ext uri="{FF2B5EF4-FFF2-40B4-BE49-F238E27FC236}">
                      <a16:creationId xmlns:a16="http://schemas.microsoft.com/office/drawing/2014/main" id="{E5C75715-864A-47E1-967A-BB18E2320BE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5520622-6592-470A-A55C-F028898B3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9892934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59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 3.08642E-6 L 0 -0.34105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06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31" grpId="0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Picture 97">
            <a:extLst>
              <a:ext uri="{FF2B5EF4-FFF2-40B4-BE49-F238E27FC236}">
                <a16:creationId xmlns:a16="http://schemas.microsoft.com/office/drawing/2014/main" id="{19477288-CC79-4417-80F6-522EE48C278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1"/>
          <a:stretch/>
        </p:blipFill>
        <p:spPr bwMode="gray">
          <a:xfrm>
            <a:off x="0" y="4659982"/>
            <a:ext cx="10764688" cy="5888346"/>
          </a:xfrm>
          <a:prstGeom prst="rect">
            <a:avLst/>
          </a:prstGeom>
        </p:spPr>
      </p:pic>
      <p:grpSp>
        <p:nvGrpSpPr>
          <p:cNvPr id="99" name="Group 98">
            <a:extLst>
              <a:ext uri="{FF2B5EF4-FFF2-40B4-BE49-F238E27FC236}">
                <a16:creationId xmlns:a16="http://schemas.microsoft.com/office/drawing/2014/main" id="{ED52B2DE-B8D7-4CB9-BC5C-821FE9FF83CD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4659982"/>
            <a:ext cx="9695735" cy="5457314"/>
            <a:chOff x="-554636" y="2376"/>
            <a:chExt cx="9695735" cy="5457314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E2E63B5E-516D-4A9F-B2D3-F811AC1E7F92}"/>
                </a:ext>
              </a:extLst>
            </p:cNvPr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30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F00BB676-C7E2-4F07-8198-6F0D4A1D2485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73C4EA2-0547-4E05-95EA-B440C6DF2DA6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4659982"/>
            <a:ext cx="9140608" cy="51435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D6D30BF2-78DD-4905-9E18-B51D35633FA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50066" y="6398562"/>
            <a:ext cx="5975896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 AS A STRONG PARTNER FOR YOUR CHALLENGES</a:t>
            </a:r>
            <a:endParaRPr lang="en-GB" sz="28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0763016A-AB1E-4712-AE0E-F3A5B534E42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50066" y="5647556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7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03</a:t>
            </a:r>
            <a:endParaRPr lang="en-GB" sz="72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9A4C079B-6636-4515-9902-99877056FAB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84"/>
          <a:stretch/>
        </p:blipFill>
        <p:spPr bwMode="gray">
          <a:xfrm>
            <a:off x="2195736" y="4659982"/>
            <a:ext cx="7520268" cy="5143500"/>
          </a:xfrm>
          <a:prstGeom prst="rect">
            <a:avLst/>
          </a:prstGeom>
          <a:effectLst>
            <a:outerShdw blurRad="63500" dist="38100" algn="l" rotWithShape="0">
              <a:prstClr val="black">
                <a:alpha val="27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AE1943D-6CEE-4468-8389-8D5B660B6305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84324" y="-44449"/>
            <a:ext cx="9312648" cy="523239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81E75C0A-9AD5-4819-A1AC-5314A7D4CB2B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84324" y="-164554"/>
            <a:ext cx="10728424" cy="52152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7E4293-0F50-40C5-A08B-90C74B9BFBAE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9" r="897"/>
          <a:stretch/>
        </p:blipFill>
        <p:spPr bwMode="gray">
          <a:xfrm>
            <a:off x="-84324" y="-164554"/>
            <a:ext cx="9312648" cy="5215206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0662F215-85F5-4D8B-AA94-49F3E06C715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696" y="-1"/>
            <a:ext cx="9140608" cy="5187949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55000"/>
                </a:schemeClr>
              </a:gs>
              <a:gs pos="100000">
                <a:schemeClr val="bg1">
                  <a:alpha val="32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5" name="Rectangle 23">
            <a:extLst>
              <a:ext uri="{FF2B5EF4-FFF2-40B4-BE49-F238E27FC236}">
                <a16:creationId xmlns:a16="http://schemas.microsoft.com/office/drawing/2014/main" id="{33DD84D5-F712-4B2E-94A3-79C2AEB95EEC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855787" y="1419622"/>
            <a:ext cx="5430837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What we expect of ourselves and promise you:</a:t>
            </a: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76" name="Rectangle 23">
            <a:extLst>
              <a:ext uri="{FF2B5EF4-FFF2-40B4-BE49-F238E27FC236}">
                <a16:creationId xmlns:a16="http://schemas.microsoft.com/office/drawing/2014/main" id="{68A092D7-1DF3-42D9-B72F-145947A7C67D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547664" y="2931813"/>
            <a:ext cx="6048672" cy="76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or </a:t>
            </a:r>
            <a:r>
              <a:rPr lang="en-GB" sz="1600" b="1" dirty="0">
                <a:solidFill>
                  <a:schemeClr val="accent1"/>
                </a:solidFill>
              </a:rPr>
              <a:t>67 YEARS</a:t>
            </a:r>
            <a:r>
              <a:rPr lang="en-GB" sz="1400" dirty="0">
                <a:solidFill>
                  <a:schemeClr val="tx1"/>
                </a:solidFill>
              </a:rPr>
              <a:t>, we have been a reliable partner for private landlords, the housing market, commercial real estate, builders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and planners.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26F23157-38A6-4AA8-B30D-C865578EB692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86" name="Rechteck 12">
              <a:extLst>
                <a:ext uri="{FF2B5EF4-FFF2-40B4-BE49-F238E27FC236}">
                  <a16:creationId xmlns:a16="http://schemas.microsoft.com/office/drawing/2014/main" id="{9A721CD5-E2BA-4C11-95C2-2BA0D0802B68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0DCFB70-BD78-496A-B816-873E6EC84574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88" name="Rectangle 5">
                <a:extLst>
                  <a:ext uri="{FF2B5EF4-FFF2-40B4-BE49-F238E27FC236}">
                    <a16:creationId xmlns:a16="http://schemas.microsoft.com/office/drawing/2014/main" id="{2A92DFEE-59CD-4CA9-9672-42052F547D11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3E743FA8-1EEE-454D-A562-7575A7D51E0C}"/>
                  </a:ext>
                </a:extLst>
              </p:cNvPr>
              <p:cNvGrpSpPr/>
              <p:nvPr userDrawn="1">
                <p:custDataLst>
                  <p:tags r:id="rId24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90" name="Freeform 6">
                  <a:extLst>
                    <a:ext uri="{FF2B5EF4-FFF2-40B4-BE49-F238E27FC236}">
                      <a16:creationId xmlns:a16="http://schemas.microsoft.com/office/drawing/2014/main" id="{A6A2BD2A-914E-49A0-A2CB-DAA0425BFD1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7">
                  <a:extLst>
                    <a:ext uri="{FF2B5EF4-FFF2-40B4-BE49-F238E27FC236}">
                      <a16:creationId xmlns:a16="http://schemas.microsoft.com/office/drawing/2014/main" id="{613FD64B-6C3A-4436-8CF3-FDAA04C3A49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8">
                  <a:extLst>
                    <a:ext uri="{FF2B5EF4-FFF2-40B4-BE49-F238E27FC236}">
                      <a16:creationId xmlns:a16="http://schemas.microsoft.com/office/drawing/2014/main" id="{535DD8F2-B3E7-4ADD-98E9-69BC5AD4AF7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9">
                  <a:extLst>
                    <a:ext uri="{FF2B5EF4-FFF2-40B4-BE49-F238E27FC236}">
                      <a16:creationId xmlns:a16="http://schemas.microsoft.com/office/drawing/2014/main" id="{52B190CB-3D7C-48CB-9B84-C81247A4982A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10">
                  <a:extLst>
                    <a:ext uri="{FF2B5EF4-FFF2-40B4-BE49-F238E27FC236}">
                      <a16:creationId xmlns:a16="http://schemas.microsoft.com/office/drawing/2014/main" id="{3E052B4B-2622-4785-AD91-540FBDB6231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11">
                  <a:extLst>
                    <a:ext uri="{FF2B5EF4-FFF2-40B4-BE49-F238E27FC236}">
                      <a16:creationId xmlns:a16="http://schemas.microsoft.com/office/drawing/2014/main" id="{3BF221F5-2157-4D70-8315-C07BEC5B270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12">
                  <a:extLst>
                    <a:ext uri="{FF2B5EF4-FFF2-40B4-BE49-F238E27FC236}">
                      <a16:creationId xmlns:a16="http://schemas.microsoft.com/office/drawing/2014/main" id="{6046FD4F-3F43-4C29-A065-007E7DD0E21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13">
                  <a:extLst>
                    <a:ext uri="{FF2B5EF4-FFF2-40B4-BE49-F238E27FC236}">
                      <a16:creationId xmlns:a16="http://schemas.microsoft.com/office/drawing/2014/main" id="{B9594761-19BC-4778-89B6-87F5504FF83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06" name="Fußzeilenplatzhalter 1">
            <a:extLst>
              <a:ext uri="{FF2B5EF4-FFF2-40B4-BE49-F238E27FC236}">
                <a16:creationId xmlns:a16="http://schemas.microsoft.com/office/drawing/2014/main" id="{F7E63405-5506-4075-86A7-523E7EC536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14865B6E-46F2-474B-A85D-3CA349567DA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46" name="Rectangle 23">
            <a:extLst>
              <a:ext uri="{FF2B5EF4-FFF2-40B4-BE49-F238E27FC236}">
                <a16:creationId xmlns:a16="http://schemas.microsoft.com/office/drawing/2014/main" id="{D6162ED4-45CE-4504-955F-2AA57E845B4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722858" y="1906322"/>
            <a:ext cx="2321734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LEADING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47" name="Rectangle 23">
            <a:extLst>
              <a:ext uri="{FF2B5EF4-FFF2-40B4-BE49-F238E27FC236}">
                <a16:creationId xmlns:a16="http://schemas.microsoft.com/office/drawing/2014/main" id="{1707A2D1-4A56-4498-A7C2-ADB3EB67CDF3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3059832" y="1906322"/>
            <a:ext cx="1146542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THE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48" name="Rectangle 23">
            <a:extLst>
              <a:ext uri="{FF2B5EF4-FFF2-40B4-BE49-F238E27FC236}">
                <a16:creationId xmlns:a16="http://schemas.microsoft.com/office/drawing/2014/main" id="{E4B81009-6DA6-4A0E-841C-2965FDEEDDF9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4206374" y="1906322"/>
            <a:ext cx="1589762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FIELD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49" name="Rectangle 23">
            <a:extLst>
              <a:ext uri="{FF2B5EF4-FFF2-40B4-BE49-F238E27FC236}">
                <a16:creationId xmlns:a16="http://schemas.microsoft.com/office/drawing/2014/main" id="{60977763-8BFA-4FAB-B511-A915C22C4A12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791056" y="1906322"/>
            <a:ext cx="2608524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THROUGH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50" name="Rectangle 23">
            <a:extLst>
              <a:ext uri="{FF2B5EF4-FFF2-40B4-BE49-F238E27FC236}">
                <a16:creationId xmlns:a16="http://schemas.microsoft.com/office/drawing/2014/main" id="{28C57F8D-1C79-4DFB-88A9-FD2A4809948E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954073" y="2455041"/>
            <a:ext cx="1146542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THE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51" name="Rectangle 23">
            <a:extLst>
              <a:ext uri="{FF2B5EF4-FFF2-40B4-BE49-F238E27FC236}">
                <a16:creationId xmlns:a16="http://schemas.microsoft.com/office/drawing/2014/main" id="{8E1E69BD-4FAC-483A-9990-F8787AB8B500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2118142" y="2455041"/>
            <a:ext cx="1877794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POWER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52" name="Rectangle 23">
            <a:extLst>
              <a:ext uri="{FF2B5EF4-FFF2-40B4-BE49-F238E27FC236}">
                <a16:creationId xmlns:a16="http://schemas.microsoft.com/office/drawing/2014/main" id="{427055A8-76D3-4B90-AF33-5CE792EAF2A6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4053210" y="2455041"/>
            <a:ext cx="734814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OF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53" name="Rectangle 23">
            <a:extLst>
              <a:ext uri="{FF2B5EF4-FFF2-40B4-BE49-F238E27FC236}">
                <a16:creationId xmlns:a16="http://schemas.microsoft.com/office/drawing/2014/main" id="{D71FCC7C-B39F-4E05-9E08-DE95AFE7B6D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834632" y="2455041"/>
            <a:ext cx="3399832" cy="313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b="1" dirty="0">
                <a:solidFill>
                  <a:schemeClr val="accent1"/>
                </a:solidFill>
              </a:rPr>
              <a:t>INNOVATION</a:t>
            </a:r>
            <a:endParaRPr lang="en-GB" sz="3200" b="1" dirty="0">
              <a:solidFill>
                <a:schemeClr val="accent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95243EE-7EFB-4119-8014-632E0EF3F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78036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2000" decel="48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6" dur="2500" fill="hold"/>
                                        <p:tgtEl>
                                          <p:spTgt spid="6"/>
                                        </p:tgtEl>
                                      </p:cBhvr>
                                      <p:by x="180000" y="18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11" dur="1000" fill="hold"/>
                                        <p:tgtEl>
                                          <p:spTgt spid="7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3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000"/>
                            </p:stCondLst>
                            <p:childTnLst>
                              <p:par>
                                <p:cTn id="44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9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7D0CA06F-554A-4441-B9AB-5BD1F297A73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409" r="8278" b="8306"/>
          <a:stretch/>
        </p:blipFill>
        <p:spPr bwMode="gray">
          <a:xfrm rot="10800000">
            <a:off x="0" y="-4"/>
            <a:ext cx="9166860" cy="514349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1883F05-3300-4462-A73B-D33F5F4FA6A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1"/>
          <a:stretch/>
        </p:blipFill>
        <p:spPr bwMode="gray">
          <a:xfrm>
            <a:off x="0" y="625004"/>
            <a:ext cx="9144000" cy="4518496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9442336-3C4D-452F-B23B-9DBE588CAB4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-23078"/>
            <a:ext cx="9166860" cy="5189655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9092BD7-12C6-45F7-A8AB-FB825D68331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8312" y="1957586"/>
            <a:ext cx="8675688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 dirty="0">
                <a:solidFill>
                  <a:schemeClr val="tx2">
                    <a:alpha val="18000"/>
                  </a:schemeClr>
                </a:solidFill>
              </a:rPr>
              <a:t>1950 – 2000</a:t>
            </a:r>
          </a:p>
        </p:txBody>
      </p:sp>
      <p:sp>
        <p:nvSpPr>
          <p:cNvPr id="83" name="Rechteck 15">
            <a:extLst>
              <a:ext uri="{FF2B5EF4-FFF2-40B4-BE49-F238E27FC236}">
                <a16:creationId xmlns:a16="http://schemas.microsoft.com/office/drawing/2014/main" id="{2EFE98DC-13FA-4958-854D-5A54A7F879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827963" y="1221915"/>
            <a:ext cx="1647806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Founded in Frankfurt, Germany by Friedrich Ot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cs typeface="Calibri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135C14E-C328-4129-AE09-8135CE6DE54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83568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1952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ECB9241-4CEA-472E-BFD1-A2464C34944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661333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1983</a:t>
            </a:r>
          </a:p>
        </p:txBody>
      </p:sp>
      <p:sp>
        <p:nvSpPr>
          <p:cNvPr id="196" name="Rechteck 15">
            <a:extLst>
              <a:ext uri="{FF2B5EF4-FFF2-40B4-BE49-F238E27FC236}">
                <a16:creationId xmlns:a16="http://schemas.microsoft.com/office/drawing/2014/main" id="{CC3A82F3-B4F6-4BB1-A9A0-537E7E18489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793053" y="1221915"/>
            <a:ext cx="1390222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offers</a:t>
            </a:r>
            <a:br>
              <a:rPr lang="en-GB" sz="1000" dirty="0">
                <a:solidFill>
                  <a:srgbClr val="000000"/>
                </a:solidFill>
              </a:rPr>
            </a:br>
            <a:r>
              <a:rPr lang="en-GB" sz="1000" dirty="0">
                <a:solidFill>
                  <a:srgbClr val="000000"/>
                </a:solidFill>
              </a:rPr>
              <a:t>energy contracting</a:t>
            </a: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E0E24E02-A3DF-46D1-8058-3CA0B702FFC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47799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1992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3D62CEE7-2725-4318-96E4-5E75E13A381E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628856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1996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7B249A37-EE5A-4F77-8D43-0F7F5C06D92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0692680" y="1957586"/>
            <a:ext cx="9189719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2000 – 2010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cxnSp>
        <p:nvCxnSpPr>
          <p:cNvPr id="214" name="Gerade Verbindung 20">
            <a:extLst>
              <a:ext uri="{FF2B5EF4-FFF2-40B4-BE49-F238E27FC236}">
                <a16:creationId xmlns:a16="http://schemas.microsoft.com/office/drawing/2014/main" id="{6B123B98-881B-4F0E-9C27-0321151D23E0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9144001" y="3003798"/>
            <a:ext cx="9166861" cy="0"/>
          </a:xfrm>
          <a:prstGeom prst="line">
            <a:avLst/>
          </a:prstGeom>
          <a:ln w="9525">
            <a:solidFill>
              <a:schemeClr val="accent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545F2572-A573-428A-BF83-B0C0A29EBACB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-22860" y="3003798"/>
            <a:ext cx="9189720" cy="2139702"/>
            <a:chOff x="-22860" y="3003798"/>
            <a:chExt cx="9189720" cy="2139702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DA055B9B-F5BD-4105-8719-936B21FE7EE5}"/>
                </a:ext>
              </a:extLst>
            </p:cNvPr>
            <p:cNvPicPr>
              <a:picLocks noChangeAspect="1"/>
            </p:cNvPicPr>
            <p:nvPr>
              <p:custDataLst>
                <p:tags r:id="rId37"/>
              </p:custDataLst>
            </p:nvPr>
          </p:nvPicPr>
          <p:blipFill rotWithShape="1"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338"/>
            <a:stretch/>
          </p:blipFill>
          <p:spPr bwMode="gray">
            <a:xfrm>
              <a:off x="0" y="3003798"/>
              <a:ext cx="9144000" cy="2139702"/>
            </a:xfrm>
            <a:prstGeom prst="rect">
              <a:avLst/>
            </a:prstGeom>
          </p:spPr>
        </p:pic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8E7EAA1-6204-4454-90BF-A481598EB829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-22860" y="3005137"/>
              <a:ext cx="9189720" cy="2138363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88" name="Gerade Verbindung 20">
            <a:extLst>
              <a:ext uri="{FF2B5EF4-FFF2-40B4-BE49-F238E27FC236}">
                <a16:creationId xmlns:a16="http://schemas.microsoft.com/office/drawing/2014/main" id="{AA8CD277-5250-43FE-A82C-FB240BB9D400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468313" y="3003798"/>
            <a:ext cx="8675687" cy="0"/>
          </a:xfrm>
          <a:prstGeom prst="line">
            <a:avLst/>
          </a:prstGeom>
          <a:ln w="9525">
            <a:solidFill>
              <a:schemeClr val="accent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Oval 206">
            <a:extLst>
              <a:ext uri="{FF2B5EF4-FFF2-40B4-BE49-F238E27FC236}">
                <a16:creationId xmlns:a16="http://schemas.microsoft.com/office/drawing/2014/main" id="{FFDB9F14-63DD-4546-8DF6-DDD9885E2BF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420738" y="2956992"/>
            <a:ext cx="93612" cy="936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3" name="Rechteck 15">
            <a:extLst>
              <a:ext uri="{FF2B5EF4-FFF2-40B4-BE49-F238E27FC236}">
                <a16:creationId xmlns:a16="http://schemas.microsoft.com/office/drawing/2014/main" id="{DD3C4EC1-E631-454A-BB37-91E71ACEB96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807580" y="4187916"/>
            <a:ext cx="1982377" cy="3786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Market introduction of electric heat cost allocators</a:t>
            </a:r>
          </a:p>
        </p:txBody>
      </p:sp>
      <p:sp>
        <p:nvSpPr>
          <p:cNvPr id="199" name="Rechteck 15">
            <a:extLst>
              <a:ext uri="{FF2B5EF4-FFF2-40B4-BE49-F238E27FC236}">
                <a16:creationId xmlns:a16="http://schemas.microsoft.com/office/drawing/2014/main" id="{C6A61521-1644-4DE9-9E79-9DA4811CA2E2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776200" y="3557397"/>
            <a:ext cx="1756240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wireless systems for metering</a:t>
            </a: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C2CF407D-B037-47F0-A222-5C2205416261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2655875" y="2914938"/>
            <a:ext cx="137642" cy="1603558"/>
            <a:chOff x="2655875" y="2914938"/>
            <a:chExt cx="137642" cy="1603558"/>
          </a:xfrm>
        </p:grpSpPr>
        <p:cxnSp>
          <p:nvCxnSpPr>
            <p:cNvPr id="195" name="Gerade Verbindung 20">
              <a:extLst>
                <a:ext uri="{FF2B5EF4-FFF2-40B4-BE49-F238E27FC236}">
                  <a16:creationId xmlns:a16="http://schemas.microsoft.com/office/drawing/2014/main" id="{190062BD-F418-431D-A93B-61298C1790CF}"/>
                </a:ext>
              </a:extLst>
            </p:cNvPr>
            <p:cNvCxnSpPr>
              <a:cxnSpLocks/>
            </p:cNvCxnSpPr>
            <p:nvPr>
              <p:custDataLst>
                <p:tags r:id="rId35"/>
              </p:custDataLst>
            </p:nvPr>
          </p:nvCxnSpPr>
          <p:spPr bwMode="gray">
            <a:xfrm>
              <a:off x="2724696" y="2914938"/>
              <a:ext cx="0" cy="1603558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6" name="Arrow: Down 215">
              <a:extLst>
                <a:ext uri="{FF2B5EF4-FFF2-40B4-BE49-F238E27FC236}">
                  <a16:creationId xmlns:a16="http://schemas.microsoft.com/office/drawing/2014/main" id="{282EA8B2-70A8-41C5-BD90-FAB55B2F003B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2655875" y="3279515"/>
              <a:ext cx="137642" cy="277882"/>
            </a:xfrm>
            <a:prstGeom prst="down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:a16="http://schemas.microsoft.com/office/drawing/2014/main" id="{C1887CCF-2033-43F0-AF3C-2B1251D5220C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6558402" y="2914938"/>
            <a:ext cx="267634" cy="1056506"/>
            <a:chOff x="6666866" y="2914938"/>
            <a:chExt cx="267634" cy="1056506"/>
          </a:xfrm>
        </p:grpSpPr>
        <p:cxnSp>
          <p:nvCxnSpPr>
            <p:cNvPr id="201" name="Gerade Verbindung 20">
              <a:extLst>
                <a:ext uri="{FF2B5EF4-FFF2-40B4-BE49-F238E27FC236}">
                  <a16:creationId xmlns:a16="http://schemas.microsoft.com/office/drawing/2014/main" id="{351715FD-4DDA-4E84-BFB7-9F3D8B13F821}"/>
                </a:ext>
              </a:extLst>
            </p:cNvPr>
            <p:cNvCxnSpPr>
              <a:cxnSpLocks/>
            </p:cNvCxnSpPr>
            <p:nvPr>
              <p:custDataLst>
                <p:tags r:id="rId33"/>
              </p:custDataLst>
            </p:nvPr>
          </p:nvCxnSpPr>
          <p:spPr bwMode="gray">
            <a:xfrm>
              <a:off x="6800683" y="2914938"/>
              <a:ext cx="0" cy="1056506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Star: 5 Points 217">
              <a:extLst>
                <a:ext uri="{FF2B5EF4-FFF2-40B4-BE49-F238E27FC236}">
                  <a16:creationId xmlns:a16="http://schemas.microsoft.com/office/drawing/2014/main" id="{E5B09702-AAD5-4FAF-80EE-43CFC33F5F82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6666866" y="3249568"/>
              <a:ext cx="267634" cy="267634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24" name="Fußzeilenplatzhalter 1">
            <a:extLst>
              <a:ext uri="{FF2B5EF4-FFF2-40B4-BE49-F238E27FC236}">
                <a16:creationId xmlns:a16="http://schemas.microsoft.com/office/drawing/2014/main" id="{3247B639-AA6D-4B69-ADC5-4E66B4751E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059F107-0AC7-41D9-B9A0-A92164569C04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7962" y="1576338"/>
            <a:ext cx="1337341" cy="106541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5655D15-1A09-4E55-A0C3-CCB238A15BCE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85" r="746" b="10400"/>
          <a:stretch/>
        </p:blipFill>
        <p:spPr bwMode="gray">
          <a:xfrm>
            <a:off x="4793053" y="1576338"/>
            <a:ext cx="1337338" cy="107574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grpSp>
        <p:nvGrpSpPr>
          <p:cNvPr id="220" name="Group 219">
            <a:extLst>
              <a:ext uri="{FF2B5EF4-FFF2-40B4-BE49-F238E27FC236}">
                <a16:creationId xmlns:a16="http://schemas.microsoft.com/office/drawing/2014/main" id="{F9991BE2-F577-400B-8FEE-B3EA81710C90}"/>
              </a:ext>
            </a:extLst>
          </p:cNvPr>
          <p:cNvGrpSpPr/>
          <p:nvPr>
            <p:custDataLst>
              <p:tags r:id="rId22"/>
            </p:custDataLst>
          </p:nvPr>
        </p:nvGrpSpPr>
        <p:grpSpPr bwMode="gray">
          <a:xfrm>
            <a:off x="666599" y="1244600"/>
            <a:ext cx="160664" cy="1831206"/>
            <a:chOff x="666599" y="1244600"/>
            <a:chExt cx="160664" cy="1831206"/>
          </a:xfrm>
        </p:grpSpPr>
        <p:cxnSp>
          <p:nvCxnSpPr>
            <p:cNvPr id="192" name="Gerade Verbindung 20">
              <a:extLst>
                <a:ext uri="{FF2B5EF4-FFF2-40B4-BE49-F238E27FC236}">
                  <a16:creationId xmlns:a16="http://schemas.microsoft.com/office/drawing/2014/main" id="{69106702-F22F-4345-BD69-E92882A18AB0}"/>
                </a:ext>
              </a:extLst>
            </p:cNvPr>
            <p:cNvCxnSpPr>
              <a:cxnSpLocks/>
            </p:cNvCxnSpPr>
            <p:nvPr>
              <p:custDataLst>
                <p:tags r:id="rId31"/>
              </p:custDataLst>
            </p:nvPr>
          </p:nvCxnSpPr>
          <p:spPr bwMode="gray">
            <a:xfrm>
              <a:off x="746931" y="1244600"/>
              <a:ext cx="0" cy="1831206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21DC495-063C-47AC-B4BF-43B1FCDBCD1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666599" y="2491418"/>
              <a:ext cx="160664" cy="16066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2" name="Group 221">
            <a:extLst>
              <a:ext uri="{FF2B5EF4-FFF2-40B4-BE49-F238E27FC236}">
                <a16:creationId xmlns:a16="http://schemas.microsoft.com/office/drawing/2014/main" id="{74B677FE-30FD-44C3-B781-44E9EC733BBF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611373" y="1243013"/>
            <a:ext cx="199578" cy="1832793"/>
            <a:chOff x="4939096" y="1243013"/>
            <a:chExt cx="199578" cy="1832793"/>
          </a:xfrm>
        </p:grpSpPr>
        <p:cxnSp>
          <p:nvCxnSpPr>
            <p:cNvPr id="198" name="Gerade Verbindung 20">
              <a:extLst>
                <a:ext uri="{FF2B5EF4-FFF2-40B4-BE49-F238E27FC236}">
                  <a16:creationId xmlns:a16="http://schemas.microsoft.com/office/drawing/2014/main" id="{F5AB49F0-41BE-4169-BFA2-427106F9F785}"/>
                </a:ext>
              </a:extLst>
            </p:cNvPr>
            <p:cNvCxnSpPr>
              <a:cxnSpLocks/>
            </p:cNvCxnSpPr>
            <p:nvPr>
              <p:custDataLst>
                <p:tags r:id="rId29"/>
              </p:custDataLst>
            </p:nvPr>
          </p:nvCxnSpPr>
          <p:spPr bwMode="gray">
            <a:xfrm>
              <a:off x="5038885" y="1243013"/>
              <a:ext cx="0" cy="1832793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7" name="Isosceles Triangle 216">
              <a:extLst>
                <a:ext uri="{FF2B5EF4-FFF2-40B4-BE49-F238E27FC236}">
                  <a16:creationId xmlns:a16="http://schemas.microsoft.com/office/drawing/2014/main" id="{02503A63-A837-4D1B-8192-AA981515B19F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4939096" y="2369259"/>
              <a:ext cx="199578" cy="172050"/>
            </a:xfrm>
            <a:prstGeom prst="triangl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5F14BD9-B63D-4656-A7E1-0EF2FAEBCAB6}"/>
              </a:ext>
            </a:extLst>
          </p:cNvPr>
          <p:cNvGrpSpPr/>
          <p:nvPr>
            <p:custDataLst>
              <p:tags r:id="rId24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54" name="Rechteck 12">
              <a:extLst>
                <a:ext uri="{FF2B5EF4-FFF2-40B4-BE49-F238E27FC236}">
                  <a16:creationId xmlns:a16="http://schemas.microsoft.com/office/drawing/2014/main" id="{875BB1D1-C694-4EAA-B317-0803A70293FC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ED6E9981-D8DF-4A5A-BCD4-BF014049D23F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59" name="Rectangle 5">
                <a:extLst>
                  <a:ext uri="{FF2B5EF4-FFF2-40B4-BE49-F238E27FC236}">
                    <a16:creationId xmlns:a16="http://schemas.microsoft.com/office/drawing/2014/main" id="{7C5F454B-34D8-40AA-B312-FFC12A32E0FE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012F885D-BFF4-48AE-B80E-74E009117CA6}"/>
                  </a:ext>
                </a:extLst>
              </p:cNvPr>
              <p:cNvGrpSpPr/>
              <p:nvPr userDrawn="1">
                <p:custDataLst>
                  <p:tags r:id="rId2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61" name="Freeform 6">
                  <a:extLst>
                    <a:ext uri="{FF2B5EF4-FFF2-40B4-BE49-F238E27FC236}">
                      <a16:creationId xmlns:a16="http://schemas.microsoft.com/office/drawing/2014/main" id="{EA97597C-FB87-4E25-AB7F-4592E40753B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7">
                  <a:extLst>
                    <a:ext uri="{FF2B5EF4-FFF2-40B4-BE49-F238E27FC236}">
                      <a16:creationId xmlns:a16="http://schemas.microsoft.com/office/drawing/2014/main" id="{2C85F0FB-0F38-4BA8-B01C-1061471F70A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8">
                  <a:extLst>
                    <a:ext uri="{FF2B5EF4-FFF2-40B4-BE49-F238E27FC236}">
                      <a16:creationId xmlns:a16="http://schemas.microsoft.com/office/drawing/2014/main" id="{2062A845-8C18-4483-B5D0-751415C9A93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9">
                  <a:extLst>
                    <a:ext uri="{FF2B5EF4-FFF2-40B4-BE49-F238E27FC236}">
                      <a16:creationId xmlns:a16="http://schemas.microsoft.com/office/drawing/2014/main" id="{2565C7FD-7935-408E-99DB-0F43883249A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10">
                  <a:extLst>
                    <a:ext uri="{FF2B5EF4-FFF2-40B4-BE49-F238E27FC236}">
                      <a16:creationId xmlns:a16="http://schemas.microsoft.com/office/drawing/2014/main" id="{0C89E685-9E42-48E3-9150-C1894E93C12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11">
                  <a:extLst>
                    <a:ext uri="{FF2B5EF4-FFF2-40B4-BE49-F238E27FC236}">
                      <a16:creationId xmlns:a16="http://schemas.microsoft.com/office/drawing/2014/main" id="{E1B6682A-00EC-44DB-9512-F84F0ED31F6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12">
                  <a:extLst>
                    <a:ext uri="{FF2B5EF4-FFF2-40B4-BE49-F238E27FC236}">
                      <a16:creationId xmlns:a16="http://schemas.microsoft.com/office/drawing/2014/main" id="{F56BCDBA-8B51-4599-B3F9-FF970CFB388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13">
                  <a:extLst>
                    <a:ext uri="{FF2B5EF4-FFF2-40B4-BE49-F238E27FC236}">
                      <a16:creationId xmlns:a16="http://schemas.microsoft.com/office/drawing/2014/main" id="{74987D6A-BA35-46B8-9D8D-09CA2969252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pic>
        <p:nvPicPr>
          <p:cNvPr id="72" name="Picture 13">
            <a:extLst>
              <a:ext uri="{FF2B5EF4-FFF2-40B4-BE49-F238E27FC236}">
                <a16:creationId xmlns:a16="http://schemas.microsoft.com/office/drawing/2014/main" id="{0AE24306-A849-40C0-A3AC-31DA65138905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1088" r="-57259" b="-2543"/>
          <a:stretch/>
        </p:blipFill>
        <p:spPr bwMode="gray">
          <a:xfrm>
            <a:off x="2813016" y="3092659"/>
            <a:ext cx="1336477" cy="110310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CA22E6A4-B97B-41E1-8F34-DE0A02866889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C34F31-47CA-4533-A176-4BF330C98F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678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15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5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mph" presetSubtype="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3" dur="100" fill="hold"/>
                                        <p:tgtEl>
                                          <p:spTgt spid="207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25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50"/>
                            </p:stCondLst>
                            <p:childTnLst>
                              <p:par>
                                <p:cTn id="2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3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8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300"/>
                            </p:stCondLst>
                            <p:childTnLst>
                              <p:par>
                                <p:cTn id="4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5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50"/>
                            </p:stCondLst>
                            <p:childTnLst>
                              <p:par>
                                <p:cTn id="56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75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8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300"/>
                            </p:stCondLst>
                            <p:childTnLst>
                              <p:par>
                                <p:cTn id="7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5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50" fill="hold"/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05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/>
      <p:bldP spid="83" grpId="0"/>
      <p:bldP spid="111" grpId="0"/>
      <p:bldP spid="194" grpId="0"/>
      <p:bldP spid="196" grpId="0"/>
      <p:bldP spid="197" grpId="0"/>
      <p:bldP spid="200" grpId="0"/>
      <p:bldP spid="207" grpId="0" animBg="1"/>
      <p:bldP spid="207" grpId="1" animBg="1"/>
      <p:bldP spid="193" grpId="0"/>
      <p:bldP spid="19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" name="Picture 153">
            <a:extLst>
              <a:ext uri="{FF2B5EF4-FFF2-40B4-BE49-F238E27FC236}">
                <a16:creationId xmlns:a16="http://schemas.microsoft.com/office/drawing/2014/main" id="{9F1257AF-CB3C-4A4C-AB2A-CFDA9549CE9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409" r="8278" b="8306"/>
          <a:stretch/>
        </p:blipFill>
        <p:spPr bwMode="gray">
          <a:xfrm rot="10800000">
            <a:off x="-11430" y="1"/>
            <a:ext cx="9166860" cy="5143499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FC1EF591-743B-414F-A2B9-840DB0D47F8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1"/>
          <a:stretch/>
        </p:blipFill>
        <p:spPr bwMode="gray">
          <a:xfrm>
            <a:off x="0" y="625004"/>
            <a:ext cx="9144000" cy="4518496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8397ED3A-516F-4DB2-960B-1992073B511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22860" y="-23078"/>
            <a:ext cx="9178290" cy="518965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9092BD7-12C6-45F7-A8AB-FB825D68331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22861" y="1957586"/>
            <a:ext cx="9189719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2000 – 2010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sp>
        <p:nvSpPr>
          <p:cNvPr id="83" name="Rechteck 15">
            <a:extLst>
              <a:ext uri="{FF2B5EF4-FFF2-40B4-BE49-F238E27FC236}">
                <a16:creationId xmlns:a16="http://schemas.microsoft.com/office/drawing/2014/main" id="{2EFE98DC-13FA-4958-854D-5A54A7F879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45902" y="1995691"/>
            <a:ext cx="1463350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Start of remote metering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135C14E-C328-4129-AE09-8135CE6DE54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03536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05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ECB9241-4CEA-472E-BFD1-A2464C34944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845908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06</a:t>
            </a:r>
          </a:p>
        </p:txBody>
      </p:sp>
      <p:sp>
        <p:nvSpPr>
          <p:cNvPr id="52" name="Rechteck 15">
            <a:extLst>
              <a:ext uri="{FF2B5EF4-FFF2-40B4-BE49-F238E27FC236}">
                <a16:creationId xmlns:a16="http://schemas.microsoft.com/office/drawing/2014/main" id="{C9228C9B-DF9A-442E-8898-DF7A119C123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560216" y="1221915"/>
            <a:ext cx="1485336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radio smoke detector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295C264-3C20-4F0E-A575-8A609E7E79B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419872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07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95D3222-A421-429A-9DAD-65D8BD2FAE9E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5000573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09</a:t>
            </a:r>
          </a:p>
        </p:txBody>
      </p:sp>
      <p:sp>
        <p:nvSpPr>
          <p:cNvPr id="60" name="Rechteck 15">
            <a:extLst>
              <a:ext uri="{FF2B5EF4-FFF2-40B4-BE49-F238E27FC236}">
                <a16:creationId xmlns:a16="http://schemas.microsoft.com/office/drawing/2014/main" id="{CB0AA1FF-CDEF-41C8-B3B9-B561CE954D1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678349" y="1995691"/>
            <a:ext cx="1961024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Energy management system for </a:t>
            </a: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energy contracting according to DIN EN ISO 5000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2C5E373-10A0-4112-9302-A7CCDCC0CBE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532537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0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393A5E8B-728D-4A06-92C5-8D6414BE2A65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9239884" y="1957586"/>
            <a:ext cx="9189719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2011–2019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08654FD-CD48-410D-8757-DD1AD5B8CFFD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-22860" y="3003798"/>
            <a:ext cx="9189720" cy="2139702"/>
            <a:chOff x="-22860" y="3003798"/>
            <a:chExt cx="9189720" cy="2139702"/>
          </a:xfrm>
        </p:grpSpPr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24D9DE8E-0D34-4250-B1A9-27141B20F97E}"/>
                </a:ext>
              </a:extLst>
            </p:cNvPr>
            <p:cNvPicPr>
              <a:picLocks noChangeAspect="1"/>
            </p:cNvPicPr>
            <p:nvPr>
              <p:custDataLst>
                <p:tags r:id="rId55"/>
              </p:custDataLst>
            </p:nvPr>
          </p:nvPicPr>
          <p:blipFill rotWithShape="1"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338"/>
            <a:stretch/>
          </p:blipFill>
          <p:spPr bwMode="gray">
            <a:xfrm>
              <a:off x="0" y="3003798"/>
              <a:ext cx="9144000" cy="2139702"/>
            </a:xfrm>
            <a:prstGeom prst="rect">
              <a:avLst/>
            </a:prstGeom>
          </p:spPr>
        </p:pic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AFAEFD20-2079-4715-8602-D6E2DF823E89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gray">
            <a:xfrm>
              <a:off x="-22860" y="3005137"/>
              <a:ext cx="9189720" cy="2138363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88" name="Gerade Verbindung 20">
            <a:extLst>
              <a:ext uri="{FF2B5EF4-FFF2-40B4-BE49-F238E27FC236}">
                <a16:creationId xmlns:a16="http://schemas.microsoft.com/office/drawing/2014/main" id="{AA8CD277-5250-43FE-A82C-FB240BB9D400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-1260648" y="3003798"/>
            <a:ext cx="10404650" cy="0"/>
          </a:xfrm>
          <a:prstGeom prst="line">
            <a:avLst/>
          </a:prstGeom>
          <a:ln w="9525">
            <a:solidFill>
              <a:schemeClr val="accent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hteck 15">
            <a:extLst>
              <a:ext uri="{FF2B5EF4-FFF2-40B4-BE49-F238E27FC236}">
                <a16:creationId xmlns:a16="http://schemas.microsoft.com/office/drawing/2014/main" id="{DD3C4EC1-E631-454A-BB37-91E71ACEB96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968242" y="4278593"/>
            <a:ext cx="2501798" cy="44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Market introduction</a:t>
            </a:r>
            <a:br>
              <a:rPr lang="en-GB" sz="1000" dirty="0">
                <a:solidFill>
                  <a:srgbClr val="000000"/>
                </a:solidFill>
              </a:rPr>
            </a:br>
            <a:r>
              <a:rPr lang="en-GB" sz="1000" dirty="0">
                <a:solidFill>
                  <a:srgbClr val="000000"/>
                </a:solidFill>
              </a:rPr>
              <a:t>of </a:t>
            </a:r>
            <a:r>
              <a:rPr lang="en-GB" sz="1000" dirty="0" err="1">
                <a:solidFill>
                  <a:srgbClr val="000000"/>
                </a:solidFill>
              </a:rPr>
              <a:t>adapterm</a:t>
            </a:r>
            <a:r>
              <a:rPr lang="en-GB" sz="1000" dirty="0">
                <a:solidFill>
                  <a:srgbClr val="000000"/>
                </a:solidFill>
              </a:rPr>
              <a:t> energy</a:t>
            </a:r>
            <a:br>
              <a:rPr lang="en-GB" sz="1000" dirty="0">
                <a:solidFill>
                  <a:srgbClr val="000000"/>
                </a:solidFill>
              </a:rPr>
            </a:br>
            <a:r>
              <a:rPr lang="en-GB" sz="1000" dirty="0">
                <a:solidFill>
                  <a:srgbClr val="000000"/>
                </a:solidFill>
              </a:rPr>
              <a:t>saving system</a:t>
            </a:r>
          </a:p>
        </p:txBody>
      </p:sp>
      <p:sp>
        <p:nvSpPr>
          <p:cNvPr id="56" name="Rechteck 15">
            <a:extLst>
              <a:ext uri="{FF2B5EF4-FFF2-40B4-BE49-F238E27FC236}">
                <a16:creationId xmlns:a16="http://schemas.microsoft.com/office/drawing/2014/main" id="{B165FBC3-3A0D-4FE2-BF26-17FC0945BF24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129918" y="4195763"/>
            <a:ext cx="1386298" cy="373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</a:t>
            </a: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Smart System</a:t>
            </a:r>
          </a:p>
        </p:txBody>
      </p:sp>
      <p:sp>
        <p:nvSpPr>
          <p:cNvPr id="123" name="Fußzeilenplatzhalter 1">
            <a:extLst>
              <a:ext uri="{FF2B5EF4-FFF2-40B4-BE49-F238E27FC236}">
                <a16:creationId xmlns:a16="http://schemas.microsoft.com/office/drawing/2014/main" id="{44AC9BA0-87F1-4AFD-9619-76AEE80CB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cxnSp>
        <p:nvCxnSpPr>
          <p:cNvPr id="195" name="Gerade Verbindung 20">
            <a:extLst>
              <a:ext uri="{FF2B5EF4-FFF2-40B4-BE49-F238E27FC236}">
                <a16:creationId xmlns:a16="http://schemas.microsoft.com/office/drawing/2014/main" id="{190062BD-F418-431D-A93B-61298C1790CF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gray">
          <a:xfrm>
            <a:off x="1909271" y="2914938"/>
            <a:ext cx="0" cy="1766600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20">
            <a:extLst>
              <a:ext uri="{FF2B5EF4-FFF2-40B4-BE49-F238E27FC236}">
                <a16:creationId xmlns:a16="http://schemas.microsoft.com/office/drawing/2014/main" id="{3B72B9AD-5D21-4B86-A27F-DF1E9A8603A0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5063936" y="2914938"/>
            <a:ext cx="0" cy="1614200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6" name="Picture 145">
            <a:extLst>
              <a:ext uri="{FF2B5EF4-FFF2-40B4-BE49-F238E27FC236}">
                <a16:creationId xmlns:a16="http://schemas.microsoft.com/office/drawing/2014/main" id="{75FD641E-BC10-424A-BEBE-0649BB6F5E10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 rotWithShape="1"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6" b="15894"/>
          <a:stretch/>
        </p:blipFill>
        <p:spPr bwMode="gray">
          <a:xfrm>
            <a:off x="3560216" y="1576339"/>
            <a:ext cx="1347382" cy="107574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cxnSp>
        <p:nvCxnSpPr>
          <p:cNvPr id="192" name="Gerade Verbindung 20">
            <a:extLst>
              <a:ext uri="{FF2B5EF4-FFF2-40B4-BE49-F238E27FC236}">
                <a16:creationId xmlns:a16="http://schemas.microsoft.com/office/drawing/2014/main" id="{69106702-F22F-4345-BD69-E92882A18AB0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466899" y="2019300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20">
            <a:extLst>
              <a:ext uri="{FF2B5EF4-FFF2-40B4-BE49-F238E27FC236}">
                <a16:creationId xmlns:a16="http://schemas.microsoft.com/office/drawing/2014/main" id="{24641EE4-5D63-40CB-8A68-CE38497317B1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3483235" y="1238250"/>
            <a:ext cx="0" cy="183755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0">
            <a:extLst>
              <a:ext uri="{FF2B5EF4-FFF2-40B4-BE49-F238E27FC236}">
                <a16:creationId xmlns:a16="http://schemas.microsoft.com/office/drawing/2014/main" id="{693BB217-B9BA-40DE-89A4-8DA41838E413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6595900" y="2019300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963391F-0D1E-48C9-8214-479D38BBDD79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880" t="-5576" r="-41880" b="-5576"/>
          <a:stretch/>
        </p:blipFill>
        <p:spPr bwMode="gray">
          <a:xfrm>
            <a:off x="5141504" y="3095086"/>
            <a:ext cx="1337337" cy="109283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8E8AE98A-BB11-42EE-AE0A-F5F8EF0DD156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-8917291" y="1957586"/>
            <a:ext cx="8675688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1950 – 2000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sp>
        <p:nvSpPr>
          <p:cNvPr id="94" name="Rechteck 15">
            <a:extLst>
              <a:ext uri="{FF2B5EF4-FFF2-40B4-BE49-F238E27FC236}">
                <a16:creationId xmlns:a16="http://schemas.microsoft.com/office/drawing/2014/main" id="{651C87A8-B15E-4D39-937B-D69B551FFCD6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-8557640" y="1221915"/>
            <a:ext cx="1647806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Founded in Frankfurt, Germany by Friedrich Ott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F3F85A4-7E0C-4DC0-9D4C-DE5C7DA31A6F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-8702035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1952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046A148-B0E7-4D00-B9DE-C6FF5690869C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-6724270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1983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97" name="Rechteck 15">
            <a:extLst>
              <a:ext uri="{FF2B5EF4-FFF2-40B4-BE49-F238E27FC236}">
                <a16:creationId xmlns:a16="http://schemas.microsoft.com/office/drawing/2014/main" id="{D9585BF0-FEE9-4586-920D-87BB6F8E76CA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-4264827" y="1221915"/>
            <a:ext cx="1390222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Techem offers</a:t>
            </a:r>
            <a:br>
              <a:rPr lang="en-GB" sz="1000">
                <a:solidFill>
                  <a:srgbClr val="000000"/>
                </a:solidFill>
              </a:rPr>
            </a:br>
            <a:r>
              <a:rPr lang="en-GB" sz="1000">
                <a:solidFill>
                  <a:srgbClr val="000000"/>
                </a:solidFill>
              </a:rPr>
              <a:t>energy contracting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EC6965F-8E6F-459A-A153-DE3060E1A1AC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-4410081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1992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71993C6-95CF-488E-BB68-8C0500525BDA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-2648283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1996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6407A789-F2EB-4DE3-9D1C-DB963565E855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-3060848" y="2956992"/>
            <a:ext cx="93612" cy="9361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5" name="Rechteck 15">
            <a:extLst>
              <a:ext uri="{FF2B5EF4-FFF2-40B4-BE49-F238E27FC236}">
                <a16:creationId xmlns:a16="http://schemas.microsoft.com/office/drawing/2014/main" id="{B5B52177-44A3-49F6-86F7-0C8E365F7FB3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-6578023" y="4187916"/>
            <a:ext cx="1982377" cy="3786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Market introduction of electric heat cost allocator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16" name="Rechteck 15">
            <a:extLst>
              <a:ext uri="{FF2B5EF4-FFF2-40B4-BE49-F238E27FC236}">
                <a16:creationId xmlns:a16="http://schemas.microsoft.com/office/drawing/2014/main" id="{CE3046E4-673A-4518-9321-5BB60D969254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-2462272" y="3557397"/>
            <a:ext cx="1756240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Introduction of wireless systems for metering</a:t>
            </a:r>
            <a:endParaRPr lang="en-GB" sz="1000" dirty="0">
              <a:solidFill>
                <a:srgbClr val="000000"/>
              </a:solidFill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FD3E4BED-D110-4FE2-B245-AAE70271DEE1}"/>
              </a:ext>
            </a:extLst>
          </p:cNvPr>
          <p:cNvGrpSpPr/>
          <p:nvPr>
            <p:custDataLst>
              <p:tags r:id="rId35"/>
            </p:custDataLst>
          </p:nvPr>
        </p:nvGrpSpPr>
        <p:grpSpPr bwMode="gray">
          <a:xfrm>
            <a:off x="-6729728" y="2914938"/>
            <a:ext cx="137642" cy="1603558"/>
            <a:chOff x="2655875" y="2914938"/>
            <a:chExt cx="137642" cy="1603558"/>
          </a:xfrm>
        </p:grpSpPr>
        <p:cxnSp>
          <p:nvCxnSpPr>
            <p:cNvPr id="118" name="Gerade Verbindung 20">
              <a:extLst>
                <a:ext uri="{FF2B5EF4-FFF2-40B4-BE49-F238E27FC236}">
                  <a16:creationId xmlns:a16="http://schemas.microsoft.com/office/drawing/2014/main" id="{E5E37ED0-6CF6-45AD-A25E-687125223631}"/>
                </a:ext>
              </a:extLst>
            </p:cNvPr>
            <p:cNvCxnSpPr>
              <a:cxnSpLocks/>
            </p:cNvCxnSpPr>
            <p:nvPr>
              <p:custDataLst>
                <p:tags r:id="rId53"/>
              </p:custDataLst>
            </p:nvPr>
          </p:nvCxnSpPr>
          <p:spPr bwMode="gray">
            <a:xfrm>
              <a:off x="2724696" y="2914938"/>
              <a:ext cx="0" cy="1603558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Arrow: Down 118">
              <a:extLst>
                <a:ext uri="{FF2B5EF4-FFF2-40B4-BE49-F238E27FC236}">
                  <a16:creationId xmlns:a16="http://schemas.microsoft.com/office/drawing/2014/main" id="{1D367A6D-A285-47DF-B410-6F50D2D137B2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2655875" y="3279515"/>
              <a:ext cx="137642" cy="277882"/>
            </a:xfrm>
            <a:prstGeom prst="downArrow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5EDE5C82-11D3-4761-AB6F-80E21C635B80}"/>
              </a:ext>
            </a:extLst>
          </p:cNvPr>
          <p:cNvGrpSpPr/>
          <p:nvPr>
            <p:custDataLst>
              <p:tags r:id="rId36"/>
            </p:custDataLst>
          </p:nvPr>
        </p:nvGrpSpPr>
        <p:grpSpPr bwMode="gray">
          <a:xfrm>
            <a:off x="-2718737" y="2914938"/>
            <a:ext cx="267634" cy="1056506"/>
            <a:chOff x="6666866" y="2914938"/>
            <a:chExt cx="267634" cy="1056506"/>
          </a:xfrm>
        </p:grpSpPr>
        <p:cxnSp>
          <p:nvCxnSpPr>
            <p:cNvPr id="121" name="Gerade Verbindung 20">
              <a:extLst>
                <a:ext uri="{FF2B5EF4-FFF2-40B4-BE49-F238E27FC236}">
                  <a16:creationId xmlns:a16="http://schemas.microsoft.com/office/drawing/2014/main" id="{6969E413-D346-4210-91D8-008DFE1004D1}"/>
                </a:ext>
              </a:extLst>
            </p:cNvPr>
            <p:cNvCxnSpPr>
              <a:cxnSpLocks/>
            </p:cNvCxnSpPr>
            <p:nvPr>
              <p:custDataLst>
                <p:tags r:id="rId51"/>
              </p:custDataLst>
            </p:nvPr>
          </p:nvCxnSpPr>
          <p:spPr bwMode="gray">
            <a:xfrm>
              <a:off x="6800683" y="2914938"/>
              <a:ext cx="0" cy="1056506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Star: 5 Points 142">
              <a:extLst>
                <a:ext uri="{FF2B5EF4-FFF2-40B4-BE49-F238E27FC236}">
                  <a16:creationId xmlns:a16="http://schemas.microsoft.com/office/drawing/2014/main" id="{7C0AD120-3AF7-457A-8AED-841C9ECAB080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6666866" y="3249568"/>
              <a:ext cx="267634" cy="267634"/>
            </a:xfrm>
            <a:prstGeom prst="star5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C759AEED-8872-46F8-9DE6-77E086C541B0}"/>
              </a:ext>
            </a:extLst>
          </p:cNvPr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8557641" y="1576338"/>
            <a:ext cx="1337341" cy="106541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530C35ED-BAE6-47E1-BC0E-EDEE8DFC9003}"/>
              </a:ext>
            </a:extLst>
          </p:cNvPr>
          <p:cNvPicPr>
            <a:picLocks noChangeAspect="1"/>
          </p:cNvPicPr>
          <p:nvPr>
            <p:custDataLst>
              <p:tags r:id="rId38"/>
            </p:custDataLst>
          </p:nvPr>
        </p:nvPicPr>
        <p:blipFill rotWithShape="1"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85" r="746" b="10400"/>
          <a:stretch/>
        </p:blipFill>
        <p:spPr bwMode="gray">
          <a:xfrm>
            <a:off x="-4264827" y="1576338"/>
            <a:ext cx="1337338" cy="107574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grpSp>
        <p:nvGrpSpPr>
          <p:cNvPr id="147" name="Group 146">
            <a:extLst>
              <a:ext uri="{FF2B5EF4-FFF2-40B4-BE49-F238E27FC236}">
                <a16:creationId xmlns:a16="http://schemas.microsoft.com/office/drawing/2014/main" id="{31A0A304-8C44-4D47-9898-D4367BAFA8D9}"/>
              </a:ext>
            </a:extLst>
          </p:cNvPr>
          <p:cNvGrpSpPr/>
          <p:nvPr>
            <p:custDataLst>
              <p:tags r:id="rId39"/>
            </p:custDataLst>
          </p:nvPr>
        </p:nvGrpSpPr>
        <p:grpSpPr bwMode="gray">
          <a:xfrm>
            <a:off x="-8719004" y="1244600"/>
            <a:ext cx="160664" cy="1831206"/>
            <a:chOff x="666599" y="1244600"/>
            <a:chExt cx="160664" cy="1831206"/>
          </a:xfrm>
        </p:grpSpPr>
        <p:cxnSp>
          <p:nvCxnSpPr>
            <p:cNvPr id="148" name="Gerade Verbindung 20">
              <a:extLst>
                <a:ext uri="{FF2B5EF4-FFF2-40B4-BE49-F238E27FC236}">
                  <a16:creationId xmlns:a16="http://schemas.microsoft.com/office/drawing/2014/main" id="{8CDAB641-7107-411F-91BF-09A9B52E614A}"/>
                </a:ext>
              </a:extLst>
            </p:cNvPr>
            <p:cNvCxnSpPr>
              <a:cxnSpLocks/>
            </p:cNvCxnSpPr>
            <p:nvPr>
              <p:custDataLst>
                <p:tags r:id="rId49"/>
              </p:custDataLst>
            </p:nvPr>
          </p:nvCxnSpPr>
          <p:spPr bwMode="gray">
            <a:xfrm>
              <a:off x="746931" y="1244600"/>
              <a:ext cx="0" cy="1831206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F0784306-9DF6-4C06-8669-FB2B62DC7F99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666599" y="2491418"/>
              <a:ext cx="160664" cy="16066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0A52ACB0-8442-45D7-9965-4860D26239D5}"/>
              </a:ext>
            </a:extLst>
          </p:cNvPr>
          <p:cNvGrpSpPr/>
          <p:nvPr>
            <p:custDataLst>
              <p:tags r:id="rId40"/>
            </p:custDataLst>
          </p:nvPr>
        </p:nvGrpSpPr>
        <p:grpSpPr bwMode="gray">
          <a:xfrm>
            <a:off x="-4446507" y="1243013"/>
            <a:ext cx="199578" cy="1832793"/>
            <a:chOff x="4939096" y="1243013"/>
            <a:chExt cx="199578" cy="1832793"/>
          </a:xfrm>
        </p:grpSpPr>
        <p:cxnSp>
          <p:nvCxnSpPr>
            <p:cNvPr id="151" name="Gerade Verbindung 20">
              <a:extLst>
                <a:ext uri="{FF2B5EF4-FFF2-40B4-BE49-F238E27FC236}">
                  <a16:creationId xmlns:a16="http://schemas.microsoft.com/office/drawing/2014/main" id="{F2D8CFD1-3292-4611-8CDE-E18304C4DF97}"/>
                </a:ext>
              </a:extLst>
            </p:cNvPr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gray">
            <a:xfrm>
              <a:off x="5038885" y="1243013"/>
              <a:ext cx="0" cy="1832793"/>
            </a:xfrm>
            <a:prstGeom prst="line">
              <a:avLst/>
            </a:prstGeom>
            <a:ln w="9525">
              <a:solidFill>
                <a:schemeClr val="tx1"/>
              </a:solidFill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Isosceles Triangle 151">
              <a:extLst>
                <a:ext uri="{FF2B5EF4-FFF2-40B4-BE49-F238E27FC236}">
                  <a16:creationId xmlns:a16="http://schemas.microsoft.com/office/drawing/2014/main" id="{68C57ED2-5C7B-4B21-B2EA-6163D447EE1B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4939096" y="2369259"/>
              <a:ext cx="199578" cy="172050"/>
            </a:xfrm>
            <a:prstGeom prst="triangl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8" name="Picture 68">
            <a:extLst>
              <a:ext uri="{FF2B5EF4-FFF2-40B4-BE49-F238E27FC236}">
                <a16:creationId xmlns:a16="http://schemas.microsoft.com/office/drawing/2014/main" id="{AFE4FD3E-2EF9-4BC6-9832-561C3FD768A1}"/>
              </a:ext>
            </a:extLst>
          </p:cNvPr>
          <p:cNvPicPr>
            <a:picLocks noChangeAspect="1"/>
          </p:cNvPicPr>
          <p:nvPr>
            <p:custDataLst>
              <p:tags r:id="rId41"/>
            </p:custDataLst>
          </p:nvPr>
        </p:nvPicPr>
        <p:blipFill rotWithShape="1"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1" t="9249" r="23454" b="9249"/>
          <a:stretch/>
        </p:blipFill>
        <p:spPr bwMode="gray">
          <a:xfrm>
            <a:off x="1991617" y="3095086"/>
            <a:ext cx="1337338" cy="109283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grpSp>
        <p:nvGrpSpPr>
          <p:cNvPr id="74" name="Group 73">
            <a:extLst>
              <a:ext uri="{FF2B5EF4-FFF2-40B4-BE49-F238E27FC236}">
                <a16:creationId xmlns:a16="http://schemas.microsoft.com/office/drawing/2014/main" id="{0AEEA875-D88A-43CC-9D4E-BED6B4AD00E9}"/>
              </a:ext>
            </a:extLst>
          </p:cNvPr>
          <p:cNvGrpSpPr/>
          <p:nvPr>
            <p:custDataLst>
              <p:tags r:id="rId42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75" name="Rechteck 12">
              <a:extLst>
                <a:ext uri="{FF2B5EF4-FFF2-40B4-BE49-F238E27FC236}">
                  <a16:creationId xmlns:a16="http://schemas.microsoft.com/office/drawing/2014/main" id="{62138C5B-ECE7-4213-B10D-84F8FCC30B5D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C693485-EB8C-4DCD-852E-75127EAC042D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77" name="Rectangle 5">
                <a:extLst>
                  <a:ext uri="{FF2B5EF4-FFF2-40B4-BE49-F238E27FC236}">
                    <a16:creationId xmlns:a16="http://schemas.microsoft.com/office/drawing/2014/main" id="{B082690F-70D4-4AD5-84EC-B7DF2F3DAE46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45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19EDE396-797C-4AD4-8806-6F374FBD1D12}"/>
                  </a:ext>
                </a:extLst>
              </p:cNvPr>
              <p:cNvGrpSpPr/>
              <p:nvPr userDrawn="1">
                <p:custDataLst>
                  <p:tags r:id="rId46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9" name="Freeform 6">
                  <a:extLst>
                    <a:ext uri="{FF2B5EF4-FFF2-40B4-BE49-F238E27FC236}">
                      <a16:creationId xmlns:a16="http://schemas.microsoft.com/office/drawing/2014/main" id="{FD7F752D-9B16-45A3-85E4-FB10E9B0E38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7">
                  <a:extLst>
                    <a:ext uri="{FF2B5EF4-FFF2-40B4-BE49-F238E27FC236}">
                      <a16:creationId xmlns:a16="http://schemas.microsoft.com/office/drawing/2014/main" id="{B9B04B44-2678-45FF-8952-8B85B0AA66B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8">
                  <a:extLst>
                    <a:ext uri="{FF2B5EF4-FFF2-40B4-BE49-F238E27FC236}">
                      <a16:creationId xmlns:a16="http://schemas.microsoft.com/office/drawing/2014/main" id="{0A58A8DD-070C-498E-8811-818463CA54B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9">
                  <a:extLst>
                    <a:ext uri="{FF2B5EF4-FFF2-40B4-BE49-F238E27FC236}">
                      <a16:creationId xmlns:a16="http://schemas.microsoft.com/office/drawing/2014/main" id="{DEBF5D09-F959-4B92-BD25-579D399982C5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10">
                  <a:extLst>
                    <a:ext uri="{FF2B5EF4-FFF2-40B4-BE49-F238E27FC236}">
                      <a16:creationId xmlns:a16="http://schemas.microsoft.com/office/drawing/2014/main" id="{258E19F1-0A49-4769-9BB0-393F829C3C3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11">
                  <a:extLst>
                    <a:ext uri="{FF2B5EF4-FFF2-40B4-BE49-F238E27FC236}">
                      <a16:creationId xmlns:a16="http://schemas.microsoft.com/office/drawing/2014/main" id="{17A61A2F-84F2-47CB-8869-AE0C847113D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12">
                  <a:extLst>
                    <a:ext uri="{FF2B5EF4-FFF2-40B4-BE49-F238E27FC236}">
                      <a16:creationId xmlns:a16="http://schemas.microsoft.com/office/drawing/2014/main" id="{68E391ED-A139-4CC6-9517-D4EF0E035EC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13">
                  <a:extLst>
                    <a:ext uri="{FF2B5EF4-FFF2-40B4-BE49-F238E27FC236}">
                      <a16:creationId xmlns:a16="http://schemas.microsoft.com/office/drawing/2014/main" id="{BACA7388-5505-4666-B1C9-815670951A9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pic>
        <p:nvPicPr>
          <p:cNvPr id="89" name="Picture 13">
            <a:extLst>
              <a:ext uri="{FF2B5EF4-FFF2-40B4-BE49-F238E27FC236}">
                <a16:creationId xmlns:a16="http://schemas.microsoft.com/office/drawing/2014/main" id="{697026F8-FD69-49C6-8377-840B0E80CEEB}"/>
              </a:ext>
            </a:extLst>
          </p:cNvPr>
          <p:cNvPicPr>
            <a:picLocks noChangeAspect="1"/>
          </p:cNvPicPr>
          <p:nvPr>
            <p:custDataLst>
              <p:tags r:id="rId43"/>
            </p:custDataLst>
          </p:nvPr>
        </p:nvPicPr>
        <p:blipFill rotWithShape="1"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1088" r="-57259" b="-2543"/>
          <a:stretch/>
        </p:blipFill>
        <p:spPr bwMode="gray">
          <a:xfrm>
            <a:off x="-6578453" y="3092659"/>
            <a:ext cx="1336477" cy="110310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sp>
        <p:nvSpPr>
          <p:cNvPr id="69" name="Textplatzhalter 6">
            <a:extLst>
              <a:ext uri="{FF2B5EF4-FFF2-40B4-BE49-F238E27FC236}">
                <a16:creationId xmlns:a16="http://schemas.microsoft.com/office/drawing/2014/main" id="{705D0755-919E-47DA-A095-52493BAEC0FC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F30338D-9E70-4AE4-BD83-2675768411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2732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7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250"/>
                            </p:stCondLst>
                            <p:childTnLst>
                              <p:par>
                                <p:cTn id="5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000"/>
                            </p:stCondLst>
                            <p:childTnLst>
                              <p:par>
                                <p:cTn id="66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7750"/>
                            </p:stCondLst>
                            <p:childTnLst>
                              <p:par>
                                <p:cTn id="7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825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111" grpId="0"/>
      <p:bldP spid="194" grpId="0"/>
      <p:bldP spid="52" grpId="0"/>
      <p:bldP spid="53" grpId="0"/>
      <p:bldP spid="57" grpId="0"/>
      <p:bldP spid="60" grpId="0"/>
      <p:bldP spid="61" grpId="0"/>
      <p:bldP spid="193" grpId="0"/>
      <p:bldP spid="5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>
            <a:extLst>
              <a:ext uri="{FF2B5EF4-FFF2-40B4-BE49-F238E27FC236}">
                <a16:creationId xmlns:a16="http://schemas.microsoft.com/office/drawing/2014/main" id="{D98B48A8-1C4C-4708-832F-7D0B1DF68CE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409" r="8278" b="8306"/>
          <a:stretch/>
        </p:blipFill>
        <p:spPr bwMode="gray">
          <a:xfrm rot="10800000">
            <a:off x="-11430" y="1"/>
            <a:ext cx="9166860" cy="5143499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3135BA10-857B-47FA-91C7-609007115DF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1"/>
          <a:stretch/>
        </p:blipFill>
        <p:spPr bwMode="gray">
          <a:xfrm>
            <a:off x="0" y="625004"/>
            <a:ext cx="9144000" cy="4518496"/>
          </a:xfrm>
          <a:prstGeom prst="rect">
            <a:avLst/>
          </a:prstGeom>
        </p:spPr>
      </p:pic>
      <p:sp>
        <p:nvSpPr>
          <p:cNvPr id="146" name="Rectangle 145">
            <a:extLst>
              <a:ext uri="{FF2B5EF4-FFF2-40B4-BE49-F238E27FC236}">
                <a16:creationId xmlns:a16="http://schemas.microsoft.com/office/drawing/2014/main" id="{38973752-CE5E-48FC-AE84-F6BEBE1AAAF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1430" y="-23078"/>
            <a:ext cx="9178290" cy="518965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9092BD7-12C6-45F7-A8AB-FB825D68331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-22861" y="1957586"/>
            <a:ext cx="9189719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2011–2019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sp>
        <p:nvSpPr>
          <p:cNvPr id="83" name="Rechteck 15">
            <a:extLst>
              <a:ext uri="{FF2B5EF4-FFF2-40B4-BE49-F238E27FC236}">
                <a16:creationId xmlns:a16="http://schemas.microsoft.com/office/drawing/2014/main" id="{2EFE98DC-13FA-4958-854D-5A54A7F879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49077" y="1995691"/>
            <a:ext cx="1352403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radio smoke detectors with remote inspection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135C14E-C328-4129-AE09-8135CE6DE54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03536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1</a:t>
            </a: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ECB9241-4CEA-472E-BFD1-A2464C34944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961335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2</a:t>
            </a:r>
          </a:p>
        </p:txBody>
      </p:sp>
      <p:sp>
        <p:nvSpPr>
          <p:cNvPr id="52" name="Rechteck 15">
            <a:extLst>
              <a:ext uri="{FF2B5EF4-FFF2-40B4-BE49-F238E27FC236}">
                <a16:creationId xmlns:a16="http://schemas.microsoft.com/office/drawing/2014/main" id="{C9228C9B-DF9A-442E-8898-DF7A119C123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700761" y="1221915"/>
            <a:ext cx="1697058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</a:t>
            </a: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heating service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295C264-3C20-4F0E-A575-8A609E7E79B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553026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3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95D3222-A421-429A-9DAD-65D8BD2FAE9E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785584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4</a:t>
            </a:r>
          </a:p>
        </p:txBody>
      </p:sp>
      <p:sp>
        <p:nvSpPr>
          <p:cNvPr id="60" name="Rechteck 15">
            <a:extLst>
              <a:ext uri="{FF2B5EF4-FFF2-40B4-BE49-F238E27FC236}">
                <a16:creationId xmlns:a16="http://schemas.microsoft.com/office/drawing/2014/main" id="{CB0AA1FF-CDEF-41C8-B3B9-B561CE954D1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350306" y="1221915"/>
            <a:ext cx="1387665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</a:t>
            </a: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</a:t>
            </a:r>
            <a:r>
              <a:rPr lang="en-GB" sz="1000" dirty="0" err="1">
                <a:solidFill>
                  <a:srgbClr val="000000"/>
                </a:solidFill>
              </a:rPr>
              <a:t>SmartHeating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2C5E373-10A0-4112-9302-A7CCDCC0CBE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201928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7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F061E7B-0BE1-4AC9-A720-B57B0326E740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589592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accent1"/>
                </a:solidFill>
              </a:rPr>
              <a:t>2018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27D28F8-7448-4074-B624-F0D299A58CD5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-22860" y="3003798"/>
            <a:ext cx="9189720" cy="2139702"/>
            <a:chOff x="-22860" y="3003798"/>
            <a:chExt cx="9189720" cy="2139702"/>
          </a:xfrm>
        </p:grpSpPr>
        <p:pic>
          <p:nvPicPr>
            <p:cNvPr id="148" name="Picture 147">
              <a:extLst>
                <a:ext uri="{FF2B5EF4-FFF2-40B4-BE49-F238E27FC236}">
                  <a16:creationId xmlns:a16="http://schemas.microsoft.com/office/drawing/2014/main" id="{0FC39F8B-C457-4C7B-89C5-874B016CE0FB}"/>
                </a:ext>
              </a:extLst>
            </p:cNvPr>
            <p:cNvPicPr>
              <a:picLocks noChangeAspect="1"/>
            </p:cNvPicPr>
            <p:nvPr>
              <p:custDataLst>
                <p:tags r:id="rId52"/>
              </p:custDataLst>
            </p:nvPr>
          </p:nvPicPr>
          <p:blipFill rotWithShape="1"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338"/>
            <a:stretch/>
          </p:blipFill>
          <p:spPr bwMode="gray">
            <a:xfrm>
              <a:off x="0" y="3003798"/>
              <a:ext cx="9144000" cy="2139702"/>
            </a:xfrm>
            <a:prstGeom prst="rect">
              <a:avLst/>
            </a:prstGeom>
          </p:spPr>
        </p:pic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6670B814-FB14-484F-AA45-99EBD26B0656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gray">
            <a:xfrm>
              <a:off x="-22860" y="3005137"/>
              <a:ext cx="9189720" cy="2138363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cxnSp>
        <p:nvCxnSpPr>
          <p:cNvPr id="188" name="Gerade Verbindung 20">
            <a:extLst>
              <a:ext uri="{FF2B5EF4-FFF2-40B4-BE49-F238E27FC236}">
                <a16:creationId xmlns:a16="http://schemas.microsoft.com/office/drawing/2014/main" id="{AA8CD277-5250-43FE-A82C-FB240BB9D400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-22860" y="3003798"/>
            <a:ext cx="9166861" cy="0"/>
          </a:xfrm>
          <a:prstGeom prst="line">
            <a:avLst/>
          </a:prstGeom>
          <a:ln w="9525">
            <a:solidFill>
              <a:schemeClr val="accent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hteck 15">
            <a:extLst>
              <a:ext uri="{FF2B5EF4-FFF2-40B4-BE49-F238E27FC236}">
                <a16:creationId xmlns:a16="http://schemas.microsoft.com/office/drawing/2014/main" id="{DD3C4EC1-E631-454A-BB37-91E71ACEB96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107446" y="4257036"/>
            <a:ext cx="2034341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Legionella examination services in cooperation with SGS </a:t>
            </a:r>
            <a:r>
              <a:rPr lang="en-GB" sz="1000" dirty="0" err="1">
                <a:solidFill>
                  <a:srgbClr val="000000"/>
                </a:solidFill>
              </a:rPr>
              <a:t>Institut</a:t>
            </a:r>
            <a:r>
              <a:rPr lang="en-GB" sz="1000" dirty="0">
                <a:solidFill>
                  <a:srgbClr val="000000"/>
                </a:solidFill>
              </a:rPr>
              <a:t> Fresenius</a:t>
            </a:r>
          </a:p>
        </p:txBody>
      </p:sp>
      <p:cxnSp>
        <p:nvCxnSpPr>
          <p:cNvPr id="195" name="Gerade Verbindung 20">
            <a:extLst>
              <a:ext uri="{FF2B5EF4-FFF2-40B4-BE49-F238E27FC236}">
                <a16:creationId xmlns:a16="http://schemas.microsoft.com/office/drawing/2014/main" id="{190062BD-F418-431D-A93B-61298C1790C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>
            <a:off x="2024698" y="2914938"/>
            <a:ext cx="0" cy="1764218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hteck 15">
            <a:extLst>
              <a:ext uri="{FF2B5EF4-FFF2-40B4-BE49-F238E27FC236}">
                <a16:creationId xmlns:a16="http://schemas.microsoft.com/office/drawing/2014/main" id="{B165FBC3-3A0D-4FE2-BF26-17FC0945BF24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932039" y="3557397"/>
            <a:ext cx="1558455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 of </a:t>
            </a: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heating services with direct energy</a:t>
            </a:r>
          </a:p>
        </p:txBody>
      </p:sp>
      <p:cxnSp>
        <p:nvCxnSpPr>
          <p:cNvPr id="58" name="Gerade Verbindung 20">
            <a:extLst>
              <a:ext uri="{FF2B5EF4-FFF2-40B4-BE49-F238E27FC236}">
                <a16:creationId xmlns:a16="http://schemas.microsoft.com/office/drawing/2014/main" id="{3B72B9AD-5D21-4B86-A27F-DF1E9A8603A0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>
            <a:off x="4848947" y="2914938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15">
            <a:extLst>
              <a:ext uri="{FF2B5EF4-FFF2-40B4-BE49-F238E27FC236}">
                <a16:creationId xmlns:a16="http://schemas.microsoft.com/office/drawing/2014/main" id="{AC32789C-E6F6-47C0-841C-136FCE1CD9D9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7740351" y="3557397"/>
            <a:ext cx="939219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>
                <a:solidFill>
                  <a:srgbClr val="000000"/>
                </a:solidFill>
              </a:rPr>
              <a:t>Introduction</a:t>
            </a:r>
            <a:br>
              <a:rPr lang="en-GB" sz="1000" dirty="0">
                <a:solidFill>
                  <a:srgbClr val="000000"/>
                </a:solidFill>
              </a:rPr>
            </a:br>
            <a:r>
              <a:rPr lang="en-GB" sz="1000" dirty="0">
                <a:solidFill>
                  <a:srgbClr val="000000"/>
                </a:solidFill>
              </a:rPr>
              <a:t>of hydraulic balancing works</a:t>
            </a:r>
          </a:p>
        </p:txBody>
      </p:sp>
      <p:cxnSp>
        <p:nvCxnSpPr>
          <p:cNvPr id="72" name="Gerade Verbindung 20">
            <a:extLst>
              <a:ext uri="{FF2B5EF4-FFF2-40B4-BE49-F238E27FC236}">
                <a16:creationId xmlns:a16="http://schemas.microsoft.com/office/drawing/2014/main" id="{8E455A07-5DCA-422A-967E-2169BB6A8540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>
            <a:off x="7652955" y="2914938"/>
            <a:ext cx="0" cy="1765012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Fußzeilenplatzhalter 1">
            <a:extLst>
              <a:ext uri="{FF2B5EF4-FFF2-40B4-BE49-F238E27FC236}">
                <a16:creationId xmlns:a16="http://schemas.microsoft.com/office/drawing/2014/main" id="{36F8BDB8-8EFA-4E09-B4CC-27B4971CFB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0741318-6B76-4867-8FA2-378908ADC719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 rotWithShape="1"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9" r="7491"/>
          <a:stretch/>
        </p:blipFill>
        <p:spPr bwMode="gray">
          <a:xfrm>
            <a:off x="2114589" y="3095086"/>
            <a:ext cx="1336479" cy="1090104"/>
          </a:xfrm>
          <a:prstGeom prst="rect">
            <a:avLst/>
          </a:prstGeom>
          <a:ln w="6350">
            <a:solidFill>
              <a:schemeClr val="tx2"/>
            </a:solidFill>
          </a:ln>
        </p:spPr>
      </p:pic>
      <p:cxnSp>
        <p:nvCxnSpPr>
          <p:cNvPr id="192" name="Gerade Verbindung 20">
            <a:extLst>
              <a:ext uri="{FF2B5EF4-FFF2-40B4-BE49-F238E27FC236}">
                <a16:creationId xmlns:a16="http://schemas.microsoft.com/office/drawing/2014/main" id="{69106702-F22F-4345-BD69-E92882A18AB0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>
            <a:off x="466899" y="2019300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20">
            <a:extLst>
              <a:ext uri="{FF2B5EF4-FFF2-40B4-BE49-F238E27FC236}">
                <a16:creationId xmlns:a16="http://schemas.microsoft.com/office/drawing/2014/main" id="{24641EE4-5D63-40CB-8A68-CE38497317B1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3616389" y="1235075"/>
            <a:ext cx="0" cy="1840731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0">
            <a:extLst>
              <a:ext uri="{FF2B5EF4-FFF2-40B4-BE49-F238E27FC236}">
                <a16:creationId xmlns:a16="http://schemas.microsoft.com/office/drawing/2014/main" id="{693BB217-B9BA-40DE-89A4-8DA41838E413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>
            <a:off x="6265291" y="1235075"/>
            <a:ext cx="0" cy="1840731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chteck 15">
            <a:extLst>
              <a:ext uri="{FF2B5EF4-FFF2-40B4-BE49-F238E27FC236}">
                <a16:creationId xmlns:a16="http://schemas.microsoft.com/office/drawing/2014/main" id="{ACD208E4-4C3F-4699-96A0-D9D34F307171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740351" y="4257036"/>
            <a:ext cx="939219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 dirty="0" err="1">
                <a:solidFill>
                  <a:srgbClr val="000000"/>
                </a:solidFill>
              </a:rPr>
              <a:t>Techem</a:t>
            </a:r>
            <a:r>
              <a:rPr lang="en-GB" sz="1000" dirty="0">
                <a:solidFill>
                  <a:srgbClr val="000000"/>
                </a:solidFill>
              </a:rPr>
              <a:t> drinking water treatment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097EE36C-E8D0-49E7-8997-707C291A998B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9" r="9776" b="1196"/>
          <a:stretch/>
        </p:blipFill>
        <p:spPr bwMode="gray">
          <a:xfrm>
            <a:off x="3700762" y="1576338"/>
            <a:ext cx="1336478" cy="107574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160986C3-2C3B-4AF0-9572-98B66B4D6B1D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2" r="5040" b="-172"/>
          <a:stretch/>
        </p:blipFill>
        <p:spPr bwMode="gray">
          <a:xfrm>
            <a:off x="6350306" y="1576339"/>
            <a:ext cx="1336479" cy="1075744"/>
          </a:xfrm>
          <a:prstGeom prst="rect">
            <a:avLst/>
          </a:prstGeom>
          <a:ln w="6350">
            <a:solidFill>
              <a:schemeClr val="tx2"/>
            </a:solidFill>
          </a:ln>
        </p:spPr>
      </p:pic>
      <p:sp>
        <p:nvSpPr>
          <p:cNvPr id="82" name="Rectangle 81">
            <a:extLst>
              <a:ext uri="{FF2B5EF4-FFF2-40B4-BE49-F238E27FC236}">
                <a16:creationId xmlns:a16="http://schemas.microsoft.com/office/drawing/2014/main" id="{3D1BE1D1-B914-42FB-9D1A-FE404215D9C5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-9432983" y="1957586"/>
            <a:ext cx="9189719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600" b="1">
                <a:solidFill>
                  <a:schemeClr val="tx2">
                    <a:alpha val="18000"/>
                  </a:schemeClr>
                </a:solidFill>
              </a:rPr>
              <a:t>2000 – 2010</a:t>
            </a:r>
            <a:endParaRPr lang="en-GB" sz="9600" b="1" dirty="0">
              <a:solidFill>
                <a:schemeClr val="tx2">
                  <a:alpha val="18000"/>
                </a:schemeClr>
              </a:solidFill>
            </a:endParaRPr>
          </a:p>
        </p:txBody>
      </p:sp>
      <p:sp>
        <p:nvSpPr>
          <p:cNvPr id="84" name="Rechteck 15">
            <a:extLst>
              <a:ext uri="{FF2B5EF4-FFF2-40B4-BE49-F238E27FC236}">
                <a16:creationId xmlns:a16="http://schemas.microsoft.com/office/drawing/2014/main" id="{3A835398-8BBE-47C6-B02A-68A011198160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-8820574" y="1995691"/>
            <a:ext cx="1463350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Start of remote metering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1F5BEE74-AF6D-4E40-AE69-BD30B11C6933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-9006586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2005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570BB2E-4BB2-4E20-B1FB-E38376E0284C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-7564214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2006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87" name="Rechteck 15">
            <a:extLst>
              <a:ext uri="{FF2B5EF4-FFF2-40B4-BE49-F238E27FC236}">
                <a16:creationId xmlns:a16="http://schemas.microsoft.com/office/drawing/2014/main" id="{2AA2F629-6FEE-4AF0-AA55-0C91ACEDAB06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-5566918" y="1221915"/>
            <a:ext cx="1485336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Introduction of radio smoke detector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CC23AE3A-2F41-430D-91C8-B3C3470A709B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-5707262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2007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1FFBF2C-0DE2-47DF-83F1-80B55649BDFB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-4242904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2009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90" name="Rechteck 15">
            <a:extLst>
              <a:ext uri="{FF2B5EF4-FFF2-40B4-BE49-F238E27FC236}">
                <a16:creationId xmlns:a16="http://schemas.microsoft.com/office/drawing/2014/main" id="{967784FE-4C57-46FC-8380-1B77EF8C5071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-2691574" y="1995691"/>
            <a:ext cx="1961024" cy="4595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Energy management system for Techem energy contracting according to DIN EN ISO 50001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4B8FA80-6229-44F9-8024-E0C8F72626BF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-2877585" y="2797934"/>
            <a:ext cx="1213174" cy="235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accent1"/>
                </a:solidFill>
              </a:rPr>
              <a:t>2010</a:t>
            </a:r>
            <a:endParaRPr lang="en-GB" sz="2800" b="1" dirty="0">
              <a:solidFill>
                <a:schemeClr val="accent1"/>
              </a:solidFill>
            </a:endParaRPr>
          </a:p>
        </p:txBody>
      </p:sp>
      <p:sp>
        <p:nvSpPr>
          <p:cNvPr id="93" name="Rechteck 15">
            <a:extLst>
              <a:ext uri="{FF2B5EF4-FFF2-40B4-BE49-F238E27FC236}">
                <a16:creationId xmlns:a16="http://schemas.microsoft.com/office/drawing/2014/main" id="{9D18F279-B95F-4D0C-8DF1-CA1CFB22DA6C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-4113559" y="4195763"/>
            <a:ext cx="1386298" cy="3734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Introduction of Techem Smart System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96" name="Gerade Verbindung 20">
            <a:extLst>
              <a:ext uri="{FF2B5EF4-FFF2-40B4-BE49-F238E27FC236}">
                <a16:creationId xmlns:a16="http://schemas.microsoft.com/office/drawing/2014/main" id="{6A42B474-F812-4EA4-8344-31C033624407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gray">
          <a:xfrm>
            <a:off x="-4179541" y="2914938"/>
            <a:ext cx="0" cy="1614200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>
            <a:extLst>
              <a:ext uri="{FF2B5EF4-FFF2-40B4-BE49-F238E27FC236}">
                <a16:creationId xmlns:a16="http://schemas.microsoft.com/office/drawing/2014/main" id="{41000E04-63CB-4DCE-87DE-FA7F14BC6EE3}"/>
              </a:ext>
            </a:extLst>
          </p:cNvPr>
          <p:cNvPicPr>
            <a:picLocks noChangeAspect="1"/>
          </p:cNvPicPr>
          <p:nvPr>
            <p:custDataLst>
              <p:tags r:id="rId40"/>
            </p:custDataLst>
          </p:nvPr>
        </p:nvPicPr>
        <p:blipFill rotWithShape="1"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6" b="15894"/>
          <a:stretch/>
        </p:blipFill>
        <p:spPr bwMode="gray">
          <a:xfrm>
            <a:off x="-5566918" y="1576339"/>
            <a:ext cx="1347382" cy="107574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cxnSp>
        <p:nvCxnSpPr>
          <p:cNvPr id="112" name="Gerade Verbindung 20">
            <a:extLst>
              <a:ext uri="{FF2B5EF4-FFF2-40B4-BE49-F238E27FC236}">
                <a16:creationId xmlns:a16="http://schemas.microsoft.com/office/drawing/2014/main" id="{2F4AC7DD-9250-42D5-BDD9-36B8865CD558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gray">
          <a:xfrm>
            <a:off x="-8943223" y="2019300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 Verbindung 20">
            <a:extLst>
              <a:ext uri="{FF2B5EF4-FFF2-40B4-BE49-F238E27FC236}">
                <a16:creationId xmlns:a16="http://schemas.microsoft.com/office/drawing/2014/main" id="{822ED090-E4C0-4880-94BC-26939E4E6189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>
            <a:off x="-5643899" y="1238250"/>
            <a:ext cx="0" cy="183755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20">
            <a:extLst>
              <a:ext uri="{FF2B5EF4-FFF2-40B4-BE49-F238E27FC236}">
                <a16:creationId xmlns:a16="http://schemas.microsoft.com/office/drawing/2014/main" id="{06FA6649-5635-4C9C-AF31-F9F81510DDD4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>
            <a:off x="-2814222" y="2019300"/>
            <a:ext cx="0" cy="1056506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5" name="Picture 114">
            <a:extLst>
              <a:ext uri="{FF2B5EF4-FFF2-40B4-BE49-F238E27FC236}">
                <a16:creationId xmlns:a16="http://schemas.microsoft.com/office/drawing/2014/main" id="{4E0EEA8A-58D0-492A-936A-F7BA18D61DEA}"/>
              </a:ext>
            </a:extLst>
          </p:cNvPr>
          <p:cNvPicPr>
            <a:picLocks noChangeAspect="1"/>
          </p:cNvPicPr>
          <p:nvPr>
            <p:custDataLst>
              <p:tags r:id="rId44"/>
            </p:custDataLst>
          </p:nvPr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880" t="-5576" r="-41880" b="-5576"/>
          <a:stretch/>
        </p:blipFill>
        <p:spPr bwMode="gray">
          <a:xfrm>
            <a:off x="-4101973" y="3095086"/>
            <a:ext cx="1337337" cy="109283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sp>
        <p:nvSpPr>
          <p:cNvPr id="124" name="Rechteck 15">
            <a:extLst>
              <a:ext uri="{FF2B5EF4-FFF2-40B4-BE49-F238E27FC236}">
                <a16:creationId xmlns:a16="http://schemas.microsoft.com/office/drawing/2014/main" id="{B76E88AB-1298-4C93-9842-E97D9CAC6B9F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-7441880" y="4278593"/>
            <a:ext cx="2501798" cy="44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lvl="0">
              <a:defRPr/>
            </a:pPr>
            <a:r>
              <a:rPr lang="en-GB" sz="1000">
                <a:solidFill>
                  <a:srgbClr val="000000"/>
                </a:solidFill>
              </a:rPr>
              <a:t>Market introduction</a:t>
            </a:r>
            <a:br>
              <a:rPr lang="en-GB" sz="1000">
                <a:solidFill>
                  <a:srgbClr val="000000"/>
                </a:solidFill>
              </a:rPr>
            </a:br>
            <a:r>
              <a:rPr lang="en-GB" sz="1000">
                <a:solidFill>
                  <a:srgbClr val="000000"/>
                </a:solidFill>
              </a:rPr>
              <a:t>of adapterm energy</a:t>
            </a:r>
            <a:br>
              <a:rPr lang="en-GB" sz="1000">
                <a:solidFill>
                  <a:srgbClr val="000000"/>
                </a:solidFill>
              </a:rPr>
            </a:br>
            <a:r>
              <a:rPr lang="en-GB" sz="1000">
                <a:solidFill>
                  <a:srgbClr val="000000"/>
                </a:solidFill>
              </a:rPr>
              <a:t>saving system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125" name="Gerade Verbindung 20">
            <a:extLst>
              <a:ext uri="{FF2B5EF4-FFF2-40B4-BE49-F238E27FC236}">
                <a16:creationId xmlns:a16="http://schemas.microsoft.com/office/drawing/2014/main" id="{F595BA39-D3D6-4F97-BD01-ABBA42E49F7F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gray">
          <a:xfrm>
            <a:off x="-7500851" y="2914938"/>
            <a:ext cx="0" cy="1766600"/>
          </a:xfrm>
          <a:prstGeom prst="line">
            <a:avLst/>
          </a:prstGeom>
          <a:ln w="9525">
            <a:solidFill>
              <a:schemeClr val="tx1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Picture 68">
            <a:extLst>
              <a:ext uri="{FF2B5EF4-FFF2-40B4-BE49-F238E27FC236}">
                <a16:creationId xmlns:a16="http://schemas.microsoft.com/office/drawing/2014/main" id="{243FCFD7-6E56-47A3-A89A-69B5B44F0103}"/>
              </a:ext>
            </a:extLst>
          </p:cNvPr>
          <p:cNvPicPr>
            <a:picLocks noChangeAspect="1"/>
          </p:cNvPicPr>
          <p:nvPr>
            <p:custDataLst>
              <p:tags r:id="rId47"/>
            </p:custDataLst>
          </p:nvPr>
        </p:nvPicPr>
        <p:blipFill rotWithShape="1"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1" t="9249" r="23454" b="9249"/>
          <a:stretch/>
        </p:blipFill>
        <p:spPr bwMode="gray">
          <a:xfrm>
            <a:off x="-7418505" y="3095086"/>
            <a:ext cx="1337338" cy="109283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2"/>
            </a:solidFill>
          </a:ln>
        </p:spPr>
      </p:pic>
      <p:grpSp>
        <p:nvGrpSpPr>
          <p:cNvPr id="65" name="Group 64">
            <a:extLst>
              <a:ext uri="{FF2B5EF4-FFF2-40B4-BE49-F238E27FC236}">
                <a16:creationId xmlns:a16="http://schemas.microsoft.com/office/drawing/2014/main" id="{EACE2255-04E7-4D74-AEA1-5EA6D0DE91C5}"/>
              </a:ext>
            </a:extLst>
          </p:cNvPr>
          <p:cNvGrpSpPr/>
          <p:nvPr>
            <p:custDataLst>
              <p:tags r:id="rId48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66" name="Rechteck 12">
              <a:extLst>
                <a:ext uri="{FF2B5EF4-FFF2-40B4-BE49-F238E27FC236}">
                  <a16:creationId xmlns:a16="http://schemas.microsoft.com/office/drawing/2014/main" id="{19313F27-1621-4A7E-AF3A-51037A13A839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22B0D2A-CD6A-40C4-A3AE-4805715BFD26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68" name="Rectangle 5">
                <a:extLst>
                  <a:ext uri="{FF2B5EF4-FFF2-40B4-BE49-F238E27FC236}">
                    <a16:creationId xmlns:a16="http://schemas.microsoft.com/office/drawing/2014/main" id="{DA74DE8C-C687-40D5-B4D5-9AF7362382F6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50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54A8DBD-97C1-40CE-8625-0B9A38D0ADDF}"/>
                  </a:ext>
                </a:extLst>
              </p:cNvPr>
              <p:cNvGrpSpPr/>
              <p:nvPr userDrawn="1">
                <p:custDataLst>
                  <p:tags r:id="rId51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73" name="Freeform 6">
                  <a:extLst>
                    <a:ext uri="{FF2B5EF4-FFF2-40B4-BE49-F238E27FC236}">
                      <a16:creationId xmlns:a16="http://schemas.microsoft.com/office/drawing/2014/main" id="{09951350-64A5-4564-AF66-CE5DBB19CD9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4" name="Freeform 7">
                  <a:extLst>
                    <a:ext uri="{FF2B5EF4-FFF2-40B4-BE49-F238E27FC236}">
                      <a16:creationId xmlns:a16="http://schemas.microsoft.com/office/drawing/2014/main" id="{C19CAEF3-B0D6-4A1C-A7A6-3FD84E83753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5" name="Freeform 8">
                  <a:extLst>
                    <a:ext uri="{FF2B5EF4-FFF2-40B4-BE49-F238E27FC236}">
                      <a16:creationId xmlns:a16="http://schemas.microsoft.com/office/drawing/2014/main" id="{5EE94D0D-000A-4BA5-91C5-B587EFA4EEF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9">
                  <a:extLst>
                    <a:ext uri="{FF2B5EF4-FFF2-40B4-BE49-F238E27FC236}">
                      <a16:creationId xmlns:a16="http://schemas.microsoft.com/office/drawing/2014/main" id="{2A36FDDC-D090-4327-AA48-E731D26495B3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0">
                  <a:extLst>
                    <a:ext uri="{FF2B5EF4-FFF2-40B4-BE49-F238E27FC236}">
                      <a16:creationId xmlns:a16="http://schemas.microsoft.com/office/drawing/2014/main" id="{4E5BA23A-3CCE-4AB0-A442-6D967E4C5E9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1">
                  <a:extLst>
                    <a:ext uri="{FF2B5EF4-FFF2-40B4-BE49-F238E27FC236}">
                      <a16:creationId xmlns:a16="http://schemas.microsoft.com/office/drawing/2014/main" id="{D880C6D1-FB62-42B0-AC2A-C27FA67D1B1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Freeform 12">
                  <a:extLst>
                    <a:ext uri="{FF2B5EF4-FFF2-40B4-BE49-F238E27FC236}">
                      <a16:creationId xmlns:a16="http://schemas.microsoft.com/office/drawing/2014/main" id="{32FFC3B3-67DF-449D-8CFF-3719D6E3B1A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13">
                  <a:extLst>
                    <a:ext uri="{FF2B5EF4-FFF2-40B4-BE49-F238E27FC236}">
                      <a16:creationId xmlns:a16="http://schemas.microsoft.com/office/drawing/2014/main" id="{C18081F9-C758-4E65-95D8-09D0F02A8BC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92" name="Textplatzhalter 6">
            <a:extLst>
              <a:ext uri="{FF2B5EF4-FFF2-40B4-BE49-F238E27FC236}">
                <a16:creationId xmlns:a16="http://schemas.microsoft.com/office/drawing/2014/main" id="{080362A4-258F-4023-8549-45138851B075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C6668A-E647-4F5B-903A-9FA9EB369D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287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7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250"/>
                            </p:stCondLst>
                            <p:childTnLst>
                              <p:par>
                                <p:cTn id="5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5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000"/>
                            </p:stCondLst>
                            <p:childTnLst>
                              <p:par>
                                <p:cTn id="63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750"/>
                            </p:stCondLst>
                            <p:childTnLst>
                              <p:par>
                                <p:cTn id="6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25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750"/>
                            </p:stCondLst>
                            <p:childTnLst>
                              <p:par>
                                <p:cTn id="79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75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500"/>
                            </p:stCondLst>
                            <p:childTnLst>
                              <p:par>
                                <p:cTn id="8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5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111" grpId="0"/>
      <p:bldP spid="194" grpId="0"/>
      <p:bldP spid="52" grpId="0"/>
      <p:bldP spid="53" grpId="0"/>
      <p:bldP spid="57" grpId="0"/>
      <p:bldP spid="60" grpId="0"/>
      <p:bldP spid="61" grpId="0"/>
      <p:bldP spid="71" grpId="0"/>
      <p:bldP spid="193" grpId="0"/>
      <p:bldP spid="56" grpId="0"/>
      <p:bldP spid="70" grpId="0"/>
      <p:bldP spid="7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34553FEC-57C8-48FB-A8E9-ED31409CBFD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409" r="8278" b="8306"/>
          <a:stretch/>
        </p:blipFill>
        <p:spPr bwMode="gray">
          <a:xfrm rot="10800000">
            <a:off x="-11430" y="1"/>
            <a:ext cx="9166860" cy="514349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E8BE8934-D8DD-4270-AB72-F2288CC5608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1"/>
          <a:stretch/>
        </p:blipFill>
        <p:spPr bwMode="gray">
          <a:xfrm>
            <a:off x="-385124" y="2917926"/>
            <a:ext cx="9937104" cy="4910408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35CC3963-A529-4B76-BE6B-8F601D69AFC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1430" y="0"/>
            <a:ext cx="9178289" cy="5143500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4" name="Textplatzhalter 6">
            <a:extLst>
              <a:ext uri="{FF2B5EF4-FFF2-40B4-BE49-F238E27FC236}">
                <a16:creationId xmlns:a16="http://schemas.microsoft.com/office/drawing/2014/main" id="{D8F91AA7-7301-4C13-A0A1-82FE4831834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67" name="Fußzeilenplatzhalter 1">
            <a:extLst>
              <a:ext uri="{FF2B5EF4-FFF2-40B4-BE49-F238E27FC236}">
                <a16:creationId xmlns:a16="http://schemas.microsoft.com/office/drawing/2014/main" id="{EFB06793-B53F-44ED-93A7-971E0BB145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4" name="Textfeld 20">
            <a:extLst>
              <a:ext uri="{FF2B5EF4-FFF2-40B4-BE49-F238E27FC236}">
                <a16:creationId xmlns:a16="http://schemas.microsoft.com/office/drawing/2014/main" id="{691770DF-7F8E-4411-ADFF-12F32C5BF97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63563" y="3106316"/>
            <a:ext cx="1801775" cy="23852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950" dirty="0" err="1"/>
              <a:t>appartments</a:t>
            </a:r>
            <a:r>
              <a:rPr lang="en-GB" sz="950" dirty="0"/>
              <a:t> around the world</a:t>
            </a:r>
          </a:p>
        </p:txBody>
      </p:sp>
      <p:sp>
        <p:nvSpPr>
          <p:cNvPr id="95" name="Titel 8">
            <a:extLst>
              <a:ext uri="{FF2B5EF4-FFF2-40B4-BE49-F238E27FC236}">
                <a16:creationId xmlns:a16="http://schemas.microsoft.com/office/drawing/2014/main" id="{028338F6-CF4B-40E6-8A9A-DE1350DD8F2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307007" y="2690704"/>
            <a:ext cx="2272074" cy="49847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360000" rtl="0" eaLnBrk="1" latinLnBrk="0" hangingPunct="1">
              <a:lnSpc>
                <a:spcPct val="115000"/>
              </a:lnSpc>
              <a:spcBef>
                <a:spcPct val="0"/>
              </a:spcBef>
              <a:buNone/>
              <a:defRPr sz="1800" kern="1200">
                <a:solidFill>
                  <a:srgbClr val="E20613"/>
                </a:solidFill>
                <a:latin typeface="Lucida Sans Techem" panose="020B0602040502020204" pitchFamily="34" charset="0"/>
                <a:ea typeface="+mj-ea"/>
                <a:cs typeface="+mj-cs"/>
              </a:defRPr>
            </a:lvl1pPr>
          </a:lstStyle>
          <a:p>
            <a:r>
              <a:rPr lang="en-GB" altLang="en-US" sz="2600" b="1" dirty="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rPr>
              <a:t>11,5M</a:t>
            </a:r>
          </a:p>
        </p:txBody>
      </p:sp>
      <p:sp>
        <p:nvSpPr>
          <p:cNvPr id="96" name="Titel 8">
            <a:extLst>
              <a:ext uri="{FF2B5EF4-FFF2-40B4-BE49-F238E27FC236}">
                <a16:creationId xmlns:a16="http://schemas.microsoft.com/office/drawing/2014/main" id="{96493967-14FE-40E0-9F2C-1D5DBE01DA8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67544" y="1883488"/>
            <a:ext cx="2332675" cy="4307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360000" rtl="0" eaLnBrk="1" latinLnBrk="0" hangingPunct="1">
              <a:lnSpc>
                <a:spcPct val="115000"/>
              </a:lnSpc>
              <a:spcBef>
                <a:spcPct val="0"/>
              </a:spcBef>
              <a:buNone/>
              <a:defRPr sz="1800" kern="1200">
                <a:solidFill>
                  <a:srgbClr val="E20613"/>
                </a:solidFill>
                <a:latin typeface="Lucida Sans Techem" panose="020B0602040502020204" pitchFamily="34" charset="0"/>
                <a:ea typeface="+mj-ea"/>
                <a:cs typeface="+mj-cs"/>
              </a:defRPr>
            </a:lvl1pPr>
          </a:lstStyle>
          <a:p>
            <a:r>
              <a:rPr lang="en-GB" altLang="en-US" sz="2400" b="1" dirty="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rPr>
              <a:t>768M</a:t>
            </a:r>
          </a:p>
        </p:txBody>
      </p:sp>
      <p:sp>
        <p:nvSpPr>
          <p:cNvPr id="97" name="Textfeld 23">
            <a:extLst>
              <a:ext uri="{FF2B5EF4-FFF2-40B4-BE49-F238E27FC236}">
                <a16:creationId xmlns:a16="http://schemas.microsoft.com/office/drawing/2014/main" id="{89A52B48-9DC0-4A8A-83BD-F5287D7082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67544" y="2259037"/>
            <a:ext cx="2155298" cy="23852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950" dirty="0"/>
              <a:t>Euro group revenue</a:t>
            </a:r>
            <a:r>
              <a:rPr lang="en-GB" sz="950" baseline="30000" dirty="0"/>
              <a:t>1</a:t>
            </a:r>
          </a:p>
        </p:txBody>
      </p:sp>
      <p:sp>
        <p:nvSpPr>
          <p:cNvPr id="98" name="Textfeld 24">
            <a:extLst>
              <a:ext uri="{FF2B5EF4-FFF2-40B4-BE49-F238E27FC236}">
                <a16:creationId xmlns:a16="http://schemas.microsoft.com/office/drawing/2014/main" id="{4932B84C-D8F1-43E9-9C59-ACD402946B58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67544" y="1464652"/>
            <a:ext cx="215529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950" dirty="0"/>
              <a:t>employees</a:t>
            </a:r>
          </a:p>
        </p:txBody>
      </p:sp>
      <p:sp>
        <p:nvSpPr>
          <p:cNvPr id="99" name="Titel 8">
            <a:extLst>
              <a:ext uri="{FF2B5EF4-FFF2-40B4-BE49-F238E27FC236}">
                <a16:creationId xmlns:a16="http://schemas.microsoft.com/office/drawing/2014/main" id="{3568CFA2-A225-4D4B-8FBA-8CE9F302F77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67544" y="1079092"/>
            <a:ext cx="2332675" cy="4307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360000" rtl="0" eaLnBrk="1" latinLnBrk="0" hangingPunct="1">
              <a:lnSpc>
                <a:spcPct val="115000"/>
              </a:lnSpc>
              <a:spcBef>
                <a:spcPct val="0"/>
              </a:spcBef>
              <a:buNone/>
              <a:defRPr sz="1800" kern="1200">
                <a:solidFill>
                  <a:srgbClr val="E20613"/>
                </a:solidFill>
                <a:latin typeface="Lucida Sans Techem" panose="020B0602040502020204" pitchFamily="34" charset="0"/>
                <a:ea typeface="+mj-ea"/>
                <a:cs typeface="+mj-cs"/>
              </a:defRPr>
            </a:lvl1pPr>
          </a:lstStyle>
          <a:p>
            <a:r>
              <a:rPr lang="en-GB" altLang="en-US" sz="2400" b="1" dirty="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rPr>
              <a:t>3,500</a:t>
            </a:r>
          </a:p>
        </p:txBody>
      </p:sp>
      <p:sp>
        <p:nvSpPr>
          <p:cNvPr id="100" name="Titel 8">
            <a:extLst>
              <a:ext uri="{FF2B5EF4-FFF2-40B4-BE49-F238E27FC236}">
                <a16:creationId xmlns:a16="http://schemas.microsoft.com/office/drawing/2014/main" id="{E222CBB7-CADD-4195-959D-4A4702DDAE6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310019" y="1079092"/>
            <a:ext cx="2332675" cy="4307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360000" rtl="0" eaLnBrk="1" latinLnBrk="0" hangingPunct="1">
              <a:lnSpc>
                <a:spcPct val="115000"/>
              </a:lnSpc>
              <a:spcBef>
                <a:spcPct val="0"/>
              </a:spcBef>
              <a:buNone/>
              <a:defRPr sz="1800" kern="1200">
                <a:solidFill>
                  <a:srgbClr val="E20613"/>
                </a:solidFill>
                <a:latin typeface="Lucida Sans Techem" panose="020B0602040502020204" pitchFamily="34" charset="0"/>
                <a:ea typeface="+mj-ea"/>
                <a:cs typeface="+mj-cs"/>
              </a:defRPr>
            </a:lvl1pPr>
          </a:lstStyle>
          <a:p>
            <a:r>
              <a:rPr lang="en-GB" altLang="en-US" sz="2400" b="1" dirty="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rPr>
              <a:t>51,9M</a:t>
            </a:r>
          </a:p>
        </p:txBody>
      </p:sp>
      <p:sp>
        <p:nvSpPr>
          <p:cNvPr id="101" name="Titel 8">
            <a:extLst>
              <a:ext uri="{FF2B5EF4-FFF2-40B4-BE49-F238E27FC236}">
                <a16:creationId xmlns:a16="http://schemas.microsoft.com/office/drawing/2014/main" id="{24EB5A82-9DC7-41A3-A83D-FD46F61AF72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319445" y="1883488"/>
            <a:ext cx="2332675" cy="4307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360000" rtl="0" eaLnBrk="1" latinLnBrk="0" hangingPunct="1">
              <a:lnSpc>
                <a:spcPct val="115000"/>
              </a:lnSpc>
              <a:spcBef>
                <a:spcPct val="0"/>
              </a:spcBef>
              <a:buNone/>
              <a:defRPr sz="1800" kern="1200">
                <a:solidFill>
                  <a:srgbClr val="E20613"/>
                </a:solidFill>
                <a:latin typeface="Lucida Sans Techem" panose="020B0602040502020204" pitchFamily="34" charset="0"/>
                <a:ea typeface="+mj-ea"/>
                <a:cs typeface="+mj-cs"/>
              </a:defRPr>
            </a:lvl1pPr>
          </a:lstStyle>
          <a:p>
            <a:r>
              <a:rPr lang="en-GB" altLang="en-US" sz="2400" b="1" dirty="0">
                <a:solidFill>
                  <a:schemeClr val="tx1"/>
                </a:solidFill>
                <a:latin typeface="Lucida Sans" charset="0"/>
                <a:ea typeface="Lucida Sans" charset="0"/>
                <a:cs typeface="Lucida Sans" charset="0"/>
              </a:rPr>
              <a:t>38M</a:t>
            </a:r>
          </a:p>
        </p:txBody>
      </p:sp>
      <p:sp>
        <p:nvSpPr>
          <p:cNvPr id="103" name="Textfeld 29">
            <a:extLst>
              <a:ext uri="{FF2B5EF4-FFF2-40B4-BE49-F238E27FC236}">
                <a16:creationId xmlns:a16="http://schemas.microsoft.com/office/drawing/2014/main" id="{A91D21C8-D9CD-4699-B3FA-F944CD71831E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3319445" y="1464652"/>
            <a:ext cx="2155298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950" dirty="0"/>
              <a:t>measuring devices in use</a:t>
            </a:r>
          </a:p>
        </p:txBody>
      </p:sp>
      <p:sp>
        <p:nvSpPr>
          <p:cNvPr id="104" name="Textfeld 30">
            <a:extLst>
              <a:ext uri="{FF2B5EF4-FFF2-40B4-BE49-F238E27FC236}">
                <a16:creationId xmlns:a16="http://schemas.microsoft.com/office/drawing/2014/main" id="{5DA95070-25EE-40AC-A465-D1FAFBB39496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3319445" y="2259037"/>
            <a:ext cx="2155298" cy="3847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950" dirty="0"/>
              <a:t>remote measuring devices</a:t>
            </a:r>
            <a:br>
              <a:rPr lang="en-GB" sz="950" dirty="0"/>
            </a:br>
            <a:r>
              <a:rPr lang="en-GB" sz="950" dirty="0"/>
              <a:t>in use around the world</a:t>
            </a:r>
          </a:p>
        </p:txBody>
      </p:sp>
      <p:sp>
        <p:nvSpPr>
          <p:cNvPr id="106" name="Textfeld 1">
            <a:extLst>
              <a:ext uri="{FF2B5EF4-FFF2-40B4-BE49-F238E27FC236}">
                <a16:creationId xmlns:a16="http://schemas.microsoft.com/office/drawing/2014/main" id="{37BDDFDC-6AC7-4F84-A314-C9CE9DD61F59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467544" y="4515966"/>
            <a:ext cx="6873677" cy="21544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en-GB" sz="800" baseline="30000" dirty="0"/>
              <a:t>1 </a:t>
            </a:r>
            <a:r>
              <a:rPr lang="en-GB" sz="800" dirty="0"/>
              <a:t>Consolidated financial statement for the 2018/2019 financial year according to IFRS 15 and IFRS 16 on a preliminary and voluntary basis</a:t>
            </a:r>
          </a:p>
        </p:txBody>
      </p:sp>
      <p:pic>
        <p:nvPicPr>
          <p:cNvPr id="107" name="Grafik 32">
            <a:extLst>
              <a:ext uri="{FF2B5EF4-FFF2-40B4-BE49-F238E27FC236}">
                <a16:creationId xmlns:a16="http://schemas.microsoft.com/office/drawing/2014/main" id="{9A8C16B2-BF6C-4A15-AE59-1A52999D782D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3" t="18923" r="27974" b="18037"/>
          <a:stretch/>
        </p:blipFill>
        <p:spPr bwMode="gray">
          <a:xfrm>
            <a:off x="470585" y="3216046"/>
            <a:ext cx="502191" cy="507832"/>
          </a:xfrm>
          <a:prstGeom prst="ellipse">
            <a:avLst/>
          </a:prstGeom>
        </p:spPr>
      </p:pic>
      <p:pic>
        <p:nvPicPr>
          <p:cNvPr id="108" name="Grafik 19">
            <a:extLst>
              <a:ext uri="{FF2B5EF4-FFF2-40B4-BE49-F238E27FC236}">
                <a16:creationId xmlns:a16="http://schemas.microsoft.com/office/drawing/2014/main" id="{495A5631-DB2F-4CBA-9BFE-30FF2274B6DF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9" t="18779" r="27609" b="18779"/>
          <a:stretch/>
        </p:blipFill>
        <p:spPr bwMode="gray">
          <a:xfrm>
            <a:off x="1120713" y="3216045"/>
            <a:ext cx="515188" cy="507831"/>
          </a:xfrm>
          <a:prstGeom prst="ellipse">
            <a:avLst/>
          </a:prstGeom>
        </p:spPr>
      </p:pic>
      <p:sp>
        <p:nvSpPr>
          <p:cNvPr id="109" name="Rechteck 12">
            <a:extLst>
              <a:ext uri="{FF2B5EF4-FFF2-40B4-BE49-F238E27FC236}">
                <a16:creationId xmlns:a16="http://schemas.microsoft.com/office/drawing/2014/main" id="{782A64DD-DA17-4043-A17D-7D73AF8E8753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67544" y="2643758"/>
            <a:ext cx="3013049" cy="5078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lvl="0"/>
            <a:r>
              <a:rPr lang="en-GB" dirty="0"/>
              <a:t>Certified quality</a:t>
            </a:r>
            <a:br>
              <a:rPr lang="en-GB" dirty="0"/>
            </a:br>
            <a:r>
              <a:rPr lang="en-GB" dirty="0"/>
              <a:t>and energy managemen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C8BCD1E-646B-4628-92CB-286F14A8DF12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-388930" y="5524078"/>
            <a:ext cx="9959960" cy="2319042"/>
            <a:chOff x="-22860" y="3003798"/>
            <a:chExt cx="9189720" cy="2139702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A711ECEF-67F7-4267-9E65-092FEA64C1A9}"/>
                </a:ext>
              </a:extLst>
            </p:cNvPr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 rotWithShape="1"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8338"/>
            <a:stretch/>
          </p:blipFill>
          <p:spPr bwMode="gray">
            <a:xfrm>
              <a:off x="0" y="3003798"/>
              <a:ext cx="9144000" cy="2139702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D25C0DF-2A0D-4D34-8EC0-4F2543760EE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-22860" y="3005137"/>
              <a:ext cx="9189720" cy="2138363"/>
            </a:xfrm>
            <a:prstGeom prst="rect">
              <a:avLst/>
            </a:prstGeom>
            <a:solidFill>
              <a:schemeClr val="bg1">
                <a:alpha val="5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900C777-5FDB-42F8-9620-915903AD1B96}"/>
              </a:ext>
            </a:extLst>
          </p:cNvPr>
          <p:cNvGrpSpPr/>
          <p:nvPr>
            <p:custDataLst>
              <p:tags r:id="rId20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41" name="Rechteck 12">
              <a:extLst>
                <a:ext uri="{FF2B5EF4-FFF2-40B4-BE49-F238E27FC236}">
                  <a16:creationId xmlns:a16="http://schemas.microsoft.com/office/drawing/2014/main" id="{CE5C7E58-1B4A-43A2-9CE8-D5DFCA89C97B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D4C6C7A-DD2D-4694-AFA3-3BE0106397B1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43" name="Rectangle 5">
                <a:extLst>
                  <a:ext uri="{FF2B5EF4-FFF2-40B4-BE49-F238E27FC236}">
                    <a16:creationId xmlns:a16="http://schemas.microsoft.com/office/drawing/2014/main" id="{637B5008-9ABB-4C76-ACBB-31B5A4E6212B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30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4090A365-0FB9-45E3-A157-8F8995C7012B}"/>
                  </a:ext>
                </a:extLst>
              </p:cNvPr>
              <p:cNvGrpSpPr/>
              <p:nvPr userDrawn="1">
                <p:custDataLst>
                  <p:tags r:id="rId31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9" name="Freeform 6">
                  <a:extLst>
                    <a:ext uri="{FF2B5EF4-FFF2-40B4-BE49-F238E27FC236}">
                      <a16:creationId xmlns:a16="http://schemas.microsoft.com/office/drawing/2014/main" id="{513F3FC0-A5CB-4949-AF8E-CB0A43F48D06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">
                  <a:extLst>
                    <a:ext uri="{FF2B5EF4-FFF2-40B4-BE49-F238E27FC236}">
                      <a16:creationId xmlns:a16="http://schemas.microsoft.com/office/drawing/2014/main" id="{FD4FD483-FD79-4D66-9E0C-9680147D543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8">
                  <a:extLst>
                    <a:ext uri="{FF2B5EF4-FFF2-40B4-BE49-F238E27FC236}">
                      <a16:creationId xmlns:a16="http://schemas.microsoft.com/office/drawing/2014/main" id="{E615E96A-7562-4550-8F07-8C0EC8EBA157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9">
                  <a:extLst>
                    <a:ext uri="{FF2B5EF4-FFF2-40B4-BE49-F238E27FC236}">
                      <a16:creationId xmlns:a16="http://schemas.microsoft.com/office/drawing/2014/main" id="{D341B323-DBAC-4847-8CDE-D94914D70F5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10">
                  <a:extLst>
                    <a:ext uri="{FF2B5EF4-FFF2-40B4-BE49-F238E27FC236}">
                      <a16:creationId xmlns:a16="http://schemas.microsoft.com/office/drawing/2014/main" id="{22A2EF17-F1F5-45C4-9F3E-F067EDCB566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11">
                  <a:extLst>
                    <a:ext uri="{FF2B5EF4-FFF2-40B4-BE49-F238E27FC236}">
                      <a16:creationId xmlns:a16="http://schemas.microsoft.com/office/drawing/2014/main" id="{EA99007E-5867-40DA-B90C-20CF7747397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2">
                  <a:extLst>
                    <a:ext uri="{FF2B5EF4-FFF2-40B4-BE49-F238E27FC236}">
                      <a16:creationId xmlns:a16="http://schemas.microsoft.com/office/drawing/2014/main" id="{B7CB7FA7-4E8F-4C58-B578-C8DEEC10F5A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3">
                  <a:extLst>
                    <a:ext uri="{FF2B5EF4-FFF2-40B4-BE49-F238E27FC236}">
                      <a16:creationId xmlns:a16="http://schemas.microsoft.com/office/drawing/2014/main" id="{EA9880A0-2089-4B23-9F4D-17E5A345758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2DB52B1-2FE1-44EE-93ED-D85A9E584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4</a:t>
            </a:fld>
            <a:endParaRPr lang="en-GB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027789F-EFDD-4608-9A1D-CF41798859D3}"/>
              </a:ext>
            </a:extLst>
          </p:cNvPr>
          <p:cNvGrpSpPr/>
          <p:nvPr/>
        </p:nvGrpSpPr>
        <p:grpSpPr>
          <a:xfrm>
            <a:off x="4832412" y="988586"/>
            <a:ext cx="3995676" cy="3168302"/>
            <a:chOff x="4832412" y="988586"/>
            <a:chExt cx="3995676" cy="3168302"/>
          </a:xfrm>
        </p:grpSpPr>
        <p:sp>
          <p:nvSpPr>
            <p:cNvPr id="63" name="Textplatzhalter 13">
              <a:extLst>
                <a:ext uri="{FF2B5EF4-FFF2-40B4-BE49-F238E27FC236}">
                  <a16:creationId xmlns:a16="http://schemas.microsoft.com/office/drawing/2014/main" id="{BED7F8B6-293A-48F4-B529-0D2B72676B39}"/>
                </a:ext>
              </a:extLst>
            </p:cNvPr>
            <p:cNvSpPr txBox="1"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805644" y="988586"/>
              <a:ext cx="3022444" cy="215924"/>
            </a:xfrm>
            <a:prstGeom prst="rect">
              <a:avLst/>
            </a:prstGeom>
          </p:spPr>
          <p:txBody>
            <a:bodyPr lIns="0" bIns="10800" anchor="b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dirty="0"/>
                <a:t>Business Segments</a:t>
              </a:r>
            </a:p>
          </p:txBody>
        </p:sp>
        <p:cxnSp>
          <p:nvCxnSpPr>
            <p:cNvPr id="66" name="Gerade Verbindung 14">
              <a:extLst>
                <a:ext uri="{FF2B5EF4-FFF2-40B4-BE49-F238E27FC236}">
                  <a16:creationId xmlns:a16="http://schemas.microsoft.com/office/drawing/2014/main" id="{E41971DD-624E-4EE7-89D1-4DE3CD96AB5B}"/>
                </a:ext>
              </a:extLst>
            </p:cNvPr>
            <p:cNvCxnSpPr>
              <a:cxnSpLocks/>
            </p:cNvCxnSpPr>
            <p:nvPr>
              <p:custDataLst>
                <p:tags r:id="rId22"/>
              </p:custDataLst>
            </p:nvPr>
          </p:nvCxnSpPr>
          <p:spPr bwMode="gray">
            <a:xfrm>
              <a:off x="5805644" y="1204510"/>
              <a:ext cx="294282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73" name="Chart 3">
              <a:extLst>
                <a:ext uri="{FF2B5EF4-FFF2-40B4-BE49-F238E27FC236}">
                  <a16:creationId xmlns:a16="http://schemas.microsoft.com/office/drawing/2014/main" id="{56025ED8-8B68-4A94-A823-D5ED560570C1}"/>
                </a:ext>
              </a:extLst>
            </p:cNvPr>
            <p:cNvGraphicFramePr/>
            <p:nvPr>
              <p:custDataLst>
                <p:tags r:id="rId23"/>
              </p:custDataLst>
              <p:extLst>
                <p:ext uri="{D42A27DB-BD31-4B8C-83A1-F6EECF244321}">
                  <p14:modId xmlns:p14="http://schemas.microsoft.com/office/powerpoint/2010/main" val="1385251475"/>
                </p:ext>
              </p:extLst>
            </p:nvPr>
          </p:nvGraphicFramePr>
          <p:xfrm>
            <a:off x="4833301" y="1403119"/>
            <a:ext cx="3204236" cy="13856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0"/>
            </a:graphicData>
          </a:graphic>
        </p:graphicFrame>
        <p:sp>
          <p:nvSpPr>
            <p:cNvPr id="74" name="Textplatzhalter 13">
              <a:extLst>
                <a:ext uri="{FF2B5EF4-FFF2-40B4-BE49-F238E27FC236}">
                  <a16:creationId xmlns:a16="http://schemas.microsoft.com/office/drawing/2014/main" id="{F2B948C2-91D8-4784-AFDE-166ECF987425}"/>
                </a:ext>
              </a:extLst>
            </p:cNvPr>
            <p:cNvSpPr txBox="1"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5805644" y="1204560"/>
              <a:ext cx="1727836" cy="215924"/>
            </a:xfrm>
            <a:prstGeom prst="rect">
              <a:avLst/>
            </a:prstGeom>
          </p:spPr>
          <p:txBody>
            <a:bodyPr lIns="0" bIns="10800" anchor="t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defTabSz="685800">
                <a:lnSpc>
                  <a:spcPct val="100000"/>
                </a:lnSpc>
                <a:buClrTx/>
                <a:defRPr/>
              </a:pPr>
              <a:r>
                <a:rPr lang="en-GB" sz="950" b="0" dirty="0">
                  <a:solidFill>
                    <a:srgbClr val="000000"/>
                  </a:solidFill>
                  <a:latin typeface="Lucida Sans Techem"/>
                </a:rPr>
                <a:t>% of total group revenues</a:t>
              </a:r>
            </a:p>
          </p:txBody>
        </p:sp>
        <p:graphicFrame>
          <p:nvGraphicFramePr>
            <p:cNvPr id="75" name="Chart 3">
              <a:extLst>
                <a:ext uri="{FF2B5EF4-FFF2-40B4-BE49-F238E27FC236}">
                  <a16:creationId xmlns:a16="http://schemas.microsoft.com/office/drawing/2014/main" id="{F0706C66-396B-472C-B67D-7D7356284943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25"/>
              </p:custDataLst>
              <p:extLst>
                <p:ext uri="{D42A27DB-BD31-4B8C-83A1-F6EECF244321}">
                  <p14:modId xmlns:p14="http://schemas.microsoft.com/office/powerpoint/2010/main" val="2713159351"/>
                </p:ext>
              </p:extLst>
            </p:nvPr>
          </p:nvGraphicFramePr>
          <p:xfrm>
            <a:off x="4832412" y="2770888"/>
            <a:ext cx="3205125" cy="1386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1"/>
            </a:graphicData>
          </a:graphic>
        </p:graphicFrame>
        <p:sp>
          <p:nvSpPr>
            <p:cNvPr id="76" name="Textplatzhalter 13">
              <a:extLst>
                <a:ext uri="{FF2B5EF4-FFF2-40B4-BE49-F238E27FC236}">
                  <a16:creationId xmlns:a16="http://schemas.microsoft.com/office/drawing/2014/main" id="{2E335F3A-4788-4EEF-9860-6D7363BFC394}"/>
                </a:ext>
              </a:extLst>
            </p:cNvPr>
            <p:cNvSpPr txBox="1"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7209565" y="1924640"/>
              <a:ext cx="1260140" cy="215924"/>
            </a:xfrm>
            <a:prstGeom prst="rect">
              <a:avLst/>
            </a:prstGeom>
          </p:spPr>
          <p:txBody>
            <a:bodyPr lIns="0" bIns="10800" anchor="ctr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000" dirty="0"/>
                <a:t>Energy </a:t>
              </a:r>
              <a:br>
                <a:rPr lang="en-GB" sz="1000" dirty="0"/>
              </a:br>
              <a:r>
                <a:rPr lang="en-GB" sz="1000" dirty="0"/>
                <a:t>Services (ES)</a:t>
              </a:r>
            </a:p>
          </p:txBody>
        </p:sp>
        <p:sp>
          <p:nvSpPr>
            <p:cNvPr id="77" name="Textplatzhalter 13">
              <a:extLst>
                <a:ext uri="{FF2B5EF4-FFF2-40B4-BE49-F238E27FC236}">
                  <a16:creationId xmlns:a16="http://schemas.microsoft.com/office/drawing/2014/main" id="{79289179-DD52-492D-BFF1-962B3004B839}"/>
                </a:ext>
              </a:extLst>
            </p:cNvPr>
            <p:cNvSpPr txBox="1"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7209565" y="3364964"/>
              <a:ext cx="1260140" cy="215924"/>
            </a:xfrm>
            <a:prstGeom prst="rect">
              <a:avLst/>
            </a:prstGeom>
          </p:spPr>
          <p:txBody>
            <a:bodyPr lIns="0" bIns="10800" anchor="ctr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000" dirty="0"/>
                <a:t>Energy </a:t>
              </a:r>
              <a:br>
                <a:rPr lang="en-GB" sz="1000" dirty="0"/>
              </a:br>
              <a:r>
                <a:rPr lang="en-GB" sz="1000" dirty="0"/>
                <a:t>Contracting (EC)</a:t>
              </a:r>
            </a:p>
          </p:txBody>
        </p:sp>
        <p:sp>
          <p:nvSpPr>
            <p:cNvPr id="78" name="Textplatzhalter 13">
              <a:extLst>
                <a:ext uri="{FF2B5EF4-FFF2-40B4-BE49-F238E27FC236}">
                  <a16:creationId xmlns:a16="http://schemas.microsoft.com/office/drawing/2014/main" id="{557033CB-2E7E-4EF9-99FA-742CEF987712}"/>
                </a:ext>
              </a:extLst>
            </p:cNvPr>
            <p:cNvSpPr txBox="1"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985135" y="2047272"/>
              <a:ext cx="467696" cy="215924"/>
            </a:xfrm>
            <a:prstGeom prst="rect">
              <a:avLst/>
            </a:prstGeom>
          </p:spPr>
          <p:txBody>
            <a:bodyPr lIns="0" bIns="10800" anchor="b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800" b="0" dirty="0">
                  <a:solidFill>
                    <a:schemeClr val="bg1"/>
                  </a:solidFill>
                </a:rPr>
                <a:t>Int’l</a:t>
              </a:r>
            </a:p>
          </p:txBody>
        </p:sp>
        <p:sp>
          <p:nvSpPr>
            <p:cNvPr id="79" name="Textplatzhalter 13">
              <a:extLst>
                <a:ext uri="{FF2B5EF4-FFF2-40B4-BE49-F238E27FC236}">
                  <a16:creationId xmlns:a16="http://schemas.microsoft.com/office/drawing/2014/main" id="{968A185F-B027-420D-88AB-1C53210EC73C}"/>
                </a:ext>
              </a:extLst>
            </p:cNvPr>
            <p:cNvSpPr txBox="1"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6396143" y="2212672"/>
              <a:ext cx="792088" cy="215924"/>
            </a:xfrm>
            <a:prstGeom prst="rect">
              <a:avLst/>
            </a:prstGeom>
          </p:spPr>
          <p:txBody>
            <a:bodyPr lIns="0" bIns="10800" anchor="b" anchorCtr="0"/>
            <a:lstStyle>
              <a:lvl1pPr marL="0" indent="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613"/>
                </a:buClr>
                <a:buFont typeface="Wingdings" panose="05000000000000000000" pitchFamily="2" charset="2"/>
                <a:buNone/>
                <a:tabLst/>
                <a:defRPr sz="1200" b="1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1pPr>
              <a:lvl2pPr marL="36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2pPr>
              <a:lvl3pPr marL="54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3pPr>
              <a:lvl4pPr marL="72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4pPr>
              <a:lvl5pPr marL="900000" indent="-180000" algn="l" defTabSz="258763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20613"/>
                </a:buClr>
                <a:buFont typeface="Wingdings" panose="05000000000000000000" pitchFamily="2" charset="2"/>
                <a:buChar char="§"/>
                <a:tabLst/>
                <a:defRPr sz="1200" kern="1200">
                  <a:solidFill>
                    <a:schemeClr val="tx1"/>
                  </a:solidFill>
                  <a:latin typeface="Lucida Sans Techem" panose="020B0602040502020204" pitchFamily="34" charset="0"/>
                  <a:ea typeface="+mn-ea"/>
                  <a:cs typeface="+mn-cs"/>
                </a:defRPr>
              </a:lvl5pPr>
              <a:lvl6pPr marL="1885856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39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22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05" indent="-171442" algn="l" defTabSz="685766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800" b="0" dirty="0">
                  <a:solidFill>
                    <a:schemeClr val="bg1"/>
                  </a:solidFill>
                </a:rPr>
                <a:t>German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1665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3" grpId="0"/>
      <p:bldP spid="104" grpId="0"/>
      <p:bldP spid="10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35E0052-3946-4A08-9FA2-F0A9074C7BC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2" name="Fußzeilenplatzhalter 2">
            <a:extLst>
              <a:ext uri="{FF2B5EF4-FFF2-40B4-BE49-F238E27FC236}">
                <a16:creationId xmlns:a16="http://schemas.microsoft.com/office/drawing/2014/main" id="{A1007A28-EF8E-4AA9-B9A9-0FCD86F2265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85" name="Rectangle 20">
            <a:extLst>
              <a:ext uri="{FF2B5EF4-FFF2-40B4-BE49-F238E27FC236}">
                <a16:creationId xmlns:a16="http://schemas.microsoft.com/office/drawing/2014/main" id="{C311A2B8-958E-4305-B6E6-FA82F9FBDB4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30976" y="555525"/>
            <a:ext cx="8207376" cy="1093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FFICIENT</a:t>
            </a:r>
            <a:r>
              <a:rPr lang="en-GB" sz="40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br>
              <a:rPr lang="en-GB" sz="40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NERGY MANAGEMENT </a:t>
            </a:r>
            <a:br>
              <a:rPr lang="en-GB" sz="40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en-GB" sz="40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6" name="Rectangle 21">
            <a:extLst>
              <a:ext uri="{FF2B5EF4-FFF2-40B4-BE49-F238E27FC236}">
                <a16:creationId xmlns:a16="http://schemas.microsoft.com/office/drawing/2014/main" id="{C3672AEC-74BD-4B0E-80E7-15D30252A2C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7544" y="1779662"/>
            <a:ext cx="6096864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bg1"/>
                </a:solidFill>
              </a:rPr>
              <a:t>is a global issue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87" name="Rectangle 23">
            <a:extLst>
              <a:ext uri="{FF2B5EF4-FFF2-40B4-BE49-F238E27FC236}">
                <a16:creationId xmlns:a16="http://schemas.microsoft.com/office/drawing/2014/main" id="{553A57C5-5B68-43F1-8910-518E80CFC74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172669" y="2369691"/>
            <a:ext cx="584994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bg1"/>
                </a:solidFill>
              </a:rPr>
              <a:t>with around </a:t>
            </a:r>
            <a:r>
              <a:rPr lang="en-GB" sz="1800" b="1" dirty="0">
                <a:solidFill>
                  <a:schemeClr val="bg1"/>
                </a:solidFill>
              </a:rPr>
              <a:t>45 LOCATIONS</a:t>
            </a: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400" dirty="0">
                <a:solidFill>
                  <a:schemeClr val="bg1"/>
                </a:solidFill>
              </a:rPr>
              <a:t>throughout Germany</a:t>
            </a:r>
          </a:p>
        </p:txBody>
      </p:sp>
      <p:sp>
        <p:nvSpPr>
          <p:cNvPr id="88" name="Rectangle 23">
            <a:extLst>
              <a:ext uri="{FF2B5EF4-FFF2-40B4-BE49-F238E27FC236}">
                <a16:creationId xmlns:a16="http://schemas.microsoft.com/office/drawing/2014/main" id="{B369B216-343A-4E63-85E2-F9B89BC552A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172669" y="3089771"/>
            <a:ext cx="584994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bg1"/>
                </a:solidFill>
              </a:rPr>
              <a:t>over </a:t>
            </a:r>
            <a:r>
              <a:rPr lang="en-GB" sz="1800" b="1" dirty="0">
                <a:solidFill>
                  <a:schemeClr val="bg1"/>
                </a:solidFill>
              </a:rPr>
              <a:t>134 BRANCHES </a:t>
            </a:r>
            <a:r>
              <a:rPr lang="en-GB" sz="1400" dirty="0">
                <a:solidFill>
                  <a:schemeClr val="bg1"/>
                </a:solidFill>
              </a:rPr>
              <a:t>in </a:t>
            </a:r>
            <a:br>
              <a:rPr lang="en-GB" sz="1400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21 COUNTRIES </a:t>
            </a:r>
            <a:r>
              <a:rPr lang="en-GB" sz="1400" dirty="0">
                <a:solidFill>
                  <a:schemeClr val="bg1"/>
                </a:solidFill>
              </a:rPr>
              <a:t>around the world</a:t>
            </a:r>
            <a:endParaRPr lang="en-GB" sz="1800" b="1" dirty="0">
              <a:solidFill>
                <a:schemeClr val="bg1"/>
              </a:solidFill>
            </a:endParaRPr>
          </a:p>
        </p:txBody>
      </p:sp>
      <p:grpSp>
        <p:nvGrpSpPr>
          <p:cNvPr id="89" name="Gruppieren 6152">
            <a:extLst>
              <a:ext uri="{FF2B5EF4-FFF2-40B4-BE49-F238E27FC236}">
                <a16:creationId xmlns:a16="http://schemas.microsoft.com/office/drawing/2014/main" id="{575BB90E-4C59-4CA1-B033-25E141065270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467544" y="2355726"/>
            <a:ext cx="504000" cy="504000"/>
            <a:chOff x="467544" y="2787830"/>
            <a:chExt cx="504000" cy="504000"/>
          </a:xfrm>
        </p:grpSpPr>
        <p:sp>
          <p:nvSpPr>
            <p:cNvPr id="90" name="Rectangle 3">
              <a:extLst>
                <a:ext uri="{FF2B5EF4-FFF2-40B4-BE49-F238E27FC236}">
                  <a16:creationId xmlns:a16="http://schemas.microsoft.com/office/drawing/2014/main" id="{0F0DEA8C-A020-41D8-9D5F-8E87D9C0CF92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467544" y="278783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1" name="Grafik 6144">
              <a:extLst>
                <a:ext uri="{FF2B5EF4-FFF2-40B4-BE49-F238E27FC236}">
                  <a16:creationId xmlns:a16="http://schemas.microsoft.com/office/drawing/2014/main" id="{88EAF9C6-FFD4-4132-8F6A-3CCF1F21E865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 bwMode="gray">
            <a:xfrm>
              <a:off x="552861" y="2873147"/>
              <a:ext cx="333366" cy="333366"/>
            </a:xfrm>
            <a:prstGeom prst="rect">
              <a:avLst/>
            </a:prstGeom>
          </p:spPr>
        </p:pic>
      </p:grpSp>
      <p:grpSp>
        <p:nvGrpSpPr>
          <p:cNvPr id="92" name="Gruppieren 6151">
            <a:extLst>
              <a:ext uri="{FF2B5EF4-FFF2-40B4-BE49-F238E27FC236}">
                <a16:creationId xmlns:a16="http://schemas.microsoft.com/office/drawing/2014/main" id="{7276AF16-E493-4E7A-B16B-7C6CEC3A69D2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467544" y="3075806"/>
            <a:ext cx="504000" cy="504000"/>
            <a:chOff x="467544" y="3651926"/>
            <a:chExt cx="504000" cy="504000"/>
          </a:xfrm>
        </p:grpSpPr>
        <p:sp>
          <p:nvSpPr>
            <p:cNvPr id="93" name="Rectangle 3">
              <a:extLst>
                <a:ext uri="{FF2B5EF4-FFF2-40B4-BE49-F238E27FC236}">
                  <a16:creationId xmlns:a16="http://schemas.microsoft.com/office/drawing/2014/main" id="{74C2A373-4787-40AE-9647-6C397B4AF9E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467544" y="3651926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4" name="Grafik 6148">
              <a:extLst>
                <a:ext uri="{FF2B5EF4-FFF2-40B4-BE49-F238E27FC236}">
                  <a16:creationId xmlns:a16="http://schemas.microsoft.com/office/drawing/2014/main" id="{F2065BA2-88B6-41D8-83B8-EC3B5EAA8109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 bwMode="gray">
            <a:xfrm>
              <a:off x="538679" y="3723061"/>
              <a:ext cx="361731" cy="361731"/>
            </a:xfrm>
            <a:prstGeom prst="rect">
              <a:avLst/>
            </a:prstGeom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046CB332-B897-419C-A31D-7A607FD3665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982040" y="2124075"/>
            <a:ext cx="6147610" cy="5143500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F1E2C3B-17DC-4FD1-A335-967850548206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30" name="Rechteck 12">
              <a:extLst>
                <a:ext uri="{FF2B5EF4-FFF2-40B4-BE49-F238E27FC236}">
                  <a16:creationId xmlns:a16="http://schemas.microsoft.com/office/drawing/2014/main" id="{14589692-868F-4C15-A01F-A9BF8B8439EB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C1D7F39-8DB1-485A-99EC-0AE8228FE155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32" name="Rectangle 5">
                <a:extLst>
                  <a:ext uri="{FF2B5EF4-FFF2-40B4-BE49-F238E27FC236}">
                    <a16:creationId xmlns:a16="http://schemas.microsoft.com/office/drawing/2014/main" id="{DC101BA0-4BDC-4D32-872A-1503B13C3ED8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5459D2B3-95C6-45F0-9CD9-A899AB18E58A}"/>
                  </a:ext>
                </a:extLst>
              </p:cNvPr>
              <p:cNvGrpSpPr/>
              <p:nvPr userDrawn="1">
                <p:custDataLst>
                  <p:tags r:id="rId1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34" name="Freeform 6">
                  <a:extLst>
                    <a:ext uri="{FF2B5EF4-FFF2-40B4-BE49-F238E27FC236}">
                      <a16:creationId xmlns:a16="http://schemas.microsoft.com/office/drawing/2014/main" id="{7CB829B2-18CE-4E73-BAA5-8FD8CE0457B6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7">
                  <a:extLst>
                    <a:ext uri="{FF2B5EF4-FFF2-40B4-BE49-F238E27FC236}">
                      <a16:creationId xmlns:a16="http://schemas.microsoft.com/office/drawing/2014/main" id="{BEEC499E-6886-41BA-9C37-00D21FA4FC2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8">
                  <a:extLst>
                    <a:ext uri="{FF2B5EF4-FFF2-40B4-BE49-F238E27FC236}">
                      <a16:creationId xmlns:a16="http://schemas.microsoft.com/office/drawing/2014/main" id="{DFE831E9-60EB-464A-96F4-057764BC8528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9">
                  <a:extLst>
                    <a:ext uri="{FF2B5EF4-FFF2-40B4-BE49-F238E27FC236}">
                      <a16:creationId xmlns:a16="http://schemas.microsoft.com/office/drawing/2014/main" id="{507E964A-A694-4D6D-AF2D-762A36ED7277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10">
                  <a:extLst>
                    <a:ext uri="{FF2B5EF4-FFF2-40B4-BE49-F238E27FC236}">
                      <a16:creationId xmlns:a16="http://schemas.microsoft.com/office/drawing/2014/main" id="{87D3B13F-FAEC-4249-B725-5A627DDD4B0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9" name="Freeform 11">
                  <a:extLst>
                    <a:ext uri="{FF2B5EF4-FFF2-40B4-BE49-F238E27FC236}">
                      <a16:creationId xmlns:a16="http://schemas.microsoft.com/office/drawing/2014/main" id="{A2D9E9CC-3E4F-4EB2-8918-BF1555F7933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12">
                  <a:extLst>
                    <a:ext uri="{FF2B5EF4-FFF2-40B4-BE49-F238E27FC236}">
                      <a16:creationId xmlns:a16="http://schemas.microsoft.com/office/drawing/2014/main" id="{0746BD3B-4D9F-4F10-8488-FEC8BB4EDCA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13">
                  <a:extLst>
                    <a:ext uri="{FF2B5EF4-FFF2-40B4-BE49-F238E27FC236}">
                      <a16:creationId xmlns:a16="http://schemas.microsoft.com/office/drawing/2014/main" id="{A9E48EE8-B28A-4217-A2D0-7CC7D846367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8791B87-212D-46B8-974A-17EB1A0EEF47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>
                <a:solidFill>
                  <a:schemeClr val="bg1"/>
                </a:solidFill>
              </a:rPr>
              <a:t>03 Techem as a strong partner for your challenges</a:t>
            </a:r>
            <a:endParaRPr lang="en-GB" sz="1050" kern="600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F334B25-E7CD-446E-B03B-138DD4EE65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05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2.96296E-6 L -0.05017 -0.03487 " pathEditMode="relative" rAng="0" ptsTypes="AA">
                                      <p:cBhvr>
                                        <p:cTn id="6" dur="2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17" y="-175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750" fill="hold"/>
                                        <p:tgtEl>
                                          <p:spTgt spid="17"/>
                                        </p:tgtEl>
                                      </p:cBhvr>
                                      <p:by x="120000" y="12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10" dur="2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EAD0B84C-CBD9-408F-BB95-7FBD990F7D1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409" r="8392" b="8306"/>
          <a:stretch/>
        </p:blipFill>
        <p:spPr bwMode="gray">
          <a:xfrm rot="10800000">
            <a:off x="0" y="0"/>
            <a:ext cx="9155430" cy="514349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2FD8367-2E44-4A0B-B56A-B9D8542E93D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0" t="12021" r="3990" b="7411"/>
          <a:stretch/>
        </p:blipFill>
        <p:spPr bwMode="gray">
          <a:xfrm>
            <a:off x="11428" y="669795"/>
            <a:ext cx="9144001" cy="449678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0F168AC0-BCB8-4CBF-89B8-1D7085BEE25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-2540"/>
            <a:ext cx="9166859" cy="5166578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3" name="Fußzeilenplatzhalter 1">
            <a:extLst>
              <a:ext uri="{FF2B5EF4-FFF2-40B4-BE49-F238E27FC236}">
                <a16:creationId xmlns:a16="http://schemas.microsoft.com/office/drawing/2014/main" id="{658BC2A5-5C58-4E3E-8B1F-31EEC6964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extplatzhalter 7">
            <a:extLst>
              <a:ext uri="{FF2B5EF4-FFF2-40B4-BE49-F238E27FC236}">
                <a16:creationId xmlns:a16="http://schemas.microsoft.com/office/drawing/2014/main" id="{EA41131B-C5B2-4A68-8044-440D51EE134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593321" y="1059582"/>
            <a:ext cx="2330202" cy="48813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8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54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72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90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GB" altLang="en-US" b="1" dirty="0"/>
              <a:t>NICOLAI KUSS</a:t>
            </a:r>
          </a:p>
          <a:p>
            <a:pPr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GB" altLang="en-US" sz="1000" dirty="0"/>
              <a:t>Chief Sales Officer (CSO) </a:t>
            </a:r>
          </a:p>
        </p:txBody>
      </p:sp>
      <p:sp>
        <p:nvSpPr>
          <p:cNvPr id="54" name="Textplatzhalter 7">
            <a:extLst>
              <a:ext uri="{FF2B5EF4-FFF2-40B4-BE49-F238E27FC236}">
                <a16:creationId xmlns:a16="http://schemas.microsoft.com/office/drawing/2014/main" id="{CAF271AE-397D-4FD6-9405-79340DCFC74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821475" y="1059582"/>
            <a:ext cx="2330202" cy="48813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8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54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72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900000" indent="-180000" algn="l" defTabSz="258763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GB" altLang="en-US" b="1" dirty="0"/>
              <a:t>DR. CARSTEN SÜRIG</a:t>
            </a:r>
          </a:p>
          <a:p>
            <a:pPr marL="0" indent="0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GB" altLang="en-US" sz="1000" dirty="0"/>
              <a:t>Chief Financial Officer (CFO) &amp; </a:t>
            </a:r>
            <a:br>
              <a:rPr lang="en-GB" altLang="en-US" sz="1000" dirty="0"/>
            </a:br>
            <a:r>
              <a:rPr lang="en-GB" altLang="en-US" sz="1000" dirty="0"/>
              <a:t>Chief Performance Officer (CPO) 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9763FD2D-CC34-4EE7-A8AF-5F8E9E630B7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03" r="8381"/>
          <a:stretch/>
        </p:blipFill>
        <p:spPr bwMode="gray">
          <a:xfrm>
            <a:off x="4593321" y="1732607"/>
            <a:ext cx="2642975" cy="1810800"/>
          </a:xfrm>
          <a:prstGeom prst="rect">
            <a:avLst/>
          </a:prstGeom>
        </p:spPr>
      </p:pic>
      <p:sp>
        <p:nvSpPr>
          <p:cNvPr id="59" name="Rectangle 23">
            <a:extLst>
              <a:ext uri="{FF2B5EF4-FFF2-40B4-BE49-F238E27FC236}">
                <a16:creationId xmlns:a16="http://schemas.microsoft.com/office/drawing/2014/main" id="{372AD928-452A-42F9-8F5F-A14B23C5BA24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818885" y="3865307"/>
            <a:ext cx="5437758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2800" b="1" dirty="0">
                <a:solidFill>
                  <a:schemeClr val="tx1"/>
                </a:solidFill>
              </a:rPr>
              <a:t>STRONG PERSONALITIES</a:t>
            </a:r>
            <a:br>
              <a:rPr lang="en-GB" sz="2800" b="1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at the top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97EFF3F9-0010-423C-9A38-8C6CB445D62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0" r="11062"/>
          <a:stretch/>
        </p:blipFill>
        <p:spPr bwMode="gray">
          <a:xfrm>
            <a:off x="1821475" y="1732607"/>
            <a:ext cx="2640013" cy="1810800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A69847FA-626A-4A56-AA9B-746D873B488A}"/>
              </a:ext>
            </a:extLst>
          </p:cNvPr>
          <p:cNvGrpSpPr/>
          <p:nvPr>
            <p:custDataLst>
              <p:tags r:id="rId9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49" name="Rechteck 12">
              <a:extLst>
                <a:ext uri="{FF2B5EF4-FFF2-40B4-BE49-F238E27FC236}">
                  <a16:creationId xmlns:a16="http://schemas.microsoft.com/office/drawing/2014/main" id="{B2F6E802-6E21-43CB-9021-784431D29FBA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5B23FD0-3AA5-473A-B24D-94B5C864BF61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58" name="Rectangle 5">
                <a:extLst>
                  <a:ext uri="{FF2B5EF4-FFF2-40B4-BE49-F238E27FC236}">
                    <a16:creationId xmlns:a16="http://schemas.microsoft.com/office/drawing/2014/main" id="{760E8FF5-0A93-46A9-8B71-5FD7B0188D4B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503E9554-2991-47B3-939B-BB58A7CBE153}"/>
                  </a:ext>
                </a:extLst>
              </p:cNvPr>
              <p:cNvGrpSpPr/>
              <p:nvPr userDrawn="1">
                <p:custDataLst>
                  <p:tags r:id="rId12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61" name="Freeform 6">
                  <a:extLst>
                    <a:ext uri="{FF2B5EF4-FFF2-40B4-BE49-F238E27FC236}">
                      <a16:creationId xmlns:a16="http://schemas.microsoft.com/office/drawing/2014/main" id="{69602339-D207-4201-841D-229634AC296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7">
                  <a:extLst>
                    <a:ext uri="{FF2B5EF4-FFF2-40B4-BE49-F238E27FC236}">
                      <a16:creationId xmlns:a16="http://schemas.microsoft.com/office/drawing/2014/main" id="{BBD3B263-B82E-4963-9F35-89336E5B610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8">
                  <a:extLst>
                    <a:ext uri="{FF2B5EF4-FFF2-40B4-BE49-F238E27FC236}">
                      <a16:creationId xmlns:a16="http://schemas.microsoft.com/office/drawing/2014/main" id="{A5D634A5-4E98-4AA3-B9BB-8AA9EE9BFA4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9">
                  <a:extLst>
                    <a:ext uri="{FF2B5EF4-FFF2-40B4-BE49-F238E27FC236}">
                      <a16:creationId xmlns:a16="http://schemas.microsoft.com/office/drawing/2014/main" id="{9163480C-ED9A-4715-B9B3-1318E694F58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10">
                  <a:extLst>
                    <a:ext uri="{FF2B5EF4-FFF2-40B4-BE49-F238E27FC236}">
                      <a16:creationId xmlns:a16="http://schemas.microsoft.com/office/drawing/2014/main" id="{D178EEBC-3261-4731-85EB-23151580F34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11">
                  <a:extLst>
                    <a:ext uri="{FF2B5EF4-FFF2-40B4-BE49-F238E27FC236}">
                      <a16:creationId xmlns:a16="http://schemas.microsoft.com/office/drawing/2014/main" id="{F32FD9AF-5AB8-489E-A879-3BF5B63EAC6D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12">
                  <a:extLst>
                    <a:ext uri="{FF2B5EF4-FFF2-40B4-BE49-F238E27FC236}">
                      <a16:creationId xmlns:a16="http://schemas.microsoft.com/office/drawing/2014/main" id="{9089307A-B7F7-4EC9-BC01-BBFDCD990C5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13">
                  <a:extLst>
                    <a:ext uri="{FF2B5EF4-FFF2-40B4-BE49-F238E27FC236}">
                      <a16:creationId xmlns:a16="http://schemas.microsoft.com/office/drawing/2014/main" id="{9DBA4444-F687-4F53-987E-223E2561E1F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E0D75B4-B11C-4652-9C9D-1098BCD9A96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3 Techem as a strong partner for your challenges</a:t>
            </a:r>
            <a:endParaRPr lang="en-GB" sz="1050" kern="6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9CD84C3-C8F7-49FB-A485-7351EE6870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85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2" decel="7066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decel="7066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2" decel="7066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decel="7066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54" grpId="0"/>
      <p:bldP spid="5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60344BA4-A9FF-4C9E-81A4-194C31AA6CF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40" r="9424" b="10456"/>
          <a:stretch/>
        </p:blipFill>
        <p:spPr bwMode="gray"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04CCDF6C-14AD-40A4-A08A-D7452E0902A8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-542838" y="2859292"/>
            <a:ext cx="438337" cy="43016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44DB9-D76D-4DA9-9CD0-7F440030B0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6F970166-8FA3-4663-8CBC-C474A5629F2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30976" y="3435846"/>
            <a:ext cx="7914435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ORKING TOGETHER FOR</a:t>
            </a:r>
            <a:b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3200" b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 SUSTAINABLE FUTURE</a:t>
            </a:r>
            <a:endParaRPr lang="en-GB" sz="3200" b="1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9" name="Rectangle 21">
            <a:extLst>
              <a:ext uri="{FF2B5EF4-FFF2-40B4-BE49-F238E27FC236}">
                <a16:creationId xmlns:a16="http://schemas.microsoft.com/office/drawing/2014/main" id="{D9EC9AF7-D52E-4D39-A1F9-726B7FF39742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45265" y="293179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>
                <a:solidFill>
                  <a:schemeClr val="bg1"/>
                </a:solidFill>
              </a:rPr>
              <a:t>Confronting climate change with digitalization</a:t>
            </a:r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097CBB1-1BFC-418B-9B81-0AD4388D5D8F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38" name="Rechteck 12">
              <a:extLst>
                <a:ext uri="{FF2B5EF4-FFF2-40B4-BE49-F238E27FC236}">
                  <a16:creationId xmlns:a16="http://schemas.microsoft.com/office/drawing/2014/main" id="{B35EC1DE-4306-482F-B7AD-460BA07CE442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807DCEE-1C1C-4BD2-92E3-B48AA0531BA6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40" name="Rectangle 5">
                <a:extLst>
                  <a:ext uri="{FF2B5EF4-FFF2-40B4-BE49-F238E27FC236}">
                    <a16:creationId xmlns:a16="http://schemas.microsoft.com/office/drawing/2014/main" id="{746523CC-5501-4115-8BF9-78A570E32977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6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56CB474E-3CD1-4A8B-ABFF-C153CE94A2F7}"/>
                  </a:ext>
                </a:extLst>
              </p:cNvPr>
              <p:cNvGrpSpPr/>
              <p:nvPr userDrawn="1">
                <p:custDataLst>
                  <p:tags r:id="rId7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2" name="Freeform 6">
                  <a:extLst>
                    <a:ext uri="{FF2B5EF4-FFF2-40B4-BE49-F238E27FC236}">
                      <a16:creationId xmlns:a16="http://schemas.microsoft.com/office/drawing/2014/main" id="{C600D0DF-12F5-479F-9C73-762B55D7E38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id="{5B360925-5F24-4A6A-ABCD-A423E53B0246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8">
                  <a:extLst>
                    <a:ext uri="{FF2B5EF4-FFF2-40B4-BE49-F238E27FC236}">
                      <a16:creationId xmlns:a16="http://schemas.microsoft.com/office/drawing/2014/main" id="{0A2C89CE-9E89-4B70-9F6F-0DDA35A8220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9">
                  <a:extLst>
                    <a:ext uri="{FF2B5EF4-FFF2-40B4-BE49-F238E27FC236}">
                      <a16:creationId xmlns:a16="http://schemas.microsoft.com/office/drawing/2014/main" id="{29EC2C20-0158-4F0E-AE8E-2F92DE03E8A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10">
                  <a:extLst>
                    <a:ext uri="{FF2B5EF4-FFF2-40B4-BE49-F238E27FC236}">
                      <a16:creationId xmlns:a16="http://schemas.microsoft.com/office/drawing/2014/main" id="{945A31CB-EA6E-48FE-BDF6-4A95360C7FB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11">
                  <a:extLst>
                    <a:ext uri="{FF2B5EF4-FFF2-40B4-BE49-F238E27FC236}">
                      <a16:creationId xmlns:a16="http://schemas.microsoft.com/office/drawing/2014/main" id="{65E459E4-C2E8-4B39-8C07-A70E0A4F2D0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12">
                  <a:extLst>
                    <a:ext uri="{FF2B5EF4-FFF2-40B4-BE49-F238E27FC236}">
                      <a16:creationId xmlns:a16="http://schemas.microsoft.com/office/drawing/2014/main" id="{788FFBCF-E541-445A-A702-DE4C6EEF73F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13">
                  <a:extLst>
                    <a:ext uri="{FF2B5EF4-FFF2-40B4-BE49-F238E27FC236}">
                      <a16:creationId xmlns:a16="http://schemas.microsoft.com/office/drawing/2014/main" id="{A5D19C97-00E1-4D7D-A041-774B5C5D29EA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875BC5-2CC1-4552-9C47-8E328320FC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28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466724" y="1970996"/>
            <a:ext cx="8208964" cy="576000"/>
          </a:xfrm>
        </p:spPr>
        <p:txBody>
          <a:bodyPr/>
          <a:lstStyle/>
          <a:p>
            <a:pPr algn="ctr"/>
            <a:r>
              <a:rPr lang="en-GB" sz="6000" dirty="0"/>
              <a:t>ANNEX</a:t>
            </a:r>
            <a:br>
              <a:rPr lang="en-GB" sz="6000" dirty="0"/>
            </a:b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95C517-F31E-40D7-9261-417761FE8DC8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8A0892-872E-4A82-8668-01FEC29CE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8107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D945A-326E-4E95-AF57-CC490F622A7F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8346F4-A719-4528-8E93-50D86E7B213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GB" sz="3200"/>
              <a:t>Headline</a:t>
            </a:r>
            <a:endParaRPr lang="en-GB" sz="3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ED263F-735E-445E-A68D-FB47B3952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54294-11F0-4484-BAC2-3C79F27A82BE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D0D1A5-0BFA-42F7-8A1B-208B9F5034BD}"/>
              </a:ext>
            </a:extLst>
          </p:cNvPr>
          <p:cNvSpPr>
            <a:spLocks noGrp="1"/>
          </p:cNvSpPr>
          <p:nvPr>
            <p:ph type="body" sz="quarter" idx="27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799A84-2EF6-426D-97A8-38EB74EFCE5A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BE520C-F994-4530-A5A9-8D7C3E899943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D0F6636-8B92-4634-B599-5DEDED025E76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797F61-9895-4DAE-9F94-37671C8AA9AA}"/>
              </a:ext>
            </a:extLst>
          </p:cNvPr>
          <p:cNvSpPr>
            <a:spLocks noGrp="1"/>
          </p:cNvSpPr>
          <p:nvPr>
            <p:ph type="body" sz="quarter" idx="31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93F5772-AA7D-425A-9CBB-297FBBC6D555}"/>
              </a:ext>
            </a:extLst>
          </p:cNvPr>
          <p:cNvSpPr>
            <a:spLocks noGrp="1"/>
          </p:cNvSpPr>
          <p:nvPr>
            <p:ph type="body" sz="quarter" idx="32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9684787-73B8-4526-A807-619FE2D80725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68297" y="1923678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1959EE4B-6A9A-49B2-94BF-18853761BC33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468297" y="2734992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60BF7DB-B683-4F4B-9B72-67C8510CDEB0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68297" y="3539738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00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FA26CAB-D4CA-43EF-818C-A1EE86C823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7116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Picture 88">
            <a:extLst>
              <a:ext uri="{FF2B5EF4-FFF2-40B4-BE49-F238E27FC236}">
                <a16:creationId xmlns:a16="http://schemas.microsoft.com/office/drawing/2014/main" id="{F5728C71-676C-4B97-9619-652DABB796B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04"/>
          <a:stretch/>
        </p:blipFill>
        <p:spPr bwMode="gray">
          <a:xfrm>
            <a:off x="-8898" y="-6825215"/>
            <a:ext cx="9161796" cy="9124478"/>
          </a:xfrm>
          <a:prstGeom prst="rect">
            <a:avLst/>
          </a:prstGeom>
        </p:spPr>
      </p:pic>
      <p:grpSp>
        <p:nvGrpSpPr>
          <p:cNvPr id="90" name="Group 89">
            <a:extLst>
              <a:ext uri="{FF2B5EF4-FFF2-40B4-BE49-F238E27FC236}">
                <a16:creationId xmlns:a16="http://schemas.microsoft.com/office/drawing/2014/main" id="{A4664310-C454-46D6-80ED-0AD25FE645E4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-3747921"/>
            <a:ext cx="9695735" cy="5457314"/>
            <a:chOff x="-554636" y="2376"/>
            <a:chExt cx="9695735" cy="5457314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63A7CF39-8E3E-427C-8CAB-E77FA425471D}"/>
                </a:ext>
              </a:extLst>
            </p:cNvPr>
            <p:cNvPicPr>
              <a:picLocks noChangeAspect="1"/>
            </p:cNvPicPr>
            <p:nvPr>
              <p:custDataLst>
                <p:tags r:id="rId36"/>
              </p:custDataLst>
            </p:nvPr>
          </p:nvPicPr>
          <p:blipFill>
            <a:blip r:embed="rId41">
              <a:biLevel thresh="50000"/>
              <a:alphaModFix amt="6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D02BCB1-F94C-4209-9337-A2C9E0C4A995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A71179AA-F4C9-481C-A1B0-0E2F0FE0E9E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-3747921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64000"/>
                </a:schemeClr>
              </a:gs>
              <a:gs pos="79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37CE3B-2D0C-4E85-BF62-543A1C518E6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50800" y="0"/>
            <a:ext cx="9245600" cy="6147340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96B6E066-59C3-4536-B15D-6F841B991FC4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64DEE8E-ED68-405E-B028-E710452AC1B2}"/>
                </a:ext>
              </a:extLst>
            </p:cNvPr>
            <p:cNvPicPr>
              <a:picLocks noChangeAspect="1"/>
            </p:cNvPicPr>
            <p:nvPr>
              <p:custDataLst>
                <p:tags r:id="rId34"/>
              </p:custDataLst>
            </p:nvPr>
          </p:nvPicPr>
          <p:blipFill>
            <a:blip r:embed="rId41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A075DCC7-B5A4-479D-B915-B815EE5F53AE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7" name="Rectangle 56">
            <a:extLst>
              <a:ext uri="{FF2B5EF4-FFF2-40B4-BE49-F238E27FC236}">
                <a16:creationId xmlns:a16="http://schemas.microsoft.com/office/drawing/2014/main" id="{9F184387-0E72-4765-8EA2-ADB796891FE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-18892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922C277-BAF9-4D34-8DFC-33FC87EE817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43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5" t="33381" r="31455" b="7872"/>
          <a:stretch/>
        </p:blipFill>
        <p:spPr bwMode="gray">
          <a:xfrm>
            <a:off x="5772431" y="1079934"/>
            <a:ext cx="3192057" cy="2324254"/>
          </a:xfrm>
          <a:prstGeom prst="ellipse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C9E301E-01E4-41AA-9F4B-F52AB1769480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302048" y="2847082"/>
            <a:ext cx="6336704" cy="641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We see it as our duty to find solutions that enable the real-estate industry and society as a whole to meet the needs for climate protection, digitalization and adequate housing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768F346-1566-4B46-89EA-E8E9C9E9D4EE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68312" y="1646902"/>
            <a:ext cx="8207376" cy="1069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b="1" dirty="0" err="1">
                <a:solidFill>
                  <a:schemeClr val="tx1"/>
                </a:solidFill>
              </a:rPr>
              <a:t>Techem</a:t>
            </a:r>
            <a:r>
              <a:rPr lang="en-GB" sz="2400" b="1" dirty="0">
                <a:solidFill>
                  <a:schemeClr val="tx1"/>
                </a:solidFill>
              </a:rPr>
              <a:t> is keenly aware of the responsibility that comes with being one of the leading service partner for green and smart buildings.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0D0738B-6EA3-4788-94DA-B049E7D56312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43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46" t="2255" b="47987"/>
          <a:stretch/>
        </p:blipFill>
        <p:spPr bwMode="gray">
          <a:xfrm>
            <a:off x="539552" y="691717"/>
            <a:ext cx="2832019" cy="1968622"/>
          </a:xfrm>
          <a:prstGeom prst="rect">
            <a:avLst/>
          </a:prstGeom>
        </p:spPr>
      </p:pic>
      <p:sp>
        <p:nvSpPr>
          <p:cNvPr id="49" name="Fußzeilenplatzhalter 1">
            <a:extLst>
              <a:ext uri="{FF2B5EF4-FFF2-40B4-BE49-F238E27FC236}">
                <a16:creationId xmlns:a16="http://schemas.microsoft.com/office/drawing/2014/main" id="{1887160E-8F22-48CF-8071-9CF3904D67E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8C94A024-BD77-4802-9939-D5C863CEA93D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2" t="14478"/>
          <a:stretch/>
        </p:blipFill>
        <p:spPr bwMode="gray">
          <a:xfrm>
            <a:off x="0" y="5143500"/>
            <a:ext cx="9144000" cy="5142327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2BBB2BE6-0BF1-46F4-AB89-6338D4B91CF6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1168574" y="7119043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G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914237B-CE8F-438C-B6EF-D3CA58FD3254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459499" y="7119043"/>
            <a:ext cx="825533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A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E479BE9-CF74-4FFB-93D2-FC3547103ADD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860339" y="7119043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E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D68F1E2-0EBF-45B7-B73C-14B2559DC556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444225" y="7119043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N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DB2CB42-A82E-4739-9FCF-E1A97E95FC76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160265" y="7119043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D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8F4CE3F-9997-4298-8374-184F937664A5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3911228" y="7119043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>
                <a:solidFill>
                  <a:schemeClr val="accent1"/>
                </a:solidFill>
              </a:rPr>
              <a:t>A</a:t>
            </a:r>
            <a:endParaRPr lang="en-GB" sz="7200" b="1" dirty="0">
              <a:solidFill>
                <a:schemeClr val="accent1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230A308D-398D-41E9-ADF6-169E8D7EDFC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0" t="45800" r="38707"/>
          <a:stretch/>
        </p:blipFill>
        <p:spPr bwMode="gray">
          <a:xfrm>
            <a:off x="0" y="7026759"/>
            <a:ext cx="5004048" cy="3260242"/>
          </a:xfrm>
          <a:prstGeom prst="rect">
            <a:avLst/>
          </a:prstGeom>
          <a:effectLst>
            <a:outerShdw blurRad="50800" dist="38100" dir="14400000" rotWithShape="0">
              <a:prstClr val="black">
                <a:alpha val="40000"/>
              </a:prstClr>
            </a:outerShdw>
          </a:effectLst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E07CE99F-1E12-4670-BF8F-D4D28B48827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-50800" y="5143501"/>
            <a:ext cx="9194484" cy="51435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B9B0A4F-E3EE-48DE-83C8-79A164A0DF53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162958" y="6275091"/>
            <a:ext cx="2516613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ur response</a:t>
            </a:r>
            <a:b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o the challenges</a:t>
            </a:r>
            <a:endParaRPr lang="en-GB" sz="1300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82B717F-9813-40D9-A022-52A2B935DC51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341225" y="6349242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>
                <a:latin typeface="+mj-lt"/>
              </a:rPr>
              <a:t>01</a:t>
            </a:r>
            <a:endParaRPr lang="en-GB" sz="1050" b="1" dirty="0">
              <a:latin typeface="+mj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34271D88-B708-4156-BE13-CFC868A3A34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6162958" y="6941187"/>
            <a:ext cx="251273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’s</a:t>
            </a:r>
            <a:b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olistic approach</a:t>
            </a:r>
            <a:endParaRPr lang="en-GB" sz="1300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5A19947-7946-4823-AD87-8E768E30CD9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341225" y="7010575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>
                <a:latin typeface="+mj-lt"/>
              </a:rPr>
              <a:t>02</a:t>
            </a:r>
            <a:endParaRPr lang="en-GB" sz="1050" b="1" dirty="0">
              <a:latin typeface="+mj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D57C361E-6A33-4C56-90AA-861D631A53F9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6162958" y="7602520"/>
            <a:ext cx="2516613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 as a strong partner</a:t>
            </a:r>
            <a:b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or your challenges</a:t>
            </a:r>
            <a:endParaRPr lang="en-GB" sz="1300" dirty="0"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583F8A9-46F1-40E3-B346-251E4EC8A139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341225" y="7668769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>
                <a:latin typeface="+mj-lt"/>
              </a:rPr>
              <a:t>03</a:t>
            </a:r>
            <a:endParaRPr lang="en-GB" sz="1050" b="1" dirty="0">
              <a:latin typeface="+mj-lt"/>
            </a:endParaRP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E842733F-7773-48F7-900F-77854C9DDEB7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827584" y="-3578476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>
              <a:spcAft>
                <a:spcPts val="400"/>
              </a:spcAft>
            </a:pPr>
            <a:r>
              <a:rPr lang="en-GB" sz="9600" b="1">
                <a:solidFill>
                  <a:srgbClr val="FF0000">
                    <a:alpha val="94000"/>
                  </a:srgbClr>
                </a:solidFill>
              </a:rPr>
              <a:t>„</a:t>
            </a:r>
            <a:endParaRPr lang="en-GB" sz="9600" b="1" dirty="0">
              <a:solidFill>
                <a:srgbClr val="FF0000">
                  <a:alpha val="94000"/>
                </a:srgbClr>
              </a:solidFill>
            </a:endParaRPr>
          </a:p>
        </p:txBody>
      </p:sp>
      <p:sp>
        <p:nvSpPr>
          <p:cNvPr id="62" name="Rectangle 23">
            <a:extLst>
              <a:ext uri="{FF2B5EF4-FFF2-40B4-BE49-F238E27FC236}">
                <a16:creationId xmlns:a16="http://schemas.microsoft.com/office/drawing/2014/main" id="{F65D3872-FDE4-4530-89B7-7559B3D8CDB5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712788" y="-3856850"/>
            <a:ext cx="5235476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2000">
                <a:solidFill>
                  <a:schemeClr val="tx1">
                    <a:alpha val="94000"/>
                  </a:schemeClr>
                </a:solidFill>
              </a:rPr>
              <a:t>Techem’s real-estate products and solutions cut CO</a:t>
            </a:r>
            <a:r>
              <a:rPr lang="en-GB" sz="2000" baseline="-25000">
                <a:solidFill>
                  <a:schemeClr val="tx1">
                    <a:alpha val="94000"/>
                  </a:schemeClr>
                </a:solidFill>
              </a:rPr>
              <a:t>2</a:t>
            </a:r>
            <a:r>
              <a:rPr lang="en-GB" sz="2000">
                <a:solidFill>
                  <a:schemeClr val="tx1">
                    <a:alpha val="94000"/>
                  </a:schemeClr>
                </a:solidFill>
              </a:rPr>
              <a:t> by around </a:t>
            </a:r>
            <a:r>
              <a:rPr lang="en-GB" sz="2000">
                <a:solidFill>
                  <a:schemeClr val="accent1">
                    <a:alpha val="94000"/>
                  </a:schemeClr>
                </a:solidFill>
              </a:rPr>
              <a:t>7 million </a:t>
            </a:r>
            <a:r>
              <a:rPr lang="en-GB" sz="2000">
                <a:solidFill>
                  <a:schemeClr val="tx1">
                    <a:alpha val="94000"/>
                  </a:schemeClr>
                </a:solidFill>
              </a:rPr>
              <a:t>tonnes every year.</a:t>
            </a:r>
            <a:endParaRPr lang="en-GB" sz="2000" dirty="0">
              <a:solidFill>
                <a:schemeClr val="tx1">
                  <a:alpha val="94000"/>
                </a:schemeClr>
              </a:solidFill>
            </a:endParaRPr>
          </a:p>
        </p:txBody>
      </p:sp>
      <p:sp>
        <p:nvSpPr>
          <p:cNvPr id="63" name="Rectangle 20">
            <a:extLst>
              <a:ext uri="{FF2B5EF4-FFF2-40B4-BE49-F238E27FC236}">
                <a16:creationId xmlns:a16="http://schemas.microsoft.com/office/drawing/2014/main" id="{050764E8-FA08-4D6D-A250-C079C414C13B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2497057" y="-1802434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>
              <a:spcAft>
                <a:spcPts val="400"/>
              </a:spcAft>
            </a:pPr>
            <a:r>
              <a:rPr lang="en-GB" sz="9600" b="1">
                <a:solidFill>
                  <a:srgbClr val="FF0000">
                    <a:alpha val="94000"/>
                  </a:srgbClr>
                </a:solidFill>
              </a:rPr>
              <a:t>„</a:t>
            </a:r>
            <a:endParaRPr lang="en-GB" sz="9600" b="1" dirty="0">
              <a:solidFill>
                <a:srgbClr val="FF0000">
                  <a:alpha val="94000"/>
                </a:srgbClr>
              </a:solidFill>
            </a:endParaRPr>
          </a:p>
        </p:txBody>
      </p:sp>
      <p:sp>
        <p:nvSpPr>
          <p:cNvPr id="68" name="Rectangle 23">
            <a:extLst>
              <a:ext uri="{FF2B5EF4-FFF2-40B4-BE49-F238E27FC236}">
                <a16:creationId xmlns:a16="http://schemas.microsoft.com/office/drawing/2014/main" id="{1511ACC5-C786-48F6-9D9B-F7074E184AAF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3382261" y="-2080808"/>
            <a:ext cx="5083076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2000">
                <a:solidFill>
                  <a:schemeClr val="tx1">
                    <a:alpha val="94000"/>
                  </a:schemeClr>
                </a:solidFill>
              </a:rPr>
              <a:t>Techem is a market leader for radio smoke detectors with </a:t>
            </a:r>
            <a:r>
              <a:rPr lang="en-GB" sz="2000">
                <a:solidFill>
                  <a:schemeClr val="accent1">
                    <a:alpha val="94000"/>
                  </a:schemeClr>
                </a:solidFill>
              </a:rPr>
              <a:t>remote inspection.</a:t>
            </a:r>
            <a:endParaRPr lang="en-GB" sz="2000" dirty="0">
              <a:solidFill>
                <a:schemeClr val="accent1">
                  <a:alpha val="94000"/>
                </a:schemeClr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564E94C-AD6F-4F91-986D-BE5D4EDC0E9C}"/>
              </a:ext>
            </a:extLst>
          </p:cNvPr>
          <p:cNvGrpSpPr/>
          <p:nvPr>
            <p:custDataLst>
              <p:tags r:id="rId31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50" name="Rechteck 12">
              <a:extLst>
                <a:ext uri="{FF2B5EF4-FFF2-40B4-BE49-F238E27FC236}">
                  <a16:creationId xmlns:a16="http://schemas.microsoft.com/office/drawing/2014/main" id="{D6BF6A0E-4DB3-4000-AB52-5F876A66EBEB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3F9A48E-9B2B-43EC-9263-2CC2A9E2B931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52" name="Rectangle 5">
                <a:extLst>
                  <a:ext uri="{FF2B5EF4-FFF2-40B4-BE49-F238E27FC236}">
                    <a16:creationId xmlns:a16="http://schemas.microsoft.com/office/drawing/2014/main" id="{4DA772EF-D840-49EC-A79B-CFEF2815DC4E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3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254A4186-56C8-4B75-BF17-CF2273D94DA4}"/>
                  </a:ext>
                </a:extLst>
              </p:cNvPr>
              <p:cNvGrpSpPr/>
              <p:nvPr userDrawn="1">
                <p:custDataLst>
                  <p:tags r:id="rId3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54" name="Freeform 6">
                  <a:extLst>
                    <a:ext uri="{FF2B5EF4-FFF2-40B4-BE49-F238E27FC236}">
                      <a16:creationId xmlns:a16="http://schemas.microsoft.com/office/drawing/2014/main" id="{5757117E-A7A1-4327-8FF0-9517517CB33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7">
                  <a:extLst>
                    <a:ext uri="{FF2B5EF4-FFF2-40B4-BE49-F238E27FC236}">
                      <a16:creationId xmlns:a16="http://schemas.microsoft.com/office/drawing/2014/main" id="{FCB52600-CF9D-4E06-8115-F7268646DB0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8">
                  <a:extLst>
                    <a:ext uri="{FF2B5EF4-FFF2-40B4-BE49-F238E27FC236}">
                      <a16:creationId xmlns:a16="http://schemas.microsoft.com/office/drawing/2014/main" id="{E11CA16D-E669-48E5-AE9D-8B674C5A033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9">
                  <a:extLst>
                    <a:ext uri="{FF2B5EF4-FFF2-40B4-BE49-F238E27FC236}">
                      <a16:creationId xmlns:a16="http://schemas.microsoft.com/office/drawing/2014/main" id="{30213E30-9C1F-41A2-8AC0-2B3EF771163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10">
                  <a:extLst>
                    <a:ext uri="{FF2B5EF4-FFF2-40B4-BE49-F238E27FC236}">
                      <a16:creationId xmlns:a16="http://schemas.microsoft.com/office/drawing/2014/main" id="{236BEBCA-1F59-45A6-A8E2-68A9AE87FAE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11">
                  <a:extLst>
                    <a:ext uri="{FF2B5EF4-FFF2-40B4-BE49-F238E27FC236}">
                      <a16:creationId xmlns:a16="http://schemas.microsoft.com/office/drawing/2014/main" id="{71AA59F6-EC07-4AF7-9FE6-630ADF41405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12">
                  <a:extLst>
                    <a:ext uri="{FF2B5EF4-FFF2-40B4-BE49-F238E27FC236}">
                      <a16:creationId xmlns:a16="http://schemas.microsoft.com/office/drawing/2014/main" id="{9EE24971-A492-4AF5-A05B-CA318019E4F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13">
                  <a:extLst>
                    <a:ext uri="{FF2B5EF4-FFF2-40B4-BE49-F238E27FC236}">
                      <a16:creationId xmlns:a16="http://schemas.microsoft.com/office/drawing/2014/main" id="{12C3CFD6-BB6D-460A-B483-0241B087F70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7B9448-7E08-4548-B819-2FA1D2B0DB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457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decel="2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8.64198E-7 L 0 -0.16759 " pathEditMode="relative" rAng="0" ptsTypes="AA">
                                      <p:cBhvr>
                                        <p:cTn id="6" dur="4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39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repeatCount="indefinite" accel="50000" decel="50000" autoRev="1" fill="hold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8.33333E-7 -3.95062E-6 L -0.02465 -3.95062E-6 " pathEditMode="relative" rAng="0" ptsTypes="AA">
                                      <p:cBhvr>
                                        <p:cTn id="8" dur="5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3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repeatCount="indefinite" accel="50000" decel="50000" autoRev="1" fill="hold" nodeType="withEffect">
                                  <p:stCondLst>
                                    <p:cond delay="125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11111E-6 4.07407E-6 L 0.04809 4.07407E-6 " pathEditMode="relative" rAng="0" ptsTypes="AA">
                                      <p:cBhvr>
                                        <p:cTn id="10" dur="5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96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75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375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75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4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allAtOnce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C345130-BD29-42D5-90A1-C79DB82688FD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98B816E-C3E3-46DB-B0E8-CC765FB643D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GB" sz="3200"/>
              <a:t>Headline</a:t>
            </a:r>
            <a:endParaRPr lang="en-GB" sz="32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67DAEE7-2B70-4C47-A936-5EB7BEAF749B}"/>
              </a:ext>
            </a:extLst>
          </p:cNvPr>
          <p:cNvSpPr>
            <a:spLocks noGrp="1"/>
          </p:cNvSpPr>
          <p:nvPr>
            <p:ph type="body" sz="quarter" idx="26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3ACBA3-344D-4335-BC7B-E742F7E374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28DEA4F-6FD5-44D1-B15B-97EA68A67D2E}"/>
              </a:ext>
            </a:extLst>
          </p:cNvPr>
          <p:cNvSpPr>
            <a:spLocks noGrp="1"/>
          </p:cNvSpPr>
          <p:nvPr>
            <p:ph type="body" sz="quarter" idx="28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1502934-15C5-4439-88D2-CAD86EFCAE2D}"/>
              </a:ext>
            </a:extLst>
          </p:cNvPr>
          <p:cNvSpPr>
            <a:spLocks noGrp="1"/>
          </p:cNvSpPr>
          <p:nvPr>
            <p:ph type="body" sz="quarter" idx="29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2DA77DD-A155-4DB8-AF12-466722599317}"/>
              </a:ext>
            </a:extLst>
          </p:cNvPr>
          <p:cNvSpPr>
            <a:spLocks noGrp="1"/>
          </p:cNvSpPr>
          <p:nvPr>
            <p:ph type="body" sz="quarter" idx="30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9FB422-203F-450D-AA84-DF1AE7840747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763688" y="2211710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227ECB-04FE-4570-B69B-6250DB06B14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763688" y="3019905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A9249E-163C-4FCB-945B-86CC0BD444A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763688" y="3828100"/>
            <a:ext cx="5040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6BDE211-92F1-4CE2-838A-3B69E1DFB2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2179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alphaModFix amt="0"/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EBEF91-22FF-4C27-BF07-F16F734468D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18" name="Fußzeilenplatzhalter 1">
            <a:extLst>
              <a:ext uri="{FF2B5EF4-FFF2-40B4-BE49-F238E27FC236}">
                <a16:creationId xmlns:a16="http://schemas.microsoft.com/office/drawing/2014/main" id="{9E3C5E1E-4FCF-423B-B5EE-E4B7A8FAF502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487A6D1-276A-465A-B8D0-422F2065E2DD}"/>
              </a:ext>
            </a:extLst>
          </p:cNvPr>
          <p:cNvSpPr>
            <a:spLocks noGrp="1"/>
          </p:cNvSpPr>
          <p:nvPr>
            <p:ph sz="quarter" idx="20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 b="1"/>
              <a:t>Text bearbeiten</a:t>
            </a:r>
          </a:p>
          <a:p>
            <a:r>
              <a:rPr lang="en-GB"/>
              <a:t>Text bearbeiten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0D41D5D-96AB-460E-9945-8DFE3CEBE579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52CA956-93F5-4B2A-8ED0-952A30F8A1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0201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1D401528-77DA-4045-8CA2-B659C154FCD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50800" y="-3953654"/>
            <a:ext cx="9245600" cy="6147340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48EE448C-5F07-4900-BD07-B251CCAE81BD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-3953654"/>
            <a:ext cx="9695735" cy="5457314"/>
            <a:chOff x="-554636" y="2376"/>
            <a:chExt cx="9695735" cy="5457314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B5846FF3-9BB3-40E0-856E-821856D2D7AD}"/>
                </a:ext>
              </a:extLst>
            </p:cNvPr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3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0EB959E8-7037-4ED3-8600-A6ED73C8A83A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7B740916-339F-44D4-BFFF-0BC4140422D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-3953654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933CCBB8-4E12-40E8-A957-6BFD6999C58C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37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5" t="33381" r="31455" b="7872"/>
          <a:stretch/>
        </p:blipFill>
        <p:spPr bwMode="gray">
          <a:xfrm>
            <a:off x="5772431" y="-2873720"/>
            <a:ext cx="3192057" cy="2324254"/>
          </a:xfrm>
          <a:prstGeom prst="ellipse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F83B7DA8-FFB5-4636-93EE-ABF155544B9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37">
            <a:alphaModFix amt="46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46" t="2255" b="47987"/>
          <a:stretch/>
        </p:blipFill>
        <p:spPr bwMode="gray">
          <a:xfrm>
            <a:off x="539552" y="-3261937"/>
            <a:ext cx="2832019" cy="19686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D337B3E-9CD5-42C1-81A7-E642EB963D8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2" t="14478"/>
          <a:stretch/>
        </p:blipFill>
        <p:spPr bwMode="gray">
          <a:xfrm>
            <a:off x="0" y="-1"/>
            <a:ext cx="9144000" cy="5142327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DAA7F192-53F7-4622-BF39-5986EA66F187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ACBEC244-445F-4D8D-B48C-D7F21A0C2563}"/>
                </a:ext>
              </a:extLst>
            </p:cNvPr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3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D8701908-9E84-40B2-82F9-54EFA975902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D59403BA-38C0-4C47-8CB1-808B1017BCE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68574" y="1975542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G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6C2B347-9107-4786-BB75-4E10575C57D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59499" y="1975542"/>
            <a:ext cx="825533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7A0E3D4-0D5A-43AE-B90F-FA1DF66DA3B1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1860339" y="1975542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FCC04E4-DCCC-4561-9495-5C3EAE55A561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444225" y="1975542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CC211AC-2FF3-436D-8D64-73D4230CCA4C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160265" y="1975542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D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DF24240-40E8-4E12-9EC0-48BC8E3FACDB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911228" y="1975542"/>
            <a:ext cx="792088" cy="5644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7200" b="1" dirty="0">
                <a:solidFill>
                  <a:schemeClr val="accent1"/>
                </a:solidFill>
              </a:rPr>
              <a:t>A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99C0CE-CF1F-46E9-9841-F90B5E6F31CC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70" t="45800" r="38707"/>
          <a:stretch/>
        </p:blipFill>
        <p:spPr bwMode="gray">
          <a:xfrm>
            <a:off x="0" y="1883258"/>
            <a:ext cx="5004048" cy="3260242"/>
          </a:xfrm>
          <a:prstGeom prst="rect">
            <a:avLst/>
          </a:prstGeom>
          <a:effectLst>
            <a:outerShdw blurRad="50800" dist="38100" dir="14400000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9D263C9-1679-41F8-A66E-A575DB3A0BE8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-50800" y="0"/>
            <a:ext cx="9194484" cy="5143500"/>
          </a:xfrm>
          <a:prstGeom prst="rect">
            <a:avLst/>
          </a:prstGeom>
          <a:gradFill flip="none" rotWithShape="1">
            <a:gsLst>
              <a:gs pos="10000">
                <a:schemeClr val="tx1">
                  <a:alpha val="50000"/>
                </a:schemeClr>
              </a:gs>
              <a:gs pos="70000">
                <a:schemeClr val="tx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ußzeilenplatzhalter 1">
            <a:extLst>
              <a:ext uri="{FF2B5EF4-FFF2-40B4-BE49-F238E27FC236}">
                <a16:creationId xmlns:a16="http://schemas.microsoft.com/office/drawing/2014/main" id="{F2E06CFA-C130-4039-8721-124840C98A0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ECHEM – THE SERVICE PARTNER FOR GREEN AND SMART BUILDING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6AA243-925A-499E-A1DF-81089DF05167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162958" y="1131590"/>
            <a:ext cx="2516613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ur response</a:t>
            </a:r>
            <a:b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o the challeng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BA67862-C47B-4593-A8EC-A0E1E44886BC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341225" y="1205741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 dirty="0">
                <a:latin typeface="+mj-lt"/>
              </a:rPr>
              <a:t>01</a:t>
            </a:r>
            <a:endParaRPr lang="en-GB" sz="1050" b="1" dirty="0"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15F50F-E0C9-48E6-B958-6DDADE711F22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162958" y="1797686"/>
            <a:ext cx="2512730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 dirty="0" err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’s</a:t>
            </a:r>
            <a:b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olistic approach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AE1AD4F-B431-4B8F-B71B-4BFFAE72760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341225" y="1867074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 dirty="0">
                <a:latin typeface="+mj-lt"/>
              </a:rPr>
              <a:t>02</a:t>
            </a:r>
            <a:endParaRPr lang="en-GB" sz="1050" b="1" dirty="0"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2B0FF9A-D343-4676-AC30-E3FC79D61233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162958" y="2459019"/>
            <a:ext cx="2516613" cy="39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00" dirty="0" err="1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hem</a:t>
            </a:r>
            <a: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as a strong partner</a:t>
            </a:r>
            <a:b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1300" dirty="0"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or your challeng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E8DAFF-4E9E-4BA7-8C33-E58174BE3D61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341225" y="2525268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3200" b="1" dirty="0">
                <a:latin typeface="+mj-lt"/>
              </a:rPr>
              <a:t>03</a:t>
            </a:r>
            <a:endParaRPr lang="en-GB" sz="1050" b="1" dirty="0">
              <a:latin typeface="+mj-lt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Slide Zoom 4">
                <a:extLst>
                  <a:ext uri="{FF2B5EF4-FFF2-40B4-BE49-F238E27FC236}">
                    <a16:creationId xmlns:a16="http://schemas.microsoft.com/office/drawing/2014/main" id="{D7D77A6B-BE96-4C2F-B5D7-2E60766565E6}"/>
                  </a:ext>
                </a:extLst>
              </p:cNvPr>
              <p:cNvGraphicFramePr>
                <a:graphicFrameLocks noChangeAspect="1"/>
              </p:cNvGraphicFramePr>
              <p:nvPr>
                <p:custDataLst>
                  <p:tags r:id="rId23"/>
                </p:custDataLst>
                <p:extLst>
                  <p:ext uri="{D42A27DB-BD31-4B8C-83A1-F6EECF244321}">
                    <p14:modId xmlns:p14="http://schemas.microsoft.com/office/powerpoint/2010/main" val="1179769100"/>
                  </p:ext>
                </p:extLst>
              </p:nvPr>
            </p:nvGraphicFramePr>
            <p:xfrm rot="5400000">
              <a:off x="5499658" y="1266547"/>
              <a:ext cx="222618" cy="125254"/>
            </p:xfrm>
            <a:graphic>
              <a:graphicData uri="http://schemas.microsoft.com/office/powerpoint/2016/slidezoom">
                <pslz:sldZm>
                  <pslz:sldZmObj sldId="5235" cId="1859312678">
                    <pslz:zmPr id="{AA90669C-F1E0-4408-A1A2-6AB554A9B544}" returnToParent="0" imageType="cover" transitionDur="3000">
                      <p166:blipFill xmlns:p166="http://schemas.microsoft.com/office/powerpoint/2016/6/main">
                        <a:blip r:embed="rId4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5400000">
                          <a:off x="0" y="0"/>
                          <a:ext cx="222618" cy="125254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Slide Zoom 4">
                <a:hlinkClick r:id="rId41" action="ppaction://hlinksldjump"/>
                <a:extLst>
                  <a:ext uri="{FF2B5EF4-FFF2-40B4-BE49-F238E27FC236}">
                    <a16:creationId xmlns:a16="http://schemas.microsoft.com/office/drawing/2014/main" id="{D7D77A6B-BE96-4C2F-B5D7-2E60766565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5499658" y="1266547"/>
                <a:ext cx="222618" cy="125254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grpSp>
        <p:nvGrpSpPr>
          <p:cNvPr id="44" name="Group 43">
            <a:extLst>
              <a:ext uri="{FF2B5EF4-FFF2-40B4-BE49-F238E27FC236}">
                <a16:creationId xmlns:a16="http://schemas.microsoft.com/office/drawing/2014/main" id="{E61DC6EE-40EC-4F33-87A4-588B2D4F1978}"/>
              </a:ext>
            </a:extLst>
          </p:cNvPr>
          <p:cNvGrpSpPr/>
          <p:nvPr>
            <p:custDataLst>
              <p:tags r:id="rId24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48" name="Rechteck 12">
              <a:extLst>
                <a:ext uri="{FF2B5EF4-FFF2-40B4-BE49-F238E27FC236}">
                  <a16:creationId xmlns:a16="http://schemas.microsoft.com/office/drawing/2014/main" id="{40FCDEE3-B460-48ED-94D2-8BCC4852B624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1F4FFB9-A57C-40E4-9600-21FBB46E2488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65" name="Rectangle 5">
                <a:extLst>
                  <a:ext uri="{FF2B5EF4-FFF2-40B4-BE49-F238E27FC236}">
                    <a16:creationId xmlns:a16="http://schemas.microsoft.com/office/drawing/2014/main" id="{5C15B5E1-3D5E-4C4B-BCBD-2A7A4A064EE9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296AAFE-1873-4C00-AE23-8A553B927047}"/>
                  </a:ext>
                </a:extLst>
              </p:cNvPr>
              <p:cNvGrpSpPr/>
              <p:nvPr userDrawn="1">
                <p:custDataLst>
                  <p:tags r:id="rId2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67" name="Freeform 6">
                  <a:extLst>
                    <a:ext uri="{FF2B5EF4-FFF2-40B4-BE49-F238E27FC236}">
                      <a16:creationId xmlns:a16="http://schemas.microsoft.com/office/drawing/2014/main" id="{4DC3F92E-A0F7-4537-A4C5-4AFB38E38CD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7">
                  <a:extLst>
                    <a:ext uri="{FF2B5EF4-FFF2-40B4-BE49-F238E27FC236}">
                      <a16:creationId xmlns:a16="http://schemas.microsoft.com/office/drawing/2014/main" id="{F0090536-2A7B-4EA2-94A4-D83978F6B12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8">
                  <a:extLst>
                    <a:ext uri="{FF2B5EF4-FFF2-40B4-BE49-F238E27FC236}">
                      <a16:creationId xmlns:a16="http://schemas.microsoft.com/office/drawing/2014/main" id="{6FF270AB-C555-4DE4-AA65-332709E5F2F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9">
                  <a:extLst>
                    <a:ext uri="{FF2B5EF4-FFF2-40B4-BE49-F238E27FC236}">
                      <a16:creationId xmlns:a16="http://schemas.microsoft.com/office/drawing/2014/main" id="{3D9E500C-3915-43BB-AE04-647427C9EFE2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0">
                  <a:extLst>
                    <a:ext uri="{FF2B5EF4-FFF2-40B4-BE49-F238E27FC236}">
                      <a16:creationId xmlns:a16="http://schemas.microsoft.com/office/drawing/2014/main" id="{D92E4091-A714-407B-8F94-E2A8ACE7D7E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1">
                  <a:extLst>
                    <a:ext uri="{FF2B5EF4-FFF2-40B4-BE49-F238E27FC236}">
                      <a16:creationId xmlns:a16="http://schemas.microsoft.com/office/drawing/2014/main" id="{B9C061E5-B24A-4312-8711-79716522BB31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12">
                  <a:extLst>
                    <a:ext uri="{FF2B5EF4-FFF2-40B4-BE49-F238E27FC236}">
                      <a16:creationId xmlns:a16="http://schemas.microsoft.com/office/drawing/2014/main" id="{3C21310A-C59A-4B7C-8839-4BF0B8B7821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4" name="Freeform 13">
                  <a:extLst>
                    <a:ext uri="{FF2B5EF4-FFF2-40B4-BE49-F238E27FC236}">
                      <a16:creationId xmlns:a16="http://schemas.microsoft.com/office/drawing/2014/main" id="{4D11F77C-CE94-41F9-ACFA-B8284F72F7A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E1267B9C-88D2-416F-ADE8-71D2010294EA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302048" y="-2080300"/>
            <a:ext cx="6336704" cy="641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>
                <a:solidFill>
                  <a:schemeClr val="tx1"/>
                </a:solidFill>
              </a:rPr>
              <a:t>We see it as our duty to find solutions that enable the real-estate industry and society as a whole to meet the needs for climate protection, digitalization and adequate housing.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3D602BD-8271-433F-B397-62EF9CC35A93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68312" y="-3280480"/>
            <a:ext cx="8207376" cy="1069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b="1">
                <a:solidFill>
                  <a:schemeClr val="tx1"/>
                </a:solidFill>
              </a:rPr>
              <a:t>Techem is keenly aware of the responsibility that comes with being one of the leading service providers for smart and sustainable buildings.</a:t>
            </a:r>
            <a:endParaRPr lang="en-GB" sz="2400" b="1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8F31087-3C38-4880-B495-B0EB28C0D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877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decel="100000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decel="100000" fill="hold" grpId="0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55" grpId="0"/>
      <p:bldP spid="56" grpId="0"/>
      <p:bldP spid="57" grpId="0"/>
      <p:bldP spid="58" grpId="0"/>
      <p:bldP spid="59" grpId="0"/>
      <p:bldP spid="20" grpId="0"/>
      <p:bldP spid="21" grpId="0"/>
      <p:bldP spid="23" grpId="0"/>
      <p:bldP spid="24" grpId="0"/>
      <p:bldP spid="26" grpId="0"/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7167">
            <a:extLst>
              <a:ext uri="{FF2B5EF4-FFF2-40B4-BE49-F238E27FC236}">
                <a16:creationId xmlns:a16="http://schemas.microsoft.com/office/drawing/2014/main" id="{B3E4C31C-1CF3-4437-A132-C5B47E8803E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" t="260" r="11670" b="6580"/>
          <a:stretch/>
        </p:blipFill>
        <p:spPr bwMode="gray">
          <a:xfrm>
            <a:off x="-972616" y="-7122999"/>
            <a:ext cx="10116617" cy="7124202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0E5C4A74-473A-4FF5-8A2F-657E62608A40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-5150135"/>
            <a:ext cx="9695735" cy="5457314"/>
            <a:chOff x="-554636" y="2376"/>
            <a:chExt cx="9695735" cy="5457314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C5FF414C-5BB7-43F2-A919-4772190E3566}"/>
                </a:ext>
              </a:extLst>
            </p:cNvPr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>
            <a:blip r:embed="rId2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D439BE9-0B6A-4AF8-8ABA-E785BAEF6655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5DCFE118-D3FB-4B23-9C40-4D172AAA8EA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-5150135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3" name="Rectangle 20">
            <a:extLst>
              <a:ext uri="{FF2B5EF4-FFF2-40B4-BE49-F238E27FC236}">
                <a16:creationId xmlns:a16="http://schemas.microsoft.com/office/drawing/2014/main" id="{34A14551-62EF-4A9F-BDC4-35E9047B7EC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210381" y="-2196947"/>
            <a:ext cx="4246168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600" b="1" dirty="0">
                <a:solidFill>
                  <a:schemeClr val="tx1"/>
                </a:solidFill>
              </a:rPr>
              <a:t>THE VISION</a:t>
            </a:r>
          </a:p>
        </p:txBody>
      </p:sp>
      <p:sp>
        <p:nvSpPr>
          <p:cNvPr id="64" name="Rectangle 23">
            <a:extLst>
              <a:ext uri="{FF2B5EF4-FFF2-40B4-BE49-F238E27FC236}">
                <a16:creationId xmlns:a16="http://schemas.microsoft.com/office/drawing/2014/main" id="{9F066016-98D3-4AB7-9701-B55BBA832AF3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00933" y="-1498265"/>
            <a:ext cx="345949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1600" dirty="0">
                <a:solidFill>
                  <a:schemeClr val="tx1"/>
                </a:solidFill>
              </a:rPr>
              <a:t>Making buildings green and smart. </a:t>
            </a:r>
          </a:p>
          <a:p>
            <a:pPr>
              <a:spcAft>
                <a:spcPts val="400"/>
              </a:spcAft>
            </a:pPr>
            <a:r>
              <a:rPr lang="en-GB" sz="1600" dirty="0">
                <a:solidFill>
                  <a:schemeClr val="tx1"/>
                </a:solidFill>
              </a:rPr>
              <a:t>Helping people live healthy </a:t>
            </a:r>
            <a:br>
              <a:rPr lang="en-GB" sz="1600" dirty="0">
                <a:solidFill>
                  <a:schemeClr val="tx1"/>
                </a:solidFill>
              </a:rPr>
            </a:br>
            <a:r>
              <a:rPr lang="en-GB" sz="1600" dirty="0">
                <a:solidFill>
                  <a:schemeClr val="tx1"/>
                </a:solidFill>
              </a:rPr>
              <a:t>and comfortably.</a:t>
            </a:r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BC3D540C-6210-496F-B9EE-4D4686C6217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107193" y="-1219315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9600" b="1">
                <a:solidFill>
                  <a:srgbClr val="FF0000"/>
                </a:solidFill>
                <a:latin typeface="+mj-lt"/>
              </a:rPr>
              <a:t>„</a:t>
            </a:r>
            <a:endParaRPr lang="en-GB" sz="4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6" name="Textplatzhalter 6">
            <a:extLst>
              <a:ext uri="{FF2B5EF4-FFF2-40B4-BE49-F238E27FC236}">
                <a16:creationId xmlns:a16="http://schemas.microsoft.com/office/drawing/2014/main" id="{C0A2DE7E-0FDD-43D8-974D-431C9C22B0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68313" y="-5031743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>
                <a:solidFill>
                  <a:schemeClr val="bg1"/>
                </a:solidFill>
              </a:rPr>
              <a:t>01 Our response to the challenges</a:t>
            </a:r>
            <a:endParaRPr lang="en-GB" sz="1050" kern="6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E857E0-411D-483C-BC81-B199728D5B5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90" b="8373"/>
          <a:stretch/>
        </p:blipFill>
        <p:spPr bwMode="gray">
          <a:xfrm>
            <a:off x="-1548680" y="-6635"/>
            <a:ext cx="11449050" cy="5170674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83F03924-32D2-45DE-BA1B-1D7667639C33}"/>
              </a:ext>
            </a:extLst>
          </p:cNvPr>
          <p:cNvGrpSpPr/>
          <p:nvPr>
            <p:custDataLst>
              <p:tags r:id="rId9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435CBC19-5D0F-4B40-BF3A-231DE74BEB6A}"/>
                </a:ext>
              </a:extLst>
            </p:cNvPr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2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99E4195-F7BD-41F7-BDA7-67E92188104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A3A9FC96-152E-484B-98DE-B139ED223313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28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09" r="68342" b="25851"/>
          <a:stretch/>
        </p:blipFill>
        <p:spPr bwMode="gray">
          <a:xfrm>
            <a:off x="1115616" y="1182470"/>
            <a:ext cx="1584176" cy="852411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9A7C0489-29D5-434A-9F69-66A4FEEBF20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082573" y="1625412"/>
            <a:ext cx="6267811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 dirty="0">
                <a:solidFill>
                  <a:schemeClr val="tx1"/>
                </a:solidFill>
              </a:rPr>
              <a:t>OUR RESPONSE TO</a:t>
            </a:r>
            <a:br>
              <a:rPr lang="en-GB" sz="2800" b="1" dirty="0">
                <a:solidFill>
                  <a:schemeClr val="tx1"/>
                </a:solidFill>
              </a:rPr>
            </a:br>
            <a:r>
              <a:rPr lang="en-GB" sz="2800" b="1" dirty="0">
                <a:solidFill>
                  <a:schemeClr val="tx1"/>
                </a:solidFill>
              </a:rPr>
              <a:t>THE CHALLENGE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3ABD470-FEE0-417A-ABD3-825D80FCDFAF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082573" y="915566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6600" b="1" dirty="0">
                <a:solidFill>
                  <a:schemeClr val="tx1"/>
                </a:solidFill>
              </a:rPr>
              <a:t>01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CA285F0-640D-4D0B-8DF8-815A612F7B62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35" name="Rechteck 12">
              <a:extLst>
                <a:ext uri="{FF2B5EF4-FFF2-40B4-BE49-F238E27FC236}">
                  <a16:creationId xmlns:a16="http://schemas.microsoft.com/office/drawing/2014/main" id="{623868B6-C5E3-41ED-90C0-A73D34B3279E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37B6E8F-21C8-4734-887F-FE0ADF69D420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38" name="Rectangle 5">
                <a:extLst>
                  <a:ext uri="{FF2B5EF4-FFF2-40B4-BE49-F238E27FC236}">
                    <a16:creationId xmlns:a16="http://schemas.microsoft.com/office/drawing/2014/main" id="{32129109-11AF-4202-8418-587A500DB326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F9BEB85-C70E-4168-97C7-2EB35204C123}"/>
                  </a:ext>
                </a:extLst>
              </p:cNvPr>
              <p:cNvGrpSpPr/>
              <p:nvPr userDrawn="1">
                <p:custDataLst>
                  <p:tags r:id="rId1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55" name="Freeform 6">
                  <a:extLst>
                    <a:ext uri="{FF2B5EF4-FFF2-40B4-BE49-F238E27FC236}">
                      <a16:creationId xmlns:a16="http://schemas.microsoft.com/office/drawing/2014/main" id="{32AA4437-4965-4B05-A70F-73455C187CE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7">
                  <a:extLst>
                    <a:ext uri="{FF2B5EF4-FFF2-40B4-BE49-F238E27FC236}">
                      <a16:creationId xmlns:a16="http://schemas.microsoft.com/office/drawing/2014/main" id="{68A257EF-4321-40D2-9065-B6B07106710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8">
                  <a:extLst>
                    <a:ext uri="{FF2B5EF4-FFF2-40B4-BE49-F238E27FC236}">
                      <a16:creationId xmlns:a16="http://schemas.microsoft.com/office/drawing/2014/main" id="{B6802B6A-4AC5-426F-8526-F0D9238B3D61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9">
                  <a:extLst>
                    <a:ext uri="{FF2B5EF4-FFF2-40B4-BE49-F238E27FC236}">
                      <a16:creationId xmlns:a16="http://schemas.microsoft.com/office/drawing/2014/main" id="{D239ABEC-2563-4C52-903E-AEFAB7F892F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10">
                  <a:extLst>
                    <a:ext uri="{FF2B5EF4-FFF2-40B4-BE49-F238E27FC236}">
                      <a16:creationId xmlns:a16="http://schemas.microsoft.com/office/drawing/2014/main" id="{20CA18D9-DE59-4429-A54B-25E0FCD4122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11">
                  <a:extLst>
                    <a:ext uri="{FF2B5EF4-FFF2-40B4-BE49-F238E27FC236}">
                      <a16:creationId xmlns:a16="http://schemas.microsoft.com/office/drawing/2014/main" id="{C19FA94B-1711-4766-9951-B5C86B49C93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12">
                  <a:extLst>
                    <a:ext uri="{FF2B5EF4-FFF2-40B4-BE49-F238E27FC236}">
                      <a16:creationId xmlns:a16="http://schemas.microsoft.com/office/drawing/2014/main" id="{8DC81900-1664-459A-8539-FA276FAFD8A8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13">
                  <a:extLst>
                    <a:ext uri="{FF2B5EF4-FFF2-40B4-BE49-F238E27FC236}">
                      <a16:creationId xmlns:a16="http://schemas.microsoft.com/office/drawing/2014/main" id="{69D2B61F-8AA6-427C-B25E-13229840E5A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2C3419B0-D931-4761-816D-62B17F9FB0E7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58"/>
          <a:stretch/>
        </p:blipFill>
        <p:spPr bwMode="gray">
          <a:xfrm>
            <a:off x="-540568" y="2228924"/>
            <a:ext cx="13620750" cy="291457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0EEEBB0-1D03-45E8-9188-9AAAAFAAB63D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 rotWithShape="1">
          <a:blip r:embed="rId28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23" t="35722" r="32123" b="21584"/>
          <a:stretch/>
        </p:blipFill>
        <p:spPr bwMode="gray">
          <a:xfrm>
            <a:off x="4186769" y="2255044"/>
            <a:ext cx="1679047" cy="1001454"/>
          </a:xfrm>
          <a:prstGeom prst="rect">
            <a:avLst/>
          </a:prstGeom>
        </p:spPr>
      </p:pic>
      <p:sp>
        <p:nvSpPr>
          <p:cNvPr id="56" name="Footer Placeholder 15">
            <a:extLst>
              <a:ext uri="{FF2B5EF4-FFF2-40B4-BE49-F238E27FC236}">
                <a16:creationId xmlns:a16="http://schemas.microsoft.com/office/drawing/2014/main" id="{B4D65740-E94E-4A44-A35F-D0DA419EAF4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 bwMode="gray">
          <a:xfrm>
            <a:off x="467999" y="4824000"/>
            <a:ext cx="6828151" cy="216000"/>
          </a:xfrm>
        </p:spPr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F7471C-ADEF-4413-9F26-4E2ADEEEA1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93126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2.77778E-6 -2.46914E-6 L -0.02465 -2.46914E-6 " pathEditMode="relative" rAng="0" ptsTypes="AA">
                                      <p:cBhvr>
                                        <p:cTn id="6" dur="2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5.55556E-7 -4.32099E-6 L 0.06424 -4.32099E-6 " pathEditMode="relative" rAng="0" ptsTypes="AA">
                                      <p:cBhvr>
                                        <p:cTn id="8" dur="2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12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3.33333E-6 L -0.05503 3.33333E-6 " pathEditMode="relative" rAng="0" ptsTypes="AA">
                                      <p:cBhvr>
                                        <p:cTn id="16" dur="7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0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4.5679E-6 L 0.03125 -4.5679E-6 " pathEditMode="relative" rAng="0" ptsTypes="AA">
                                      <p:cBhvr>
                                        <p:cTn id="18" dur="4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5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" name="Grafik 7167">
            <a:extLst>
              <a:ext uri="{FF2B5EF4-FFF2-40B4-BE49-F238E27FC236}">
                <a16:creationId xmlns:a16="http://schemas.microsoft.com/office/drawing/2014/main" id="{E66D7DB4-5FA9-4F8D-A80F-855D3EB8EF8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" t="260" r="11670" b="6580"/>
          <a:stretch/>
        </p:blipFill>
        <p:spPr bwMode="gray">
          <a:xfrm>
            <a:off x="-972616" y="-1972864"/>
            <a:ext cx="10116617" cy="7124202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601CECA0-AF27-4BA7-AB34-B8DBA62D12D3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A5FF410-419A-4AA3-BB99-E968339F0B0E}"/>
                </a:ext>
              </a:extLst>
            </p:cNvPr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>
            <a:blip r:embed="rId2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92EABE1E-839B-4A8E-B09D-A73FAAB7CE14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BE53DE64-F4D5-4060-8AD9-7D1D2336A10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Fußzeilenplatzhalter 32">
            <a:extLst>
              <a:ext uri="{FF2B5EF4-FFF2-40B4-BE49-F238E27FC236}">
                <a16:creationId xmlns:a16="http://schemas.microsoft.com/office/drawing/2014/main" id="{73745923-CE42-47D3-A9FB-704C73A38F8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16F5FEDA-5FCE-4E06-9828-8E3E1BA417E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210381" y="2953188"/>
            <a:ext cx="4246168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600" b="1" dirty="0">
                <a:solidFill>
                  <a:schemeClr val="tx1"/>
                </a:solidFill>
              </a:rPr>
              <a:t>THE VISION</a:t>
            </a:r>
          </a:p>
        </p:txBody>
      </p:sp>
      <p:sp>
        <p:nvSpPr>
          <p:cNvPr id="28" name="Rectangle 23">
            <a:extLst>
              <a:ext uri="{FF2B5EF4-FFF2-40B4-BE49-F238E27FC236}">
                <a16:creationId xmlns:a16="http://schemas.microsoft.com/office/drawing/2014/main" id="{50A7ECD1-6450-48E9-B37E-01969E53FEC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000933" y="3651870"/>
            <a:ext cx="345949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1600" dirty="0">
                <a:solidFill>
                  <a:schemeClr val="tx1"/>
                </a:solidFill>
              </a:rPr>
              <a:t>Making buildings green and smart. </a:t>
            </a:r>
          </a:p>
          <a:p>
            <a:pPr>
              <a:spcAft>
                <a:spcPts val="400"/>
              </a:spcAft>
            </a:pPr>
            <a:r>
              <a:rPr lang="en-GB" sz="1600" dirty="0">
                <a:solidFill>
                  <a:schemeClr val="tx1"/>
                </a:solidFill>
              </a:rPr>
              <a:t>Helping people live healthy </a:t>
            </a:r>
            <a:br>
              <a:rPr lang="en-GB" sz="1600" dirty="0">
                <a:solidFill>
                  <a:schemeClr val="tx1"/>
                </a:solidFill>
              </a:rPr>
            </a:br>
            <a:r>
              <a:rPr lang="en-GB" sz="1600" dirty="0">
                <a:solidFill>
                  <a:schemeClr val="tx1"/>
                </a:solidFill>
              </a:rPr>
              <a:t>and comfortably.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52BE7712-3BA8-4C45-BACB-563D657115BE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107193" y="3930820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9600" b="1">
                <a:solidFill>
                  <a:srgbClr val="FF0000"/>
                </a:solidFill>
                <a:latin typeface="+mj-lt"/>
              </a:rPr>
              <a:t>„</a:t>
            </a:r>
            <a:endParaRPr lang="en-GB" sz="4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0DA9E708-2319-4CE0-922F-C871880846A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>
                <a:solidFill>
                  <a:schemeClr val="bg1"/>
                </a:solidFill>
              </a:rPr>
              <a:t>01 Our response to the challenges</a:t>
            </a:r>
            <a:endParaRPr lang="en-GB" sz="1050" kern="600" dirty="0">
              <a:solidFill>
                <a:schemeClr val="bg1"/>
              </a:solidFill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C3A2B53-0280-450B-8FD4-3A6D667560AA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90" b="8373"/>
          <a:stretch/>
        </p:blipFill>
        <p:spPr bwMode="gray">
          <a:xfrm>
            <a:off x="-1548680" y="5145594"/>
            <a:ext cx="11449050" cy="5170674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BC8C928E-E0E4-4A61-AA0B-4841D2A9BC0F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-554636" y="5152229"/>
            <a:ext cx="9695735" cy="5457314"/>
            <a:chOff x="-554636" y="2376"/>
            <a:chExt cx="9695735" cy="5457314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F01F7D6-F1D6-42DF-ABE8-378273F898CC}"/>
                </a:ext>
              </a:extLst>
            </p:cNvPr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2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1569BCC-4EBF-49CC-8B01-BD3D5C851B0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8D7EB324-B6A1-40E5-87DB-2C25B2A7B17E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8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09" r="68342" b="25851"/>
          <a:stretch/>
        </p:blipFill>
        <p:spPr bwMode="gray">
          <a:xfrm>
            <a:off x="1115616" y="6334699"/>
            <a:ext cx="1584176" cy="852411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EBE4C40E-2849-4F66-996E-C63C9034B381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464429" y="6777641"/>
            <a:ext cx="6267811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800" b="1">
                <a:solidFill>
                  <a:schemeClr val="tx1"/>
                </a:solidFill>
              </a:rPr>
              <a:t>OUR RESPONSE TO</a:t>
            </a:r>
            <a:br>
              <a:rPr lang="en-GB" sz="2800" b="1">
                <a:solidFill>
                  <a:schemeClr val="tx1"/>
                </a:solidFill>
              </a:rPr>
            </a:br>
            <a:r>
              <a:rPr lang="en-GB" sz="2800" b="1">
                <a:solidFill>
                  <a:schemeClr val="tx1"/>
                </a:solidFill>
              </a:rPr>
              <a:t>THE CHALLENGES</a:t>
            </a:r>
            <a:endParaRPr lang="en-GB" sz="2800" b="1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3CB59B4-9123-4088-A144-BB0C15DB264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64429" y="6067795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6600" b="1">
                <a:solidFill>
                  <a:schemeClr val="tx1"/>
                </a:solidFill>
              </a:rPr>
              <a:t>01</a:t>
            </a:r>
            <a:endParaRPr lang="en-GB" sz="6600" b="1" dirty="0">
              <a:solidFill>
                <a:schemeClr val="tx1"/>
              </a:solidFill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C3066447-B7DF-4622-8343-17D0AAB500EB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8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23" t="35722" r="32123" b="21584"/>
          <a:stretch/>
        </p:blipFill>
        <p:spPr bwMode="gray">
          <a:xfrm>
            <a:off x="4186769" y="7407273"/>
            <a:ext cx="1679047" cy="1001454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D380E6F4-8E5C-43A4-9140-38A4904CF9B2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46" name="Rechteck 12">
              <a:extLst>
                <a:ext uri="{FF2B5EF4-FFF2-40B4-BE49-F238E27FC236}">
                  <a16:creationId xmlns:a16="http://schemas.microsoft.com/office/drawing/2014/main" id="{EA2C45D8-2A33-4B52-9486-671F973094FF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E32F85A6-5FC6-4C87-86AE-E490A78940A7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48" name="Rectangle 5">
                <a:extLst>
                  <a:ext uri="{FF2B5EF4-FFF2-40B4-BE49-F238E27FC236}">
                    <a16:creationId xmlns:a16="http://schemas.microsoft.com/office/drawing/2014/main" id="{AE5EAB22-25E1-4B28-B457-18DC08B09A4A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7BA62249-75C3-4E23-98A1-8EE761212A89}"/>
                  </a:ext>
                </a:extLst>
              </p:cNvPr>
              <p:cNvGrpSpPr/>
              <p:nvPr userDrawn="1">
                <p:custDataLst>
                  <p:tags r:id="rId18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50" name="Freeform 6">
                  <a:extLst>
                    <a:ext uri="{FF2B5EF4-FFF2-40B4-BE49-F238E27FC236}">
                      <a16:creationId xmlns:a16="http://schemas.microsoft.com/office/drawing/2014/main" id="{CD84EC6D-76B5-40DC-9F6D-79C3AFD2E30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7">
                  <a:extLst>
                    <a:ext uri="{FF2B5EF4-FFF2-40B4-BE49-F238E27FC236}">
                      <a16:creationId xmlns:a16="http://schemas.microsoft.com/office/drawing/2014/main" id="{59487462-9F70-4996-906A-BD4D124475C4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8">
                  <a:extLst>
                    <a:ext uri="{FF2B5EF4-FFF2-40B4-BE49-F238E27FC236}">
                      <a16:creationId xmlns:a16="http://schemas.microsoft.com/office/drawing/2014/main" id="{6F494C80-2A5D-4DAE-8274-F6E8AB7A3A2C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9">
                  <a:extLst>
                    <a:ext uri="{FF2B5EF4-FFF2-40B4-BE49-F238E27FC236}">
                      <a16:creationId xmlns:a16="http://schemas.microsoft.com/office/drawing/2014/main" id="{6C37BF21-9880-4C1F-88B9-B9CB4D375EBD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10">
                  <a:extLst>
                    <a:ext uri="{FF2B5EF4-FFF2-40B4-BE49-F238E27FC236}">
                      <a16:creationId xmlns:a16="http://schemas.microsoft.com/office/drawing/2014/main" id="{03009868-C693-4A21-86A3-8F20A1AC2874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11">
                  <a:extLst>
                    <a:ext uri="{FF2B5EF4-FFF2-40B4-BE49-F238E27FC236}">
                      <a16:creationId xmlns:a16="http://schemas.microsoft.com/office/drawing/2014/main" id="{E0E6C4EC-BF78-43FB-8004-A829C7660C1E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12">
                  <a:extLst>
                    <a:ext uri="{FF2B5EF4-FFF2-40B4-BE49-F238E27FC236}">
                      <a16:creationId xmlns:a16="http://schemas.microsoft.com/office/drawing/2014/main" id="{A9F83CD4-A6D4-49BA-B406-ED2F65FB2C6C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13">
                  <a:extLst>
                    <a:ext uri="{FF2B5EF4-FFF2-40B4-BE49-F238E27FC236}">
                      <a16:creationId xmlns:a16="http://schemas.microsoft.com/office/drawing/2014/main" id="{683477AC-8370-41C0-9B2F-10E08229525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147F8107-BF82-4CF4-AE93-ACDFB6DED3CB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58"/>
          <a:stretch/>
        </p:blipFill>
        <p:spPr bwMode="gray">
          <a:xfrm>
            <a:off x="-2166937" y="7401693"/>
            <a:ext cx="13620750" cy="2914575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E0F94CD-0315-4225-85BA-FF3DE65A9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0866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5B050297-8902-434A-A935-B971FE4C8C6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t="-123" b="59"/>
          <a:stretch/>
        </p:blipFill>
        <p:spPr bwMode="gray">
          <a:xfrm>
            <a:off x="-2436488" y="-1054030"/>
            <a:ext cx="11701808" cy="7826644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74083C72-75C9-4A3E-91A5-606F099B12A2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D702ABD-1256-41AB-A51D-1FBEDA630236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6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076DD9B-ED5E-4349-A699-E8A4F6470918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154383F6-F7A1-4C8C-A996-5B35E01FA37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-18892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0B38D2BF-0022-4B91-88D1-0729CA3F4C6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>
                <a:solidFill>
                  <a:schemeClr val="bg1"/>
                </a:solidFill>
              </a:rPr>
              <a:t>01 Our response to the challenges</a:t>
            </a:r>
            <a:endParaRPr lang="en-GB" sz="1050" kern="600" dirty="0">
              <a:solidFill>
                <a:schemeClr val="bg1"/>
              </a:solidFill>
            </a:endParaRP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16F5FEDA-5FCE-4E06-9828-8E3E1BA417EC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106738" y="3147814"/>
            <a:ext cx="4246168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600" b="1" dirty="0">
                <a:solidFill>
                  <a:schemeClr val="tx1"/>
                </a:solidFill>
              </a:rPr>
              <a:t>THE MISSION</a:t>
            </a:r>
          </a:p>
        </p:txBody>
      </p:sp>
      <p:sp>
        <p:nvSpPr>
          <p:cNvPr id="28" name="Rectangle 23">
            <a:extLst>
              <a:ext uri="{FF2B5EF4-FFF2-40B4-BE49-F238E27FC236}">
                <a16:creationId xmlns:a16="http://schemas.microsoft.com/office/drawing/2014/main" id="{50A7ECD1-6450-48E9-B37E-01969E53FEC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897290" y="3846496"/>
            <a:ext cx="345949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Aft>
                <a:spcPts val="400"/>
              </a:spcAft>
            </a:pPr>
            <a:r>
              <a:rPr lang="en-GB" sz="1600">
                <a:solidFill>
                  <a:schemeClr val="tx1"/>
                </a:solidFill>
              </a:rPr>
              <a:t>We want to become the digital service partner of the real estate industry, protecting resources.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9" name="Rectangle 20">
            <a:extLst>
              <a:ext uri="{FF2B5EF4-FFF2-40B4-BE49-F238E27FC236}">
                <a16:creationId xmlns:a16="http://schemas.microsoft.com/office/drawing/2014/main" id="{F2592192-0E46-4298-BAF8-E33FD9E0184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003550" y="4125446"/>
            <a:ext cx="821732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9600" b="1">
                <a:solidFill>
                  <a:srgbClr val="FF0000"/>
                </a:solidFill>
                <a:latin typeface="+mj-lt"/>
              </a:rPr>
              <a:t>„</a:t>
            </a:r>
            <a:endParaRPr lang="en-GB" sz="4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120" name="Fußzeilenplatzhalter 5119">
            <a:extLst>
              <a:ext uri="{FF2B5EF4-FFF2-40B4-BE49-F238E27FC236}">
                <a16:creationId xmlns:a16="http://schemas.microsoft.com/office/drawing/2014/main" id="{6681F07B-2D6D-4F25-8167-76C76B5BAE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US"/>
              <a:t>TECHEM – THE SERVICE PARTNER FOR GREEN AND SMART BUILDINGS</a:t>
            </a:r>
            <a:endParaRPr lang="en-GB" dirty="0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564FEE9-7A97-4032-A608-863048DFE4CA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32" name="Rechteck 12">
              <a:extLst>
                <a:ext uri="{FF2B5EF4-FFF2-40B4-BE49-F238E27FC236}">
                  <a16:creationId xmlns:a16="http://schemas.microsoft.com/office/drawing/2014/main" id="{B6CD1860-A5AA-4645-B125-D58C42E3FF87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EBE3CE5-17A5-4263-B0B9-193D09E2D278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39" name="Rectangle 5">
                <a:extLst>
                  <a:ext uri="{FF2B5EF4-FFF2-40B4-BE49-F238E27FC236}">
                    <a16:creationId xmlns:a16="http://schemas.microsoft.com/office/drawing/2014/main" id="{C9118B27-A418-490C-944F-BB8616357023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9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60ABCD77-8AFC-4C10-8EEF-176BA27D9361}"/>
                  </a:ext>
                </a:extLst>
              </p:cNvPr>
              <p:cNvGrpSpPr/>
              <p:nvPr userDrawn="1">
                <p:custDataLst>
                  <p:tags r:id="rId10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41" name="Freeform 6">
                  <a:extLst>
                    <a:ext uri="{FF2B5EF4-FFF2-40B4-BE49-F238E27FC236}">
                      <a16:creationId xmlns:a16="http://schemas.microsoft.com/office/drawing/2014/main" id="{C29C1EBF-B234-4AC4-88A2-362A220DA0C3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7">
                  <a:extLst>
                    <a:ext uri="{FF2B5EF4-FFF2-40B4-BE49-F238E27FC236}">
                      <a16:creationId xmlns:a16="http://schemas.microsoft.com/office/drawing/2014/main" id="{2CD22185-B7BD-40F1-8038-919B8EA4D9F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8">
                  <a:extLst>
                    <a:ext uri="{FF2B5EF4-FFF2-40B4-BE49-F238E27FC236}">
                      <a16:creationId xmlns:a16="http://schemas.microsoft.com/office/drawing/2014/main" id="{F110E18D-2B7A-4767-823E-12460C3341B0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9">
                  <a:extLst>
                    <a:ext uri="{FF2B5EF4-FFF2-40B4-BE49-F238E27FC236}">
                      <a16:creationId xmlns:a16="http://schemas.microsoft.com/office/drawing/2014/main" id="{111389E0-35DD-433D-8B65-1348D9D53C7E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10">
                  <a:extLst>
                    <a:ext uri="{FF2B5EF4-FFF2-40B4-BE49-F238E27FC236}">
                      <a16:creationId xmlns:a16="http://schemas.microsoft.com/office/drawing/2014/main" id="{968EA67C-6B6B-4501-8BD4-6B689D6A926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11">
                  <a:extLst>
                    <a:ext uri="{FF2B5EF4-FFF2-40B4-BE49-F238E27FC236}">
                      <a16:creationId xmlns:a16="http://schemas.microsoft.com/office/drawing/2014/main" id="{CCC570F3-3C3E-41AD-A81E-4ADDDF30288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12">
                  <a:extLst>
                    <a:ext uri="{FF2B5EF4-FFF2-40B4-BE49-F238E27FC236}">
                      <a16:creationId xmlns:a16="http://schemas.microsoft.com/office/drawing/2014/main" id="{52D5613D-2EB1-462C-B10D-40498C19EDC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13">
                  <a:extLst>
                    <a:ext uri="{FF2B5EF4-FFF2-40B4-BE49-F238E27FC236}">
                      <a16:creationId xmlns:a16="http://schemas.microsoft.com/office/drawing/2014/main" id="{79181D4C-ABBA-4614-8DE3-4C514A1666B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67BD60-C5DD-40CE-958B-799AC80203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56050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90">
            <a:extLst>
              <a:ext uri="{FF2B5EF4-FFF2-40B4-BE49-F238E27FC236}">
                <a16:creationId xmlns:a16="http://schemas.microsoft.com/office/drawing/2014/main" id="{37A0B7F2-5204-4092-939D-9764861592A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691032" y="0"/>
            <a:ext cx="9144000" cy="5143500"/>
          </a:xfrm>
          <a:prstGeom prst="rect">
            <a:avLst/>
          </a:prstGeom>
        </p:spPr>
      </p:pic>
      <p:grpSp>
        <p:nvGrpSpPr>
          <p:cNvPr id="92" name="Group 91">
            <a:extLst>
              <a:ext uri="{FF2B5EF4-FFF2-40B4-BE49-F238E27FC236}">
                <a16:creationId xmlns:a16="http://schemas.microsoft.com/office/drawing/2014/main" id="{D645FA63-B2F9-4F22-A7CA-CF6D67622D0B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8136396" y="0"/>
            <a:ext cx="9695735" cy="5457314"/>
            <a:chOff x="-554636" y="2376"/>
            <a:chExt cx="9695735" cy="5457314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F54FB36F-B0DE-44A7-AC82-3F1D1ED5DF3D}"/>
                </a:ext>
              </a:extLst>
            </p:cNvPr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35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F0E846C4-A8F8-49FE-BF95-E219F178B49F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5" name="Rectangle 94">
            <a:extLst>
              <a:ext uri="{FF2B5EF4-FFF2-40B4-BE49-F238E27FC236}">
                <a16:creationId xmlns:a16="http://schemas.microsoft.com/office/drawing/2014/main" id="{F82C1DA8-7B73-435B-A2BC-54A9EE31217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672140" y="0"/>
            <a:ext cx="918178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93EEDDEB-5EBF-408D-89E7-B02BC21F4D4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" t="43525" r="5462" b="746"/>
          <a:stretch/>
        </p:blipFill>
        <p:spPr bwMode="gray">
          <a:xfrm>
            <a:off x="-3622398" y="0"/>
            <a:ext cx="12775110" cy="5143500"/>
          </a:xfrm>
          <a:prstGeom prst="rect">
            <a:avLst/>
          </a:prstGeom>
        </p:spPr>
      </p:pic>
      <p:grpSp>
        <p:nvGrpSpPr>
          <p:cNvPr id="87" name="Group 86">
            <a:extLst>
              <a:ext uri="{FF2B5EF4-FFF2-40B4-BE49-F238E27FC236}">
                <a16:creationId xmlns:a16="http://schemas.microsoft.com/office/drawing/2014/main" id="{CC23466F-938C-4D20-BE6F-2AD5F62ACBCA}"/>
              </a:ext>
            </a:extLst>
          </p:cNvPr>
          <p:cNvGrpSpPr/>
          <p:nvPr>
            <p:custDataLst>
              <p:tags r:id="rId5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3F55ADBD-CB0D-47A8-8133-4A688B465488}"/>
                </a:ext>
              </a:extLst>
            </p:cNvPr>
            <p:cNvPicPr>
              <a:picLocks noChangeAspect="1"/>
            </p:cNvPicPr>
            <p:nvPr>
              <p:custDataLst>
                <p:tags r:id="rId28"/>
              </p:custDataLst>
            </p:nvPr>
          </p:nvPicPr>
          <p:blipFill>
            <a:blip r:embed="rId35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56C0110-5A0E-49F1-815A-99EF9D0D5E0F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83" name="Rectangle 14">
            <a:extLst>
              <a:ext uri="{FF2B5EF4-FFF2-40B4-BE49-F238E27FC236}">
                <a16:creationId xmlns:a16="http://schemas.microsoft.com/office/drawing/2014/main" id="{807282EE-E1EB-4AF3-8CCE-F7BF64175CE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71000"/>
                </a:schemeClr>
              </a:gs>
              <a:gs pos="79000">
                <a:schemeClr val="bg1">
                  <a:alpha val="14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Fußzeilenplatzhalter 1">
            <a:extLst>
              <a:ext uri="{FF2B5EF4-FFF2-40B4-BE49-F238E27FC236}">
                <a16:creationId xmlns:a16="http://schemas.microsoft.com/office/drawing/2014/main" id="{27BAC292-1971-4DBA-8025-8ACACD890E2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 bwMode="gray"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BBE5E4-B000-459E-827F-D88FA46FE48C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30976" y="555526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 dirty="0">
                <a:solidFill>
                  <a:schemeClr val="tx1"/>
                </a:solidFill>
              </a:rPr>
              <a:t>THE STRATEG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2F1C6-98DB-44DE-A3D6-43E735D8130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45265" y="113159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 dirty="0">
                <a:solidFill>
                  <a:schemeClr val="tx1"/>
                </a:solidFill>
              </a:rPr>
              <a:t>Taking advantage of digitalization to ..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B81C0F8-31C1-4EDC-983E-4C350679373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2468813" y="2225675"/>
            <a:ext cx="584994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develop innovative, high-quality solutions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for specific target groups </a:t>
            </a:r>
            <a:endParaRPr lang="en-GB" sz="14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DE8AE82-EE05-417F-BDFD-C7A833989D92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468813" y="3033870"/>
            <a:ext cx="5132045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respond flexibly to customers’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individual needs 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FEAEDC59-E17C-48F6-B9DC-76751412BBDE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468813" y="3842065"/>
            <a:ext cx="455145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keep energy transition costs low in Germany</a:t>
            </a:r>
          </a:p>
          <a:p>
            <a:r>
              <a:rPr lang="en-US" sz="1400" dirty="0">
                <a:solidFill>
                  <a:schemeClr val="tx1"/>
                </a:solidFill>
              </a:rPr>
              <a:t>for tenants and landlord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905FB9C-7613-418D-BBC5-C09BD957D792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1763688" y="2211710"/>
            <a:ext cx="504000" cy="504000"/>
            <a:chOff x="2483824" y="1826890"/>
            <a:chExt cx="504000" cy="504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350D57E-3A7C-424B-995B-6E2AF304F23A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2483824" y="182689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ED987A8-7FBC-4E54-BDC7-CF4D01FEC22F}"/>
                </a:ext>
              </a:extLst>
            </p:cNvPr>
            <p:cNvGrpSpPr/>
            <p:nvPr>
              <p:custDataLst>
                <p:tags r:id="rId27"/>
              </p:custDataLst>
            </p:nvPr>
          </p:nvGrpSpPr>
          <p:grpSpPr bwMode="gray">
            <a:xfrm>
              <a:off x="2551184" y="1880320"/>
              <a:ext cx="369280" cy="397140"/>
              <a:chOff x="-3062288" y="1462088"/>
              <a:chExt cx="2062163" cy="2217738"/>
            </a:xfrm>
            <a:solidFill>
              <a:schemeClr val="bg1"/>
            </a:solidFill>
          </p:grpSpPr>
          <p:sp>
            <p:nvSpPr>
              <p:cNvPr id="27" name="Freeform 5">
                <a:extLst>
                  <a:ext uri="{FF2B5EF4-FFF2-40B4-BE49-F238E27FC236}">
                    <a16:creationId xmlns:a16="http://schemas.microsoft.com/office/drawing/2014/main" id="{FE474E7E-AC31-46F7-BE0A-9DFF4D67506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062288" y="1462088"/>
                <a:ext cx="2062163" cy="2217738"/>
              </a:xfrm>
              <a:custGeom>
                <a:avLst/>
                <a:gdLst>
                  <a:gd name="T0" fmla="*/ 708 w 736"/>
                  <a:gd name="T1" fmla="*/ 281 h 792"/>
                  <a:gd name="T2" fmla="*/ 601 w 736"/>
                  <a:gd name="T3" fmla="*/ 93 h 792"/>
                  <a:gd name="T4" fmla="*/ 413 w 736"/>
                  <a:gd name="T5" fmla="*/ 6 h 792"/>
                  <a:gd name="T6" fmla="*/ 336 w 736"/>
                  <a:gd name="T7" fmla="*/ 6 h 792"/>
                  <a:gd name="T8" fmla="*/ 148 w 736"/>
                  <a:gd name="T9" fmla="*/ 93 h 792"/>
                  <a:gd name="T10" fmla="*/ 42 w 736"/>
                  <a:gd name="T11" fmla="*/ 281 h 792"/>
                  <a:gd name="T12" fmla="*/ 79 w 736"/>
                  <a:gd name="T13" fmla="*/ 482 h 792"/>
                  <a:gd name="T14" fmla="*/ 150 w 736"/>
                  <a:gd name="T15" fmla="*/ 685 h 792"/>
                  <a:gd name="T16" fmla="*/ 302 w 736"/>
                  <a:gd name="T17" fmla="*/ 791 h 792"/>
                  <a:gd name="T18" fmla="*/ 375 w 736"/>
                  <a:gd name="T19" fmla="*/ 744 h 792"/>
                  <a:gd name="T20" fmla="*/ 549 w 736"/>
                  <a:gd name="T21" fmla="*/ 718 h 792"/>
                  <a:gd name="T22" fmla="*/ 608 w 736"/>
                  <a:gd name="T23" fmla="*/ 624 h 792"/>
                  <a:gd name="T24" fmla="*/ 732 w 736"/>
                  <a:gd name="T25" fmla="*/ 350 h 792"/>
                  <a:gd name="T26" fmla="*/ 643 w 736"/>
                  <a:gd name="T27" fmla="*/ 479 h 792"/>
                  <a:gd name="T28" fmla="*/ 579 w 736"/>
                  <a:gd name="T29" fmla="*/ 620 h 792"/>
                  <a:gd name="T30" fmla="*/ 539 w 736"/>
                  <a:gd name="T31" fmla="*/ 692 h 792"/>
                  <a:gd name="T32" fmla="*/ 448 w 736"/>
                  <a:gd name="T33" fmla="*/ 764 h 792"/>
                  <a:gd name="T34" fmla="*/ 387 w 736"/>
                  <a:gd name="T35" fmla="*/ 712 h 792"/>
                  <a:gd name="T36" fmla="*/ 363 w 736"/>
                  <a:gd name="T37" fmla="*/ 712 h 792"/>
                  <a:gd name="T38" fmla="*/ 220 w 736"/>
                  <a:gd name="T39" fmla="*/ 698 h 792"/>
                  <a:gd name="T40" fmla="*/ 174 w 736"/>
                  <a:gd name="T41" fmla="*/ 671 h 792"/>
                  <a:gd name="T42" fmla="*/ 163 w 736"/>
                  <a:gd name="T43" fmla="*/ 604 h 792"/>
                  <a:gd name="T44" fmla="*/ 101 w 736"/>
                  <a:gd name="T45" fmla="*/ 464 h 792"/>
                  <a:gd name="T46" fmla="*/ 69 w 736"/>
                  <a:gd name="T47" fmla="*/ 283 h 792"/>
                  <a:gd name="T48" fmla="*/ 158 w 736"/>
                  <a:gd name="T49" fmla="*/ 119 h 792"/>
                  <a:gd name="T50" fmla="*/ 223 w 736"/>
                  <a:gd name="T51" fmla="*/ 67 h 792"/>
                  <a:gd name="T52" fmla="*/ 244 w 736"/>
                  <a:gd name="T53" fmla="*/ 64 h 792"/>
                  <a:gd name="T54" fmla="*/ 365 w 736"/>
                  <a:gd name="T55" fmla="*/ 52 h 792"/>
                  <a:gd name="T56" fmla="*/ 375 w 736"/>
                  <a:gd name="T57" fmla="*/ 56 h 792"/>
                  <a:gd name="T58" fmla="*/ 420 w 736"/>
                  <a:gd name="T59" fmla="*/ 33 h 792"/>
                  <a:gd name="T60" fmla="*/ 519 w 736"/>
                  <a:gd name="T61" fmla="*/ 68 h 792"/>
                  <a:gd name="T62" fmla="*/ 592 w 736"/>
                  <a:gd name="T63" fmla="*/ 119 h 792"/>
                  <a:gd name="T64" fmla="*/ 680 w 736"/>
                  <a:gd name="T65" fmla="*/ 283 h 792"/>
                  <a:gd name="T66" fmla="*/ 704 w 736"/>
                  <a:gd name="T67" fmla="*/ 353 h 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6" h="792">
                    <a:moveTo>
                      <a:pt x="732" y="350"/>
                    </a:moveTo>
                    <a:cubicBezTo>
                      <a:pt x="727" y="317"/>
                      <a:pt x="714" y="291"/>
                      <a:pt x="708" y="281"/>
                    </a:cubicBezTo>
                    <a:cubicBezTo>
                      <a:pt x="712" y="213"/>
                      <a:pt x="699" y="161"/>
                      <a:pt x="668" y="128"/>
                    </a:cubicBezTo>
                    <a:cubicBezTo>
                      <a:pt x="644" y="102"/>
                      <a:pt x="616" y="95"/>
                      <a:pt x="601" y="93"/>
                    </a:cubicBezTo>
                    <a:cubicBezTo>
                      <a:pt x="579" y="47"/>
                      <a:pt x="542" y="38"/>
                      <a:pt x="520" y="40"/>
                    </a:cubicBezTo>
                    <a:cubicBezTo>
                      <a:pt x="478" y="1"/>
                      <a:pt x="439" y="0"/>
                      <a:pt x="413" y="6"/>
                    </a:cubicBezTo>
                    <a:cubicBezTo>
                      <a:pt x="396" y="11"/>
                      <a:pt x="383" y="19"/>
                      <a:pt x="375" y="24"/>
                    </a:cubicBezTo>
                    <a:cubicBezTo>
                      <a:pt x="367" y="19"/>
                      <a:pt x="353" y="11"/>
                      <a:pt x="336" y="6"/>
                    </a:cubicBezTo>
                    <a:cubicBezTo>
                      <a:pt x="311" y="0"/>
                      <a:pt x="272" y="1"/>
                      <a:pt x="230" y="40"/>
                    </a:cubicBezTo>
                    <a:cubicBezTo>
                      <a:pt x="207" y="38"/>
                      <a:pt x="170" y="47"/>
                      <a:pt x="148" y="93"/>
                    </a:cubicBezTo>
                    <a:cubicBezTo>
                      <a:pt x="134" y="95"/>
                      <a:pt x="106" y="102"/>
                      <a:pt x="82" y="128"/>
                    </a:cubicBezTo>
                    <a:cubicBezTo>
                      <a:pt x="51" y="161"/>
                      <a:pt x="38" y="213"/>
                      <a:pt x="42" y="281"/>
                    </a:cubicBezTo>
                    <a:cubicBezTo>
                      <a:pt x="36" y="291"/>
                      <a:pt x="22" y="317"/>
                      <a:pt x="18" y="350"/>
                    </a:cubicBezTo>
                    <a:cubicBezTo>
                      <a:pt x="13" y="387"/>
                      <a:pt x="21" y="439"/>
                      <a:pt x="79" y="482"/>
                    </a:cubicBezTo>
                    <a:cubicBezTo>
                      <a:pt x="72" y="521"/>
                      <a:pt x="78" y="590"/>
                      <a:pt x="142" y="624"/>
                    </a:cubicBezTo>
                    <a:cubicBezTo>
                      <a:pt x="139" y="638"/>
                      <a:pt x="137" y="663"/>
                      <a:pt x="150" y="685"/>
                    </a:cubicBezTo>
                    <a:cubicBezTo>
                      <a:pt x="161" y="701"/>
                      <a:pt x="177" y="713"/>
                      <a:pt x="200" y="718"/>
                    </a:cubicBezTo>
                    <a:cubicBezTo>
                      <a:pt x="212" y="736"/>
                      <a:pt x="252" y="791"/>
                      <a:pt x="302" y="791"/>
                    </a:cubicBezTo>
                    <a:cubicBezTo>
                      <a:pt x="302" y="791"/>
                      <a:pt x="302" y="791"/>
                      <a:pt x="303" y="791"/>
                    </a:cubicBezTo>
                    <a:cubicBezTo>
                      <a:pt x="329" y="791"/>
                      <a:pt x="354" y="775"/>
                      <a:pt x="375" y="744"/>
                    </a:cubicBezTo>
                    <a:cubicBezTo>
                      <a:pt x="396" y="775"/>
                      <a:pt x="420" y="791"/>
                      <a:pt x="447" y="791"/>
                    </a:cubicBezTo>
                    <a:cubicBezTo>
                      <a:pt x="497" y="792"/>
                      <a:pt x="538" y="736"/>
                      <a:pt x="549" y="718"/>
                    </a:cubicBezTo>
                    <a:cubicBezTo>
                      <a:pt x="572" y="713"/>
                      <a:pt x="589" y="701"/>
                      <a:pt x="599" y="685"/>
                    </a:cubicBezTo>
                    <a:cubicBezTo>
                      <a:pt x="612" y="663"/>
                      <a:pt x="610" y="638"/>
                      <a:pt x="608" y="624"/>
                    </a:cubicBezTo>
                    <a:cubicBezTo>
                      <a:pt x="671" y="590"/>
                      <a:pt x="678" y="521"/>
                      <a:pt x="671" y="482"/>
                    </a:cubicBezTo>
                    <a:cubicBezTo>
                      <a:pt x="729" y="439"/>
                      <a:pt x="736" y="387"/>
                      <a:pt x="732" y="350"/>
                    </a:cubicBezTo>
                    <a:close/>
                    <a:moveTo>
                      <a:pt x="648" y="464"/>
                    </a:moveTo>
                    <a:cubicBezTo>
                      <a:pt x="643" y="468"/>
                      <a:pt x="641" y="473"/>
                      <a:pt x="643" y="479"/>
                    </a:cubicBezTo>
                    <a:cubicBezTo>
                      <a:pt x="643" y="483"/>
                      <a:pt x="664" y="570"/>
                      <a:pt x="587" y="604"/>
                    </a:cubicBezTo>
                    <a:cubicBezTo>
                      <a:pt x="580" y="606"/>
                      <a:pt x="577" y="614"/>
                      <a:pt x="579" y="620"/>
                    </a:cubicBezTo>
                    <a:cubicBezTo>
                      <a:pt x="579" y="621"/>
                      <a:pt x="588" y="650"/>
                      <a:pt x="576" y="671"/>
                    </a:cubicBezTo>
                    <a:cubicBezTo>
                      <a:pt x="569" y="682"/>
                      <a:pt x="557" y="689"/>
                      <a:pt x="539" y="692"/>
                    </a:cubicBezTo>
                    <a:cubicBezTo>
                      <a:pt x="535" y="693"/>
                      <a:pt x="531" y="695"/>
                      <a:pt x="529" y="698"/>
                    </a:cubicBezTo>
                    <a:cubicBezTo>
                      <a:pt x="518" y="717"/>
                      <a:pt x="483" y="764"/>
                      <a:pt x="448" y="764"/>
                    </a:cubicBezTo>
                    <a:cubicBezTo>
                      <a:pt x="448" y="764"/>
                      <a:pt x="447" y="764"/>
                      <a:pt x="447" y="764"/>
                    </a:cubicBezTo>
                    <a:cubicBezTo>
                      <a:pt x="426" y="763"/>
                      <a:pt x="406" y="746"/>
                      <a:pt x="387" y="712"/>
                    </a:cubicBezTo>
                    <a:cubicBezTo>
                      <a:pt x="385" y="707"/>
                      <a:pt x="380" y="704"/>
                      <a:pt x="375" y="704"/>
                    </a:cubicBezTo>
                    <a:cubicBezTo>
                      <a:pt x="370" y="704"/>
                      <a:pt x="365" y="707"/>
                      <a:pt x="363" y="712"/>
                    </a:cubicBezTo>
                    <a:cubicBezTo>
                      <a:pt x="344" y="746"/>
                      <a:pt x="324" y="763"/>
                      <a:pt x="302" y="764"/>
                    </a:cubicBezTo>
                    <a:cubicBezTo>
                      <a:pt x="267" y="764"/>
                      <a:pt x="231" y="717"/>
                      <a:pt x="220" y="698"/>
                    </a:cubicBezTo>
                    <a:cubicBezTo>
                      <a:pt x="218" y="695"/>
                      <a:pt x="215" y="693"/>
                      <a:pt x="211" y="692"/>
                    </a:cubicBezTo>
                    <a:cubicBezTo>
                      <a:pt x="193" y="689"/>
                      <a:pt x="181" y="682"/>
                      <a:pt x="174" y="671"/>
                    </a:cubicBezTo>
                    <a:cubicBezTo>
                      <a:pt x="161" y="650"/>
                      <a:pt x="171" y="621"/>
                      <a:pt x="171" y="620"/>
                    </a:cubicBezTo>
                    <a:cubicBezTo>
                      <a:pt x="173" y="614"/>
                      <a:pt x="170" y="606"/>
                      <a:pt x="163" y="604"/>
                    </a:cubicBezTo>
                    <a:cubicBezTo>
                      <a:pt x="86" y="570"/>
                      <a:pt x="106" y="483"/>
                      <a:pt x="107" y="479"/>
                    </a:cubicBezTo>
                    <a:cubicBezTo>
                      <a:pt x="109" y="473"/>
                      <a:pt x="106" y="468"/>
                      <a:pt x="101" y="464"/>
                    </a:cubicBezTo>
                    <a:cubicBezTo>
                      <a:pt x="0" y="396"/>
                      <a:pt x="64" y="296"/>
                      <a:pt x="67" y="292"/>
                    </a:cubicBezTo>
                    <a:cubicBezTo>
                      <a:pt x="69" y="289"/>
                      <a:pt x="69" y="286"/>
                      <a:pt x="69" y="283"/>
                    </a:cubicBezTo>
                    <a:cubicBezTo>
                      <a:pt x="65" y="221"/>
                      <a:pt x="76" y="175"/>
                      <a:pt x="101" y="147"/>
                    </a:cubicBezTo>
                    <a:cubicBezTo>
                      <a:pt x="126" y="120"/>
                      <a:pt x="156" y="119"/>
                      <a:pt x="158" y="119"/>
                    </a:cubicBezTo>
                    <a:cubicBezTo>
                      <a:pt x="163" y="119"/>
                      <a:pt x="168" y="116"/>
                      <a:pt x="170" y="111"/>
                    </a:cubicBezTo>
                    <a:cubicBezTo>
                      <a:pt x="186" y="73"/>
                      <a:pt x="210" y="67"/>
                      <a:pt x="223" y="67"/>
                    </a:cubicBezTo>
                    <a:cubicBezTo>
                      <a:pt x="227" y="67"/>
                      <a:pt x="230" y="68"/>
                      <a:pt x="231" y="68"/>
                    </a:cubicBezTo>
                    <a:cubicBezTo>
                      <a:pt x="236" y="69"/>
                      <a:pt x="240" y="68"/>
                      <a:pt x="244" y="64"/>
                    </a:cubicBezTo>
                    <a:cubicBezTo>
                      <a:pt x="272" y="37"/>
                      <a:pt x="300" y="26"/>
                      <a:pt x="329" y="33"/>
                    </a:cubicBezTo>
                    <a:cubicBezTo>
                      <a:pt x="351" y="38"/>
                      <a:pt x="365" y="51"/>
                      <a:pt x="365" y="52"/>
                    </a:cubicBezTo>
                    <a:cubicBezTo>
                      <a:pt x="367" y="54"/>
                      <a:pt x="371" y="56"/>
                      <a:pt x="375" y="56"/>
                    </a:cubicBezTo>
                    <a:cubicBezTo>
                      <a:pt x="375" y="56"/>
                      <a:pt x="375" y="56"/>
                      <a:pt x="375" y="56"/>
                    </a:cubicBezTo>
                    <a:cubicBezTo>
                      <a:pt x="379" y="56"/>
                      <a:pt x="382" y="54"/>
                      <a:pt x="385" y="52"/>
                    </a:cubicBezTo>
                    <a:cubicBezTo>
                      <a:pt x="385" y="51"/>
                      <a:pt x="399" y="38"/>
                      <a:pt x="420" y="33"/>
                    </a:cubicBezTo>
                    <a:cubicBezTo>
                      <a:pt x="449" y="26"/>
                      <a:pt x="478" y="36"/>
                      <a:pt x="506" y="64"/>
                    </a:cubicBezTo>
                    <a:cubicBezTo>
                      <a:pt x="509" y="68"/>
                      <a:pt x="514" y="69"/>
                      <a:pt x="519" y="68"/>
                    </a:cubicBezTo>
                    <a:cubicBezTo>
                      <a:pt x="523" y="67"/>
                      <a:pt x="559" y="60"/>
                      <a:pt x="579" y="111"/>
                    </a:cubicBezTo>
                    <a:cubicBezTo>
                      <a:pt x="581" y="116"/>
                      <a:pt x="586" y="119"/>
                      <a:pt x="592" y="119"/>
                    </a:cubicBezTo>
                    <a:cubicBezTo>
                      <a:pt x="593" y="119"/>
                      <a:pt x="623" y="120"/>
                      <a:pt x="648" y="147"/>
                    </a:cubicBezTo>
                    <a:cubicBezTo>
                      <a:pt x="674" y="175"/>
                      <a:pt x="685" y="221"/>
                      <a:pt x="680" y="283"/>
                    </a:cubicBezTo>
                    <a:cubicBezTo>
                      <a:pt x="680" y="286"/>
                      <a:pt x="681" y="289"/>
                      <a:pt x="683" y="292"/>
                    </a:cubicBezTo>
                    <a:cubicBezTo>
                      <a:pt x="683" y="292"/>
                      <a:pt x="700" y="318"/>
                      <a:pt x="704" y="353"/>
                    </a:cubicBezTo>
                    <a:cubicBezTo>
                      <a:pt x="710" y="398"/>
                      <a:pt x="691" y="436"/>
                      <a:pt x="648" y="4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6AEFC3BF-3C75-4E1B-894F-B353DB8DF2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57351" y="1712913"/>
                <a:ext cx="296863" cy="333375"/>
              </a:xfrm>
              <a:custGeom>
                <a:avLst/>
                <a:gdLst>
                  <a:gd name="T0" fmla="*/ 103 w 106"/>
                  <a:gd name="T1" fmla="*/ 11 h 119"/>
                  <a:gd name="T2" fmla="*/ 86 w 106"/>
                  <a:gd name="T3" fmla="*/ 3 h 119"/>
                  <a:gd name="T4" fmla="*/ 0 w 106"/>
                  <a:gd name="T5" fmla="*/ 105 h 119"/>
                  <a:gd name="T6" fmla="*/ 14 w 106"/>
                  <a:gd name="T7" fmla="*/ 119 h 119"/>
                  <a:gd name="T8" fmla="*/ 14 w 106"/>
                  <a:gd name="T9" fmla="*/ 119 h 119"/>
                  <a:gd name="T10" fmla="*/ 28 w 106"/>
                  <a:gd name="T11" fmla="*/ 105 h 119"/>
                  <a:gd name="T12" fmla="*/ 95 w 106"/>
                  <a:gd name="T13" fmla="*/ 29 h 119"/>
                  <a:gd name="T14" fmla="*/ 103 w 106"/>
                  <a:gd name="T15" fmla="*/ 1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119">
                    <a:moveTo>
                      <a:pt x="103" y="11"/>
                    </a:moveTo>
                    <a:cubicBezTo>
                      <a:pt x="101" y="4"/>
                      <a:pt x="93" y="0"/>
                      <a:pt x="86" y="3"/>
                    </a:cubicBezTo>
                    <a:cubicBezTo>
                      <a:pt x="1" y="31"/>
                      <a:pt x="0" y="102"/>
                      <a:pt x="0" y="105"/>
                    </a:cubicBezTo>
                    <a:cubicBezTo>
                      <a:pt x="0" y="113"/>
                      <a:pt x="6" y="119"/>
                      <a:pt x="14" y="119"/>
                    </a:cubicBezTo>
                    <a:cubicBezTo>
                      <a:pt x="14" y="119"/>
                      <a:pt x="14" y="119"/>
                      <a:pt x="14" y="119"/>
                    </a:cubicBezTo>
                    <a:cubicBezTo>
                      <a:pt x="21" y="119"/>
                      <a:pt x="27" y="113"/>
                      <a:pt x="28" y="105"/>
                    </a:cubicBezTo>
                    <a:cubicBezTo>
                      <a:pt x="28" y="103"/>
                      <a:pt x="29" y="51"/>
                      <a:pt x="95" y="29"/>
                    </a:cubicBezTo>
                    <a:cubicBezTo>
                      <a:pt x="102" y="26"/>
                      <a:pt x="106" y="19"/>
                      <a:pt x="103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F6FDB764-B062-4D32-9964-09E7E3500B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27188" y="2643188"/>
                <a:ext cx="446088" cy="252413"/>
              </a:xfrm>
              <a:custGeom>
                <a:avLst/>
                <a:gdLst>
                  <a:gd name="T0" fmla="*/ 154 w 159"/>
                  <a:gd name="T1" fmla="*/ 45 h 90"/>
                  <a:gd name="T2" fmla="*/ 135 w 159"/>
                  <a:gd name="T3" fmla="*/ 43 h 90"/>
                  <a:gd name="T4" fmla="*/ 75 w 159"/>
                  <a:gd name="T5" fmla="*/ 61 h 90"/>
                  <a:gd name="T6" fmla="*/ 28 w 159"/>
                  <a:gd name="T7" fmla="*/ 11 h 90"/>
                  <a:gd name="T8" fmla="*/ 11 w 159"/>
                  <a:gd name="T9" fmla="*/ 3 h 90"/>
                  <a:gd name="T10" fmla="*/ 3 w 159"/>
                  <a:gd name="T11" fmla="*/ 20 h 90"/>
                  <a:gd name="T12" fmla="*/ 67 w 159"/>
                  <a:gd name="T13" fmla="*/ 87 h 90"/>
                  <a:gd name="T14" fmla="*/ 88 w 159"/>
                  <a:gd name="T15" fmla="*/ 90 h 90"/>
                  <a:gd name="T16" fmla="*/ 152 w 159"/>
                  <a:gd name="T17" fmla="*/ 65 h 90"/>
                  <a:gd name="T18" fmla="*/ 154 w 159"/>
                  <a:gd name="T19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90">
                    <a:moveTo>
                      <a:pt x="154" y="45"/>
                    </a:moveTo>
                    <a:cubicBezTo>
                      <a:pt x="150" y="39"/>
                      <a:pt x="141" y="38"/>
                      <a:pt x="135" y="43"/>
                    </a:cubicBezTo>
                    <a:cubicBezTo>
                      <a:pt x="113" y="60"/>
                      <a:pt x="93" y="66"/>
                      <a:pt x="75" y="61"/>
                    </a:cubicBezTo>
                    <a:cubicBezTo>
                      <a:pt x="44" y="52"/>
                      <a:pt x="29" y="11"/>
                      <a:pt x="28" y="11"/>
                    </a:cubicBezTo>
                    <a:cubicBezTo>
                      <a:pt x="26" y="4"/>
                      <a:pt x="18" y="0"/>
                      <a:pt x="11" y="3"/>
                    </a:cubicBezTo>
                    <a:cubicBezTo>
                      <a:pt x="4" y="5"/>
                      <a:pt x="0" y="13"/>
                      <a:pt x="3" y="20"/>
                    </a:cubicBezTo>
                    <a:cubicBezTo>
                      <a:pt x="4" y="22"/>
                      <a:pt x="23" y="74"/>
                      <a:pt x="67" y="87"/>
                    </a:cubicBezTo>
                    <a:cubicBezTo>
                      <a:pt x="74" y="89"/>
                      <a:pt x="81" y="90"/>
                      <a:pt x="88" y="90"/>
                    </a:cubicBezTo>
                    <a:cubicBezTo>
                      <a:pt x="108" y="90"/>
                      <a:pt x="129" y="81"/>
                      <a:pt x="152" y="65"/>
                    </a:cubicBezTo>
                    <a:cubicBezTo>
                      <a:pt x="158" y="60"/>
                      <a:pt x="159" y="51"/>
                      <a:pt x="154" y="4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8">
                <a:extLst>
                  <a:ext uri="{FF2B5EF4-FFF2-40B4-BE49-F238E27FC236}">
                    <a16:creationId xmlns:a16="http://schemas.microsoft.com/office/drawing/2014/main" id="{03A31064-8F1B-4EB9-978F-42CF1212D5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09763" y="2786063"/>
                <a:ext cx="223838" cy="366713"/>
              </a:xfrm>
              <a:custGeom>
                <a:avLst/>
                <a:gdLst>
                  <a:gd name="T0" fmla="*/ 24 w 80"/>
                  <a:gd name="T1" fmla="*/ 6 h 131"/>
                  <a:gd name="T2" fmla="*/ 5 w 80"/>
                  <a:gd name="T3" fmla="*/ 6 h 131"/>
                  <a:gd name="T4" fmla="*/ 5 w 80"/>
                  <a:gd name="T5" fmla="*/ 25 h 131"/>
                  <a:gd name="T6" fmla="*/ 40 w 80"/>
                  <a:gd name="T7" fmla="*/ 114 h 131"/>
                  <a:gd name="T8" fmla="*/ 50 w 80"/>
                  <a:gd name="T9" fmla="*/ 131 h 131"/>
                  <a:gd name="T10" fmla="*/ 53 w 80"/>
                  <a:gd name="T11" fmla="*/ 131 h 131"/>
                  <a:gd name="T12" fmla="*/ 66 w 80"/>
                  <a:gd name="T13" fmla="*/ 121 h 131"/>
                  <a:gd name="T14" fmla="*/ 24 w 80"/>
                  <a:gd name="T15" fmla="*/ 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131">
                    <a:moveTo>
                      <a:pt x="24" y="6"/>
                    </a:moveTo>
                    <a:cubicBezTo>
                      <a:pt x="19" y="0"/>
                      <a:pt x="10" y="0"/>
                      <a:pt x="5" y="6"/>
                    </a:cubicBezTo>
                    <a:cubicBezTo>
                      <a:pt x="0" y="11"/>
                      <a:pt x="0" y="20"/>
                      <a:pt x="5" y="25"/>
                    </a:cubicBezTo>
                    <a:cubicBezTo>
                      <a:pt x="49" y="69"/>
                      <a:pt x="40" y="112"/>
                      <a:pt x="40" y="114"/>
                    </a:cubicBezTo>
                    <a:cubicBezTo>
                      <a:pt x="38" y="122"/>
                      <a:pt x="42" y="129"/>
                      <a:pt x="50" y="131"/>
                    </a:cubicBezTo>
                    <a:cubicBezTo>
                      <a:pt x="51" y="131"/>
                      <a:pt x="52" y="131"/>
                      <a:pt x="53" y="131"/>
                    </a:cubicBezTo>
                    <a:cubicBezTo>
                      <a:pt x="59" y="131"/>
                      <a:pt x="65" y="127"/>
                      <a:pt x="66" y="121"/>
                    </a:cubicBezTo>
                    <a:cubicBezTo>
                      <a:pt x="67" y="118"/>
                      <a:pt x="80" y="62"/>
                      <a:pt x="24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9">
                <a:extLst>
                  <a:ext uri="{FF2B5EF4-FFF2-40B4-BE49-F238E27FC236}">
                    <a16:creationId xmlns:a16="http://schemas.microsoft.com/office/drawing/2014/main" id="{8702267F-BF79-48E4-BB0B-0CF06DBD93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25626" y="2071688"/>
                <a:ext cx="585788" cy="442913"/>
              </a:xfrm>
              <a:custGeom>
                <a:avLst/>
                <a:gdLst>
                  <a:gd name="T0" fmla="*/ 206 w 209"/>
                  <a:gd name="T1" fmla="*/ 133 h 158"/>
                  <a:gd name="T2" fmla="*/ 189 w 209"/>
                  <a:gd name="T3" fmla="*/ 125 h 158"/>
                  <a:gd name="T4" fmla="*/ 86 w 209"/>
                  <a:gd name="T5" fmla="*/ 102 h 158"/>
                  <a:gd name="T6" fmla="*/ 54 w 209"/>
                  <a:gd name="T7" fmla="*/ 42 h 158"/>
                  <a:gd name="T8" fmla="*/ 16 w 209"/>
                  <a:gd name="T9" fmla="*/ 0 h 158"/>
                  <a:gd name="T10" fmla="*/ 1 w 209"/>
                  <a:gd name="T11" fmla="*/ 13 h 158"/>
                  <a:gd name="T12" fmla="*/ 13 w 209"/>
                  <a:gd name="T13" fmla="*/ 28 h 158"/>
                  <a:gd name="T14" fmla="*/ 29 w 209"/>
                  <a:gd name="T15" fmla="*/ 51 h 158"/>
                  <a:gd name="T16" fmla="*/ 64 w 209"/>
                  <a:gd name="T17" fmla="*/ 119 h 158"/>
                  <a:gd name="T18" fmla="*/ 149 w 209"/>
                  <a:gd name="T19" fmla="*/ 158 h 158"/>
                  <a:gd name="T20" fmla="*/ 198 w 209"/>
                  <a:gd name="T21" fmla="*/ 150 h 158"/>
                  <a:gd name="T22" fmla="*/ 206 w 209"/>
                  <a:gd name="T23" fmla="*/ 133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9" h="158">
                    <a:moveTo>
                      <a:pt x="206" y="133"/>
                    </a:moveTo>
                    <a:cubicBezTo>
                      <a:pt x="204" y="126"/>
                      <a:pt x="196" y="122"/>
                      <a:pt x="189" y="125"/>
                    </a:cubicBezTo>
                    <a:cubicBezTo>
                      <a:pt x="186" y="126"/>
                      <a:pt x="121" y="148"/>
                      <a:pt x="86" y="102"/>
                    </a:cubicBezTo>
                    <a:cubicBezTo>
                      <a:pt x="68" y="79"/>
                      <a:pt x="60" y="58"/>
                      <a:pt x="54" y="42"/>
                    </a:cubicBezTo>
                    <a:cubicBezTo>
                      <a:pt x="47" y="21"/>
                      <a:pt x="39" y="2"/>
                      <a:pt x="16" y="0"/>
                    </a:cubicBezTo>
                    <a:cubicBezTo>
                      <a:pt x="8" y="0"/>
                      <a:pt x="2" y="5"/>
                      <a:pt x="1" y="13"/>
                    </a:cubicBezTo>
                    <a:cubicBezTo>
                      <a:pt x="0" y="20"/>
                      <a:pt x="6" y="27"/>
                      <a:pt x="13" y="28"/>
                    </a:cubicBezTo>
                    <a:cubicBezTo>
                      <a:pt x="19" y="28"/>
                      <a:pt x="21" y="31"/>
                      <a:pt x="29" y="51"/>
                    </a:cubicBezTo>
                    <a:cubicBezTo>
                      <a:pt x="35" y="68"/>
                      <a:pt x="44" y="92"/>
                      <a:pt x="64" y="119"/>
                    </a:cubicBezTo>
                    <a:cubicBezTo>
                      <a:pt x="88" y="150"/>
                      <a:pt x="121" y="158"/>
                      <a:pt x="149" y="158"/>
                    </a:cubicBezTo>
                    <a:cubicBezTo>
                      <a:pt x="175" y="158"/>
                      <a:pt x="196" y="151"/>
                      <a:pt x="198" y="150"/>
                    </a:cubicBezTo>
                    <a:cubicBezTo>
                      <a:pt x="205" y="148"/>
                      <a:pt x="209" y="140"/>
                      <a:pt x="206" y="13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74410FC9-7EAB-4A44-BB5C-8734591962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051051" y="1539875"/>
                <a:ext cx="76200" cy="1971675"/>
              </a:xfrm>
              <a:custGeom>
                <a:avLst/>
                <a:gdLst>
                  <a:gd name="T0" fmla="*/ 14 w 27"/>
                  <a:gd name="T1" fmla="*/ 0 h 704"/>
                  <a:gd name="T2" fmla="*/ 0 w 27"/>
                  <a:gd name="T3" fmla="*/ 14 h 704"/>
                  <a:gd name="T4" fmla="*/ 0 w 27"/>
                  <a:gd name="T5" fmla="*/ 690 h 704"/>
                  <a:gd name="T6" fmla="*/ 14 w 27"/>
                  <a:gd name="T7" fmla="*/ 704 h 704"/>
                  <a:gd name="T8" fmla="*/ 27 w 27"/>
                  <a:gd name="T9" fmla="*/ 690 h 704"/>
                  <a:gd name="T10" fmla="*/ 27 w 27"/>
                  <a:gd name="T11" fmla="*/ 14 h 704"/>
                  <a:gd name="T12" fmla="*/ 14 w 27"/>
                  <a:gd name="T13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704">
                    <a:moveTo>
                      <a:pt x="14" y="0"/>
                    </a:moveTo>
                    <a:cubicBezTo>
                      <a:pt x="6" y="0"/>
                      <a:pt x="0" y="6"/>
                      <a:pt x="0" y="14"/>
                    </a:cubicBezTo>
                    <a:cubicBezTo>
                      <a:pt x="0" y="690"/>
                      <a:pt x="0" y="690"/>
                      <a:pt x="0" y="690"/>
                    </a:cubicBezTo>
                    <a:cubicBezTo>
                      <a:pt x="0" y="698"/>
                      <a:pt x="6" y="704"/>
                      <a:pt x="14" y="704"/>
                    </a:cubicBezTo>
                    <a:cubicBezTo>
                      <a:pt x="21" y="704"/>
                      <a:pt x="27" y="698"/>
                      <a:pt x="27" y="69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6"/>
                      <a:pt x="21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11">
                <a:extLst>
                  <a:ext uri="{FF2B5EF4-FFF2-40B4-BE49-F238E27FC236}">
                    <a16:creationId xmlns:a16="http://schemas.microsoft.com/office/drawing/2014/main" id="{7C958D63-E697-4423-BD92-B35082A278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38338" y="1830388"/>
                <a:ext cx="207963" cy="493713"/>
              </a:xfrm>
              <a:custGeom>
                <a:avLst/>
                <a:gdLst>
                  <a:gd name="T0" fmla="*/ 73 w 74"/>
                  <a:gd name="T1" fmla="*/ 14 h 176"/>
                  <a:gd name="T2" fmla="*/ 60 w 74"/>
                  <a:gd name="T3" fmla="*/ 0 h 176"/>
                  <a:gd name="T4" fmla="*/ 46 w 74"/>
                  <a:gd name="T5" fmla="*/ 14 h 176"/>
                  <a:gd name="T6" fmla="*/ 4 w 74"/>
                  <a:gd name="T7" fmla="*/ 154 h 176"/>
                  <a:gd name="T8" fmla="*/ 7 w 74"/>
                  <a:gd name="T9" fmla="*/ 173 h 176"/>
                  <a:gd name="T10" fmla="*/ 15 w 74"/>
                  <a:gd name="T11" fmla="*/ 176 h 176"/>
                  <a:gd name="T12" fmla="*/ 26 w 74"/>
                  <a:gd name="T13" fmla="*/ 171 h 176"/>
                  <a:gd name="T14" fmla="*/ 73 w 74"/>
                  <a:gd name="T15" fmla="*/ 1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176">
                    <a:moveTo>
                      <a:pt x="73" y="14"/>
                    </a:moveTo>
                    <a:cubicBezTo>
                      <a:pt x="73" y="6"/>
                      <a:pt x="67" y="0"/>
                      <a:pt x="60" y="0"/>
                    </a:cubicBezTo>
                    <a:cubicBezTo>
                      <a:pt x="52" y="1"/>
                      <a:pt x="46" y="7"/>
                      <a:pt x="46" y="14"/>
                    </a:cubicBezTo>
                    <a:cubicBezTo>
                      <a:pt x="46" y="15"/>
                      <a:pt x="47" y="100"/>
                      <a:pt x="4" y="154"/>
                    </a:cubicBezTo>
                    <a:cubicBezTo>
                      <a:pt x="0" y="160"/>
                      <a:pt x="1" y="169"/>
                      <a:pt x="7" y="173"/>
                    </a:cubicBezTo>
                    <a:cubicBezTo>
                      <a:pt x="9" y="175"/>
                      <a:pt x="12" y="176"/>
                      <a:pt x="15" y="176"/>
                    </a:cubicBezTo>
                    <a:cubicBezTo>
                      <a:pt x="19" y="176"/>
                      <a:pt x="23" y="175"/>
                      <a:pt x="26" y="171"/>
                    </a:cubicBezTo>
                    <a:cubicBezTo>
                      <a:pt x="74" y="110"/>
                      <a:pt x="73" y="18"/>
                      <a:pt x="73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0F998FF3-2308-4B89-9325-B79C83DAE6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12938" y="3041650"/>
                <a:ext cx="296863" cy="290513"/>
              </a:xfrm>
              <a:custGeom>
                <a:avLst/>
                <a:gdLst>
                  <a:gd name="T0" fmla="*/ 92 w 106"/>
                  <a:gd name="T1" fmla="*/ 0 h 104"/>
                  <a:gd name="T2" fmla="*/ 3 w 106"/>
                  <a:gd name="T3" fmla="*/ 86 h 104"/>
                  <a:gd name="T4" fmla="*/ 11 w 106"/>
                  <a:gd name="T5" fmla="*/ 103 h 104"/>
                  <a:gd name="T6" fmla="*/ 16 w 106"/>
                  <a:gd name="T7" fmla="*/ 104 h 104"/>
                  <a:gd name="T8" fmla="*/ 29 w 106"/>
                  <a:gd name="T9" fmla="*/ 95 h 104"/>
                  <a:gd name="T10" fmla="*/ 92 w 106"/>
                  <a:gd name="T11" fmla="*/ 27 h 104"/>
                  <a:gd name="T12" fmla="*/ 106 w 106"/>
                  <a:gd name="T13" fmla="*/ 14 h 104"/>
                  <a:gd name="T14" fmla="*/ 92 w 106"/>
                  <a:gd name="T15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104">
                    <a:moveTo>
                      <a:pt x="92" y="0"/>
                    </a:moveTo>
                    <a:cubicBezTo>
                      <a:pt x="32" y="0"/>
                      <a:pt x="4" y="82"/>
                      <a:pt x="3" y="86"/>
                    </a:cubicBezTo>
                    <a:cubicBezTo>
                      <a:pt x="0" y="93"/>
                      <a:pt x="4" y="101"/>
                      <a:pt x="11" y="103"/>
                    </a:cubicBezTo>
                    <a:cubicBezTo>
                      <a:pt x="13" y="104"/>
                      <a:pt x="14" y="104"/>
                      <a:pt x="16" y="104"/>
                    </a:cubicBezTo>
                    <a:cubicBezTo>
                      <a:pt x="21" y="104"/>
                      <a:pt x="27" y="100"/>
                      <a:pt x="29" y="95"/>
                    </a:cubicBezTo>
                    <a:cubicBezTo>
                      <a:pt x="35" y="76"/>
                      <a:pt x="59" y="27"/>
                      <a:pt x="92" y="27"/>
                    </a:cubicBezTo>
                    <a:cubicBezTo>
                      <a:pt x="100" y="27"/>
                      <a:pt x="106" y="21"/>
                      <a:pt x="106" y="14"/>
                    </a:cubicBezTo>
                    <a:cubicBezTo>
                      <a:pt x="106" y="6"/>
                      <a:pt x="100" y="0"/>
                      <a:pt x="9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13">
                <a:extLst>
                  <a:ext uri="{FF2B5EF4-FFF2-40B4-BE49-F238E27FC236}">
                    <a16:creationId xmlns:a16="http://schemas.microsoft.com/office/drawing/2014/main" id="{68A83E90-68BA-44EE-B911-49056234A7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770063" y="1554163"/>
                <a:ext cx="179388" cy="206375"/>
              </a:xfrm>
              <a:custGeom>
                <a:avLst/>
                <a:gdLst>
                  <a:gd name="T0" fmla="*/ 57 w 64"/>
                  <a:gd name="T1" fmla="*/ 5 h 74"/>
                  <a:gd name="T2" fmla="*/ 37 w 64"/>
                  <a:gd name="T3" fmla="*/ 8 h 74"/>
                  <a:gd name="T4" fmla="*/ 5 w 64"/>
                  <a:gd name="T5" fmla="*/ 52 h 74"/>
                  <a:gd name="T6" fmla="*/ 7 w 64"/>
                  <a:gd name="T7" fmla="*/ 71 h 74"/>
                  <a:gd name="T8" fmla="*/ 16 w 64"/>
                  <a:gd name="T9" fmla="*/ 74 h 74"/>
                  <a:gd name="T10" fmla="*/ 27 w 64"/>
                  <a:gd name="T11" fmla="*/ 68 h 74"/>
                  <a:gd name="T12" fmla="*/ 59 w 64"/>
                  <a:gd name="T13" fmla="*/ 24 h 74"/>
                  <a:gd name="T14" fmla="*/ 57 w 64"/>
                  <a:gd name="T15" fmla="*/ 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74">
                    <a:moveTo>
                      <a:pt x="57" y="5"/>
                    </a:moveTo>
                    <a:cubicBezTo>
                      <a:pt x="50" y="0"/>
                      <a:pt x="42" y="2"/>
                      <a:pt x="37" y="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0" y="58"/>
                      <a:pt x="1" y="66"/>
                      <a:pt x="7" y="71"/>
                    </a:cubicBezTo>
                    <a:cubicBezTo>
                      <a:pt x="10" y="73"/>
                      <a:pt x="13" y="74"/>
                      <a:pt x="16" y="74"/>
                    </a:cubicBezTo>
                    <a:cubicBezTo>
                      <a:pt x="20" y="74"/>
                      <a:pt x="24" y="72"/>
                      <a:pt x="27" y="68"/>
                    </a:cubicBezTo>
                    <a:cubicBezTo>
                      <a:pt x="59" y="24"/>
                      <a:pt x="59" y="24"/>
                      <a:pt x="59" y="24"/>
                    </a:cubicBezTo>
                    <a:cubicBezTo>
                      <a:pt x="64" y="18"/>
                      <a:pt x="63" y="9"/>
                      <a:pt x="57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14">
                <a:extLst>
                  <a:ext uri="{FF2B5EF4-FFF2-40B4-BE49-F238E27FC236}">
                    <a16:creationId xmlns:a16="http://schemas.microsoft.com/office/drawing/2014/main" id="{56F14BC2-048E-4BB6-933A-9F2C69F2883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549526" y="1814513"/>
                <a:ext cx="307975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5 h 109"/>
                  <a:gd name="T4" fmla="*/ 55 w 110"/>
                  <a:gd name="T5" fmla="*/ 109 h 109"/>
                  <a:gd name="T6" fmla="*/ 110 w 110"/>
                  <a:gd name="T7" fmla="*/ 55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5 h 109"/>
                  <a:gd name="T14" fmla="*/ 55 w 110"/>
                  <a:gd name="T15" fmla="*/ 28 h 109"/>
                  <a:gd name="T16" fmla="*/ 82 w 110"/>
                  <a:gd name="T17" fmla="*/ 55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5"/>
                      <a:pt x="0" y="55"/>
                    </a:cubicBezTo>
                    <a:cubicBezTo>
                      <a:pt x="0" y="85"/>
                      <a:pt x="25" y="109"/>
                      <a:pt x="55" y="109"/>
                    </a:cubicBezTo>
                    <a:cubicBezTo>
                      <a:pt x="85" y="109"/>
                      <a:pt x="110" y="85"/>
                      <a:pt x="110" y="55"/>
                    </a:cubicBezTo>
                    <a:cubicBezTo>
                      <a:pt x="110" y="25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70"/>
                      <a:pt x="28" y="55"/>
                    </a:cubicBezTo>
                    <a:cubicBezTo>
                      <a:pt x="28" y="40"/>
                      <a:pt x="40" y="28"/>
                      <a:pt x="55" y="28"/>
                    </a:cubicBezTo>
                    <a:cubicBezTo>
                      <a:pt x="70" y="28"/>
                      <a:pt x="82" y="40"/>
                      <a:pt x="82" y="55"/>
                    </a:cubicBezTo>
                    <a:cubicBezTo>
                      <a:pt x="82" y="70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15">
                <a:extLst>
                  <a:ext uri="{FF2B5EF4-FFF2-40B4-BE49-F238E27FC236}">
                    <a16:creationId xmlns:a16="http://schemas.microsoft.com/office/drawing/2014/main" id="{D427E6AC-7A3F-42F7-A53E-E43CB754B1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816226" y="2312988"/>
                <a:ext cx="306388" cy="304800"/>
              </a:xfrm>
              <a:custGeom>
                <a:avLst/>
                <a:gdLst>
                  <a:gd name="T0" fmla="*/ 54 w 109"/>
                  <a:gd name="T1" fmla="*/ 0 h 109"/>
                  <a:gd name="T2" fmla="*/ 0 w 109"/>
                  <a:gd name="T3" fmla="*/ 54 h 109"/>
                  <a:gd name="T4" fmla="*/ 54 w 109"/>
                  <a:gd name="T5" fmla="*/ 109 h 109"/>
                  <a:gd name="T6" fmla="*/ 109 w 109"/>
                  <a:gd name="T7" fmla="*/ 54 h 109"/>
                  <a:gd name="T8" fmla="*/ 54 w 109"/>
                  <a:gd name="T9" fmla="*/ 0 h 109"/>
                  <a:gd name="T10" fmla="*/ 54 w 109"/>
                  <a:gd name="T11" fmla="*/ 82 h 109"/>
                  <a:gd name="T12" fmla="*/ 27 w 109"/>
                  <a:gd name="T13" fmla="*/ 54 h 109"/>
                  <a:gd name="T14" fmla="*/ 54 w 109"/>
                  <a:gd name="T15" fmla="*/ 27 h 109"/>
                  <a:gd name="T16" fmla="*/ 82 w 109"/>
                  <a:gd name="T17" fmla="*/ 54 h 109"/>
                  <a:gd name="T18" fmla="*/ 54 w 109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09">
                    <a:moveTo>
                      <a:pt x="54" y="0"/>
                    </a:moveTo>
                    <a:cubicBezTo>
                      <a:pt x="24" y="0"/>
                      <a:pt x="0" y="24"/>
                      <a:pt x="0" y="54"/>
                    </a:cubicBezTo>
                    <a:cubicBezTo>
                      <a:pt x="0" y="84"/>
                      <a:pt x="24" y="109"/>
                      <a:pt x="54" y="109"/>
                    </a:cubicBezTo>
                    <a:cubicBezTo>
                      <a:pt x="85" y="109"/>
                      <a:pt x="109" y="84"/>
                      <a:pt x="109" y="54"/>
                    </a:cubicBezTo>
                    <a:cubicBezTo>
                      <a:pt x="109" y="24"/>
                      <a:pt x="85" y="0"/>
                      <a:pt x="54" y="0"/>
                    </a:cubicBezTo>
                    <a:close/>
                    <a:moveTo>
                      <a:pt x="54" y="82"/>
                    </a:moveTo>
                    <a:cubicBezTo>
                      <a:pt x="39" y="82"/>
                      <a:pt x="27" y="69"/>
                      <a:pt x="27" y="54"/>
                    </a:cubicBezTo>
                    <a:cubicBezTo>
                      <a:pt x="27" y="39"/>
                      <a:pt x="39" y="27"/>
                      <a:pt x="54" y="27"/>
                    </a:cubicBezTo>
                    <a:cubicBezTo>
                      <a:pt x="69" y="27"/>
                      <a:pt x="82" y="39"/>
                      <a:pt x="82" y="54"/>
                    </a:cubicBezTo>
                    <a:cubicBezTo>
                      <a:pt x="82" y="69"/>
                      <a:pt x="69" y="82"/>
                      <a:pt x="54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16">
                <a:extLst>
                  <a:ext uri="{FF2B5EF4-FFF2-40B4-BE49-F238E27FC236}">
                    <a16:creationId xmlns:a16="http://schemas.microsoft.com/office/drawing/2014/main" id="{29575A3E-5B51-4270-B1BA-3CD4A09767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435226" y="2657475"/>
                <a:ext cx="309563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4 h 109"/>
                  <a:gd name="T4" fmla="*/ 55 w 110"/>
                  <a:gd name="T5" fmla="*/ 109 h 109"/>
                  <a:gd name="T6" fmla="*/ 110 w 110"/>
                  <a:gd name="T7" fmla="*/ 54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4 h 109"/>
                  <a:gd name="T14" fmla="*/ 55 w 110"/>
                  <a:gd name="T15" fmla="*/ 27 h 109"/>
                  <a:gd name="T16" fmla="*/ 82 w 110"/>
                  <a:gd name="T17" fmla="*/ 54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4"/>
                      <a:pt x="0" y="54"/>
                    </a:cubicBezTo>
                    <a:cubicBezTo>
                      <a:pt x="0" y="84"/>
                      <a:pt x="25" y="109"/>
                      <a:pt x="55" y="109"/>
                    </a:cubicBezTo>
                    <a:cubicBezTo>
                      <a:pt x="85" y="109"/>
                      <a:pt x="110" y="84"/>
                      <a:pt x="110" y="54"/>
                    </a:cubicBezTo>
                    <a:cubicBezTo>
                      <a:pt x="110" y="24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69"/>
                      <a:pt x="28" y="54"/>
                    </a:cubicBezTo>
                    <a:cubicBezTo>
                      <a:pt x="28" y="39"/>
                      <a:pt x="40" y="27"/>
                      <a:pt x="55" y="27"/>
                    </a:cubicBezTo>
                    <a:cubicBezTo>
                      <a:pt x="70" y="27"/>
                      <a:pt x="82" y="39"/>
                      <a:pt x="82" y="54"/>
                    </a:cubicBezTo>
                    <a:cubicBezTo>
                      <a:pt x="82" y="69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17">
                <a:extLst>
                  <a:ext uri="{FF2B5EF4-FFF2-40B4-BE49-F238E27FC236}">
                    <a16:creationId xmlns:a16="http://schemas.microsoft.com/office/drawing/2014/main" id="{D1C6C1F1-7E0F-4ABF-B81F-3544B45C80F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435226" y="3078163"/>
                <a:ext cx="309563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4 h 109"/>
                  <a:gd name="T4" fmla="*/ 55 w 110"/>
                  <a:gd name="T5" fmla="*/ 109 h 109"/>
                  <a:gd name="T6" fmla="*/ 110 w 110"/>
                  <a:gd name="T7" fmla="*/ 54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4 h 109"/>
                  <a:gd name="T14" fmla="*/ 55 w 110"/>
                  <a:gd name="T15" fmla="*/ 27 h 109"/>
                  <a:gd name="T16" fmla="*/ 82 w 110"/>
                  <a:gd name="T17" fmla="*/ 54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4"/>
                      <a:pt x="0" y="54"/>
                    </a:cubicBezTo>
                    <a:cubicBezTo>
                      <a:pt x="0" y="85"/>
                      <a:pt x="25" y="109"/>
                      <a:pt x="55" y="109"/>
                    </a:cubicBezTo>
                    <a:cubicBezTo>
                      <a:pt x="85" y="109"/>
                      <a:pt x="110" y="85"/>
                      <a:pt x="110" y="54"/>
                    </a:cubicBezTo>
                    <a:cubicBezTo>
                      <a:pt x="110" y="24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69"/>
                      <a:pt x="28" y="54"/>
                    </a:cubicBezTo>
                    <a:cubicBezTo>
                      <a:pt x="28" y="39"/>
                      <a:pt x="40" y="27"/>
                      <a:pt x="55" y="27"/>
                    </a:cubicBezTo>
                    <a:cubicBezTo>
                      <a:pt x="70" y="27"/>
                      <a:pt x="82" y="39"/>
                      <a:pt x="82" y="54"/>
                    </a:cubicBezTo>
                    <a:cubicBezTo>
                      <a:pt x="82" y="69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8">
                <a:extLst>
                  <a:ext uri="{FF2B5EF4-FFF2-40B4-BE49-F238E27FC236}">
                    <a16:creationId xmlns:a16="http://schemas.microsoft.com/office/drawing/2014/main" id="{DDA64BC6-A0DE-4DDA-AFE4-92A637E314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435226" y="2044700"/>
                <a:ext cx="79375" cy="458788"/>
              </a:xfrm>
              <a:custGeom>
                <a:avLst/>
                <a:gdLst>
                  <a:gd name="T0" fmla="*/ 14 w 28"/>
                  <a:gd name="T1" fmla="*/ 0 h 164"/>
                  <a:gd name="T2" fmla="*/ 0 w 28"/>
                  <a:gd name="T3" fmla="*/ 14 h 164"/>
                  <a:gd name="T4" fmla="*/ 0 w 28"/>
                  <a:gd name="T5" fmla="*/ 150 h 164"/>
                  <a:gd name="T6" fmla="*/ 14 w 28"/>
                  <a:gd name="T7" fmla="*/ 164 h 164"/>
                  <a:gd name="T8" fmla="*/ 28 w 28"/>
                  <a:gd name="T9" fmla="*/ 150 h 164"/>
                  <a:gd name="T10" fmla="*/ 28 w 28"/>
                  <a:gd name="T11" fmla="*/ 14 h 164"/>
                  <a:gd name="T12" fmla="*/ 14 w 28"/>
                  <a:gd name="T13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64">
                    <a:moveTo>
                      <a:pt x="14" y="0"/>
                    </a:moveTo>
                    <a:cubicBezTo>
                      <a:pt x="6" y="0"/>
                      <a:pt x="0" y="6"/>
                      <a:pt x="0" y="14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8"/>
                      <a:pt x="6" y="164"/>
                      <a:pt x="14" y="164"/>
                    </a:cubicBezTo>
                    <a:cubicBezTo>
                      <a:pt x="22" y="164"/>
                      <a:pt x="28" y="158"/>
                      <a:pt x="28" y="150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9">
                <a:extLst>
                  <a:ext uri="{FF2B5EF4-FFF2-40B4-BE49-F238E27FC236}">
                    <a16:creationId xmlns:a16="http://schemas.microsoft.com/office/drawing/2014/main" id="{164BFB13-EB11-42C0-94D4-DA93ED41D2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586038" y="2427288"/>
                <a:ext cx="344488" cy="76200"/>
              </a:xfrm>
              <a:custGeom>
                <a:avLst/>
                <a:gdLst>
                  <a:gd name="T0" fmla="*/ 109 w 123"/>
                  <a:gd name="T1" fmla="*/ 0 h 27"/>
                  <a:gd name="T2" fmla="*/ 13 w 123"/>
                  <a:gd name="T3" fmla="*/ 0 h 27"/>
                  <a:gd name="T4" fmla="*/ 0 w 123"/>
                  <a:gd name="T5" fmla="*/ 13 h 27"/>
                  <a:gd name="T6" fmla="*/ 13 w 123"/>
                  <a:gd name="T7" fmla="*/ 27 h 27"/>
                  <a:gd name="T8" fmla="*/ 109 w 123"/>
                  <a:gd name="T9" fmla="*/ 27 h 27"/>
                  <a:gd name="T10" fmla="*/ 123 w 123"/>
                  <a:gd name="T11" fmla="*/ 13 h 27"/>
                  <a:gd name="T12" fmla="*/ 109 w 123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27">
                    <a:moveTo>
                      <a:pt x="109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1"/>
                      <a:pt x="6" y="27"/>
                      <a:pt x="13" y="27"/>
                    </a:cubicBezTo>
                    <a:cubicBezTo>
                      <a:pt x="109" y="27"/>
                      <a:pt x="109" y="27"/>
                      <a:pt x="109" y="27"/>
                    </a:cubicBezTo>
                    <a:cubicBezTo>
                      <a:pt x="117" y="27"/>
                      <a:pt x="123" y="21"/>
                      <a:pt x="123" y="13"/>
                    </a:cubicBezTo>
                    <a:cubicBezTo>
                      <a:pt x="123" y="6"/>
                      <a:pt x="117" y="0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20">
                <a:extLst>
                  <a:ext uri="{FF2B5EF4-FFF2-40B4-BE49-F238E27FC236}">
                    <a16:creationId xmlns:a16="http://schemas.microsoft.com/office/drawing/2014/main" id="{E55DC8C8-34D3-4249-85D7-301944745C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319338" y="2427288"/>
                <a:ext cx="77788" cy="306388"/>
              </a:xfrm>
              <a:custGeom>
                <a:avLst/>
                <a:gdLst>
                  <a:gd name="T0" fmla="*/ 14 w 28"/>
                  <a:gd name="T1" fmla="*/ 0 h 109"/>
                  <a:gd name="T2" fmla="*/ 0 w 28"/>
                  <a:gd name="T3" fmla="*/ 13 h 109"/>
                  <a:gd name="T4" fmla="*/ 0 w 28"/>
                  <a:gd name="T5" fmla="*/ 95 h 109"/>
                  <a:gd name="T6" fmla="*/ 14 w 28"/>
                  <a:gd name="T7" fmla="*/ 109 h 109"/>
                  <a:gd name="T8" fmla="*/ 28 w 28"/>
                  <a:gd name="T9" fmla="*/ 95 h 109"/>
                  <a:gd name="T10" fmla="*/ 28 w 28"/>
                  <a:gd name="T11" fmla="*/ 13 h 109"/>
                  <a:gd name="T12" fmla="*/ 14 w 28"/>
                  <a:gd name="T1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09">
                    <a:moveTo>
                      <a:pt x="14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103"/>
                      <a:pt x="6" y="109"/>
                      <a:pt x="14" y="109"/>
                    </a:cubicBezTo>
                    <a:cubicBezTo>
                      <a:pt x="22" y="109"/>
                      <a:pt x="28" y="103"/>
                      <a:pt x="28" y="95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21">
                <a:extLst>
                  <a:ext uri="{FF2B5EF4-FFF2-40B4-BE49-F238E27FC236}">
                    <a16:creationId xmlns:a16="http://schemas.microsoft.com/office/drawing/2014/main" id="{77658991-EE2A-4D86-8E3B-4C6CA743EF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319338" y="2887663"/>
                <a:ext cx="77788" cy="265113"/>
              </a:xfrm>
              <a:custGeom>
                <a:avLst/>
                <a:gdLst>
                  <a:gd name="T0" fmla="*/ 14 w 28"/>
                  <a:gd name="T1" fmla="*/ 0 h 95"/>
                  <a:gd name="T2" fmla="*/ 0 w 28"/>
                  <a:gd name="T3" fmla="*/ 13 h 95"/>
                  <a:gd name="T4" fmla="*/ 0 w 28"/>
                  <a:gd name="T5" fmla="*/ 81 h 95"/>
                  <a:gd name="T6" fmla="*/ 14 w 28"/>
                  <a:gd name="T7" fmla="*/ 95 h 95"/>
                  <a:gd name="T8" fmla="*/ 28 w 28"/>
                  <a:gd name="T9" fmla="*/ 81 h 95"/>
                  <a:gd name="T10" fmla="*/ 28 w 28"/>
                  <a:gd name="T11" fmla="*/ 13 h 95"/>
                  <a:gd name="T12" fmla="*/ 14 w 28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95">
                    <a:moveTo>
                      <a:pt x="14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9"/>
                      <a:pt x="6" y="95"/>
                      <a:pt x="14" y="95"/>
                    </a:cubicBezTo>
                    <a:cubicBezTo>
                      <a:pt x="22" y="95"/>
                      <a:pt x="28" y="89"/>
                      <a:pt x="28" y="81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C3C018C-B811-4872-B7A2-5923CF578CA0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1763688" y="3828100"/>
            <a:ext cx="504000" cy="504000"/>
            <a:chOff x="4491833" y="3443280"/>
            <a:chExt cx="504000" cy="504000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3D05EF0A-9309-4486-B37F-20AB4B77CEE8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4491833" y="344328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C64EAF0-3140-4D0E-97CA-7AA96E320C62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 bwMode="gray">
            <a:xfrm>
              <a:off x="4572000" y="3504954"/>
              <a:ext cx="343666" cy="380652"/>
              <a:chOff x="-5402263" y="-3175"/>
              <a:chExt cx="4646613" cy="5146676"/>
            </a:xfrm>
            <a:solidFill>
              <a:schemeClr val="bg1"/>
            </a:solidFill>
          </p:grpSpPr>
          <p:sp>
            <p:nvSpPr>
              <p:cNvPr id="63" name="Freeform 25">
                <a:extLst>
                  <a:ext uri="{FF2B5EF4-FFF2-40B4-BE49-F238E27FC236}">
                    <a16:creationId xmlns:a16="http://schemas.microsoft.com/office/drawing/2014/main" id="{748AAFD3-FAEE-41EF-9012-68FA8F375B2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402263" y="827088"/>
                <a:ext cx="4646613" cy="4316413"/>
              </a:xfrm>
              <a:custGeom>
                <a:avLst/>
                <a:gdLst>
                  <a:gd name="T0" fmla="*/ 1536 w 1792"/>
                  <a:gd name="T1" fmla="*/ 128 h 1664"/>
                  <a:gd name="T2" fmla="*/ 1469 w 1792"/>
                  <a:gd name="T3" fmla="*/ 618 h 1664"/>
                  <a:gd name="T4" fmla="*/ 1372 w 1792"/>
                  <a:gd name="T5" fmla="*/ 544 h 1664"/>
                  <a:gd name="T6" fmla="*/ 907 w 1792"/>
                  <a:gd name="T7" fmla="*/ 997 h 1664"/>
                  <a:gd name="T8" fmla="*/ 885 w 1792"/>
                  <a:gd name="T9" fmla="*/ 997 h 1664"/>
                  <a:gd name="T10" fmla="*/ 420 w 1792"/>
                  <a:gd name="T11" fmla="*/ 544 h 1664"/>
                  <a:gd name="T12" fmla="*/ 323 w 1792"/>
                  <a:gd name="T13" fmla="*/ 618 h 1664"/>
                  <a:gd name="T14" fmla="*/ 256 w 1792"/>
                  <a:gd name="T15" fmla="*/ 128 h 1664"/>
                  <a:gd name="T16" fmla="*/ 0 w 1792"/>
                  <a:gd name="T17" fmla="*/ 128 h 1664"/>
                  <a:gd name="T18" fmla="*/ 4 w 1792"/>
                  <a:gd name="T19" fmla="*/ 687 h 1664"/>
                  <a:gd name="T20" fmla="*/ 201 w 1792"/>
                  <a:gd name="T21" fmla="*/ 1047 h 1664"/>
                  <a:gd name="T22" fmla="*/ 480 w 1792"/>
                  <a:gd name="T23" fmla="*/ 1365 h 1664"/>
                  <a:gd name="T24" fmla="*/ 512 w 1792"/>
                  <a:gd name="T25" fmla="*/ 1664 h 1664"/>
                  <a:gd name="T26" fmla="*/ 1312 w 1792"/>
                  <a:gd name="T27" fmla="*/ 1632 h 1664"/>
                  <a:gd name="T28" fmla="*/ 1340 w 1792"/>
                  <a:gd name="T29" fmla="*/ 1297 h 1664"/>
                  <a:gd name="T30" fmla="*/ 1596 w 1792"/>
                  <a:gd name="T31" fmla="*/ 1039 h 1664"/>
                  <a:gd name="T32" fmla="*/ 1792 w 1792"/>
                  <a:gd name="T33" fmla="*/ 672 h 1664"/>
                  <a:gd name="T34" fmla="*/ 1664 w 1792"/>
                  <a:gd name="T35" fmla="*/ 0 h 1664"/>
                  <a:gd name="T36" fmla="*/ 250 w 1792"/>
                  <a:gd name="T37" fmla="*/ 1005 h 1664"/>
                  <a:gd name="T38" fmla="*/ 64 w 1792"/>
                  <a:gd name="T39" fmla="*/ 128 h 1664"/>
                  <a:gd name="T40" fmla="*/ 192 w 1792"/>
                  <a:gd name="T41" fmla="*/ 128 h 1664"/>
                  <a:gd name="T42" fmla="*/ 199 w 1792"/>
                  <a:gd name="T43" fmla="*/ 564 h 1664"/>
                  <a:gd name="T44" fmla="*/ 601 w 1792"/>
                  <a:gd name="T45" fmla="*/ 972 h 1664"/>
                  <a:gd name="T46" fmla="*/ 384 w 1792"/>
                  <a:gd name="T47" fmla="*/ 640 h 1664"/>
                  <a:gd name="T48" fmla="*/ 420 w 1792"/>
                  <a:gd name="T49" fmla="*/ 608 h 1664"/>
                  <a:gd name="T50" fmla="*/ 838 w 1792"/>
                  <a:gd name="T51" fmla="*/ 1041 h 1664"/>
                  <a:gd name="T52" fmla="*/ 864 w 1792"/>
                  <a:gd name="T53" fmla="*/ 1472 h 1664"/>
                  <a:gd name="T54" fmla="*/ 544 w 1792"/>
                  <a:gd name="T55" fmla="*/ 1365 h 1664"/>
                  <a:gd name="T56" fmla="*/ 544 w 1792"/>
                  <a:gd name="T57" fmla="*/ 1536 h 1664"/>
                  <a:gd name="T58" fmla="*/ 864 w 1792"/>
                  <a:gd name="T59" fmla="*/ 1600 h 1664"/>
                  <a:gd name="T60" fmla="*/ 544 w 1792"/>
                  <a:gd name="T61" fmla="*/ 1536 h 1664"/>
                  <a:gd name="T62" fmla="*/ 928 w 1792"/>
                  <a:gd name="T63" fmla="*/ 1536 h 1664"/>
                  <a:gd name="T64" fmla="*/ 1248 w 1792"/>
                  <a:gd name="T65" fmla="*/ 1600 h 1664"/>
                  <a:gd name="T66" fmla="*/ 1728 w 1792"/>
                  <a:gd name="T67" fmla="*/ 664 h 1664"/>
                  <a:gd name="T68" fmla="*/ 1295 w 1792"/>
                  <a:gd name="T69" fmla="*/ 1252 h 1664"/>
                  <a:gd name="T70" fmla="*/ 1248 w 1792"/>
                  <a:gd name="T71" fmla="*/ 1472 h 1664"/>
                  <a:gd name="T72" fmla="*/ 928 w 1792"/>
                  <a:gd name="T73" fmla="*/ 1106 h 1664"/>
                  <a:gd name="T74" fmla="*/ 1348 w 1792"/>
                  <a:gd name="T75" fmla="*/ 618 h 1664"/>
                  <a:gd name="T76" fmla="*/ 1376 w 1792"/>
                  <a:gd name="T77" fmla="*/ 608 h 1664"/>
                  <a:gd name="T78" fmla="*/ 1408 w 1792"/>
                  <a:gd name="T79" fmla="*/ 696 h 1664"/>
                  <a:gd name="T80" fmla="*/ 1241 w 1792"/>
                  <a:gd name="T81" fmla="*/ 1012 h 1664"/>
                  <a:gd name="T82" fmla="*/ 1600 w 1792"/>
                  <a:gd name="T83" fmla="*/ 544 h 1664"/>
                  <a:gd name="T84" fmla="*/ 1664 w 1792"/>
                  <a:gd name="T85" fmla="*/ 64 h 1664"/>
                  <a:gd name="T86" fmla="*/ 1728 w 1792"/>
                  <a:gd name="T87" fmla="*/ 66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92" h="1664">
                    <a:moveTo>
                      <a:pt x="1664" y="0"/>
                    </a:moveTo>
                    <a:cubicBezTo>
                      <a:pt x="1593" y="0"/>
                      <a:pt x="1536" y="57"/>
                      <a:pt x="1536" y="128"/>
                    </a:cubicBezTo>
                    <a:cubicBezTo>
                      <a:pt x="1536" y="533"/>
                      <a:pt x="1536" y="533"/>
                      <a:pt x="1536" y="533"/>
                    </a:cubicBezTo>
                    <a:cubicBezTo>
                      <a:pt x="1469" y="618"/>
                      <a:pt x="1469" y="618"/>
                      <a:pt x="1469" y="618"/>
                    </a:cubicBezTo>
                    <a:cubicBezTo>
                      <a:pt x="1459" y="575"/>
                      <a:pt x="1421" y="544"/>
                      <a:pt x="1376" y="544"/>
                    </a:cubicBezTo>
                    <a:cubicBezTo>
                      <a:pt x="1372" y="544"/>
                      <a:pt x="1372" y="544"/>
                      <a:pt x="1372" y="544"/>
                    </a:cubicBezTo>
                    <a:cubicBezTo>
                      <a:pt x="1345" y="544"/>
                      <a:pt x="1320" y="555"/>
                      <a:pt x="1302" y="574"/>
                    </a:cubicBezTo>
                    <a:cubicBezTo>
                      <a:pt x="907" y="997"/>
                      <a:pt x="907" y="997"/>
                      <a:pt x="907" y="997"/>
                    </a:cubicBezTo>
                    <a:cubicBezTo>
                      <a:pt x="903" y="1002"/>
                      <a:pt x="900" y="1007"/>
                      <a:pt x="896" y="1012"/>
                    </a:cubicBezTo>
                    <a:cubicBezTo>
                      <a:pt x="892" y="1007"/>
                      <a:pt x="889" y="1002"/>
                      <a:pt x="885" y="997"/>
                    </a:cubicBezTo>
                    <a:cubicBezTo>
                      <a:pt x="490" y="574"/>
                      <a:pt x="490" y="574"/>
                      <a:pt x="490" y="574"/>
                    </a:cubicBezTo>
                    <a:cubicBezTo>
                      <a:pt x="472" y="555"/>
                      <a:pt x="447" y="544"/>
                      <a:pt x="420" y="544"/>
                    </a:cubicBezTo>
                    <a:cubicBezTo>
                      <a:pt x="416" y="544"/>
                      <a:pt x="416" y="544"/>
                      <a:pt x="416" y="544"/>
                    </a:cubicBezTo>
                    <a:cubicBezTo>
                      <a:pt x="371" y="544"/>
                      <a:pt x="333" y="575"/>
                      <a:pt x="323" y="618"/>
                    </a:cubicBezTo>
                    <a:cubicBezTo>
                      <a:pt x="256" y="533"/>
                      <a:pt x="256" y="533"/>
                      <a:pt x="256" y="533"/>
                    </a:cubicBezTo>
                    <a:cubicBezTo>
                      <a:pt x="256" y="128"/>
                      <a:pt x="256" y="128"/>
                      <a:pt x="256" y="128"/>
                    </a:cubicBezTo>
                    <a:cubicBezTo>
                      <a:pt x="256" y="57"/>
                      <a:pt x="199" y="0"/>
                      <a:pt x="128" y="0"/>
                    </a:cubicBezTo>
                    <a:cubicBezTo>
                      <a:pt x="57" y="0"/>
                      <a:pt x="0" y="57"/>
                      <a:pt x="0" y="128"/>
                    </a:cubicBezTo>
                    <a:cubicBezTo>
                      <a:pt x="0" y="672"/>
                      <a:pt x="0" y="672"/>
                      <a:pt x="0" y="672"/>
                    </a:cubicBezTo>
                    <a:cubicBezTo>
                      <a:pt x="0" y="677"/>
                      <a:pt x="1" y="683"/>
                      <a:pt x="4" y="687"/>
                    </a:cubicBezTo>
                    <a:cubicBezTo>
                      <a:pt x="196" y="1039"/>
                      <a:pt x="196" y="1039"/>
                      <a:pt x="196" y="1039"/>
                    </a:cubicBezTo>
                    <a:cubicBezTo>
                      <a:pt x="197" y="1042"/>
                      <a:pt x="199" y="1044"/>
                      <a:pt x="201" y="1047"/>
                    </a:cubicBezTo>
                    <a:cubicBezTo>
                      <a:pt x="452" y="1297"/>
                      <a:pt x="452" y="1297"/>
                      <a:pt x="452" y="1297"/>
                    </a:cubicBezTo>
                    <a:cubicBezTo>
                      <a:pt x="470" y="1315"/>
                      <a:pt x="480" y="1340"/>
                      <a:pt x="480" y="1365"/>
                    </a:cubicBezTo>
                    <a:cubicBezTo>
                      <a:pt x="480" y="1632"/>
                      <a:pt x="480" y="1632"/>
                      <a:pt x="480" y="1632"/>
                    </a:cubicBezTo>
                    <a:cubicBezTo>
                      <a:pt x="480" y="1650"/>
                      <a:pt x="494" y="1664"/>
                      <a:pt x="512" y="1664"/>
                    </a:cubicBezTo>
                    <a:cubicBezTo>
                      <a:pt x="1280" y="1664"/>
                      <a:pt x="1280" y="1664"/>
                      <a:pt x="1280" y="1664"/>
                    </a:cubicBezTo>
                    <a:cubicBezTo>
                      <a:pt x="1298" y="1664"/>
                      <a:pt x="1312" y="1650"/>
                      <a:pt x="1312" y="1632"/>
                    </a:cubicBezTo>
                    <a:cubicBezTo>
                      <a:pt x="1312" y="1365"/>
                      <a:pt x="1312" y="1365"/>
                      <a:pt x="1312" y="1365"/>
                    </a:cubicBezTo>
                    <a:cubicBezTo>
                      <a:pt x="1312" y="1340"/>
                      <a:pt x="1322" y="1315"/>
                      <a:pt x="1340" y="1297"/>
                    </a:cubicBezTo>
                    <a:cubicBezTo>
                      <a:pt x="1591" y="1047"/>
                      <a:pt x="1591" y="1047"/>
                      <a:pt x="1591" y="1047"/>
                    </a:cubicBezTo>
                    <a:cubicBezTo>
                      <a:pt x="1593" y="1044"/>
                      <a:pt x="1595" y="1042"/>
                      <a:pt x="1596" y="1039"/>
                    </a:cubicBezTo>
                    <a:cubicBezTo>
                      <a:pt x="1788" y="687"/>
                      <a:pt x="1788" y="687"/>
                      <a:pt x="1788" y="687"/>
                    </a:cubicBezTo>
                    <a:cubicBezTo>
                      <a:pt x="1791" y="683"/>
                      <a:pt x="1792" y="677"/>
                      <a:pt x="1792" y="672"/>
                    </a:cubicBezTo>
                    <a:cubicBezTo>
                      <a:pt x="1792" y="128"/>
                      <a:pt x="1792" y="128"/>
                      <a:pt x="1792" y="128"/>
                    </a:cubicBezTo>
                    <a:cubicBezTo>
                      <a:pt x="1792" y="57"/>
                      <a:pt x="1735" y="0"/>
                      <a:pt x="1664" y="0"/>
                    </a:cubicBezTo>
                    <a:close/>
                    <a:moveTo>
                      <a:pt x="497" y="1252"/>
                    </a:moveTo>
                    <a:cubicBezTo>
                      <a:pt x="250" y="1005"/>
                      <a:pt x="250" y="1005"/>
                      <a:pt x="250" y="1005"/>
                    </a:cubicBezTo>
                    <a:cubicBezTo>
                      <a:pt x="64" y="664"/>
                      <a:pt x="64" y="664"/>
                      <a:pt x="64" y="664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64" y="93"/>
                      <a:pt x="93" y="64"/>
                      <a:pt x="128" y="64"/>
                    </a:cubicBezTo>
                    <a:cubicBezTo>
                      <a:pt x="163" y="64"/>
                      <a:pt x="192" y="93"/>
                      <a:pt x="192" y="128"/>
                    </a:cubicBezTo>
                    <a:cubicBezTo>
                      <a:pt x="192" y="544"/>
                      <a:pt x="192" y="544"/>
                      <a:pt x="192" y="544"/>
                    </a:cubicBezTo>
                    <a:cubicBezTo>
                      <a:pt x="192" y="551"/>
                      <a:pt x="194" y="558"/>
                      <a:pt x="199" y="564"/>
                    </a:cubicBezTo>
                    <a:cubicBezTo>
                      <a:pt x="551" y="1012"/>
                      <a:pt x="551" y="1012"/>
                      <a:pt x="551" y="1012"/>
                    </a:cubicBezTo>
                    <a:cubicBezTo>
                      <a:pt x="601" y="972"/>
                      <a:pt x="601" y="972"/>
                      <a:pt x="601" y="972"/>
                    </a:cubicBezTo>
                    <a:cubicBezTo>
                      <a:pt x="384" y="696"/>
                      <a:pt x="384" y="696"/>
                      <a:pt x="384" y="696"/>
                    </a:cubicBezTo>
                    <a:cubicBezTo>
                      <a:pt x="384" y="640"/>
                      <a:pt x="384" y="640"/>
                      <a:pt x="384" y="640"/>
                    </a:cubicBezTo>
                    <a:cubicBezTo>
                      <a:pt x="384" y="622"/>
                      <a:pt x="398" y="608"/>
                      <a:pt x="416" y="608"/>
                    </a:cubicBezTo>
                    <a:cubicBezTo>
                      <a:pt x="420" y="608"/>
                      <a:pt x="420" y="608"/>
                      <a:pt x="420" y="608"/>
                    </a:cubicBezTo>
                    <a:cubicBezTo>
                      <a:pt x="429" y="608"/>
                      <a:pt x="438" y="612"/>
                      <a:pt x="444" y="618"/>
                    </a:cubicBezTo>
                    <a:cubicBezTo>
                      <a:pt x="838" y="1041"/>
                      <a:pt x="838" y="1041"/>
                      <a:pt x="838" y="1041"/>
                    </a:cubicBezTo>
                    <a:cubicBezTo>
                      <a:pt x="855" y="1059"/>
                      <a:pt x="864" y="1082"/>
                      <a:pt x="864" y="1106"/>
                    </a:cubicBezTo>
                    <a:cubicBezTo>
                      <a:pt x="864" y="1472"/>
                      <a:pt x="864" y="1472"/>
                      <a:pt x="864" y="1472"/>
                    </a:cubicBezTo>
                    <a:cubicBezTo>
                      <a:pt x="544" y="1472"/>
                      <a:pt x="544" y="1472"/>
                      <a:pt x="544" y="1472"/>
                    </a:cubicBezTo>
                    <a:cubicBezTo>
                      <a:pt x="544" y="1365"/>
                      <a:pt x="544" y="1365"/>
                      <a:pt x="544" y="1365"/>
                    </a:cubicBezTo>
                    <a:cubicBezTo>
                      <a:pt x="544" y="1322"/>
                      <a:pt x="527" y="1282"/>
                      <a:pt x="497" y="1252"/>
                    </a:cubicBezTo>
                    <a:close/>
                    <a:moveTo>
                      <a:pt x="544" y="1536"/>
                    </a:moveTo>
                    <a:cubicBezTo>
                      <a:pt x="864" y="1536"/>
                      <a:pt x="864" y="1536"/>
                      <a:pt x="864" y="1536"/>
                    </a:cubicBezTo>
                    <a:cubicBezTo>
                      <a:pt x="864" y="1600"/>
                      <a:pt x="864" y="1600"/>
                      <a:pt x="864" y="1600"/>
                    </a:cubicBezTo>
                    <a:cubicBezTo>
                      <a:pt x="544" y="1600"/>
                      <a:pt x="544" y="1600"/>
                      <a:pt x="544" y="1600"/>
                    </a:cubicBezTo>
                    <a:lnTo>
                      <a:pt x="544" y="1536"/>
                    </a:lnTo>
                    <a:close/>
                    <a:moveTo>
                      <a:pt x="928" y="1600"/>
                    </a:moveTo>
                    <a:cubicBezTo>
                      <a:pt x="928" y="1536"/>
                      <a:pt x="928" y="1536"/>
                      <a:pt x="928" y="1536"/>
                    </a:cubicBezTo>
                    <a:cubicBezTo>
                      <a:pt x="1248" y="1536"/>
                      <a:pt x="1248" y="1536"/>
                      <a:pt x="1248" y="1536"/>
                    </a:cubicBezTo>
                    <a:cubicBezTo>
                      <a:pt x="1248" y="1600"/>
                      <a:pt x="1248" y="1600"/>
                      <a:pt x="1248" y="1600"/>
                    </a:cubicBezTo>
                    <a:lnTo>
                      <a:pt x="928" y="1600"/>
                    </a:lnTo>
                    <a:close/>
                    <a:moveTo>
                      <a:pt x="1728" y="664"/>
                    </a:moveTo>
                    <a:cubicBezTo>
                      <a:pt x="1542" y="1005"/>
                      <a:pt x="1542" y="1005"/>
                      <a:pt x="1542" y="1005"/>
                    </a:cubicBezTo>
                    <a:cubicBezTo>
                      <a:pt x="1295" y="1252"/>
                      <a:pt x="1295" y="1252"/>
                      <a:pt x="1295" y="1252"/>
                    </a:cubicBezTo>
                    <a:cubicBezTo>
                      <a:pt x="1265" y="1282"/>
                      <a:pt x="1248" y="1322"/>
                      <a:pt x="1248" y="1365"/>
                    </a:cubicBezTo>
                    <a:cubicBezTo>
                      <a:pt x="1248" y="1472"/>
                      <a:pt x="1248" y="1472"/>
                      <a:pt x="1248" y="1472"/>
                    </a:cubicBezTo>
                    <a:cubicBezTo>
                      <a:pt x="928" y="1472"/>
                      <a:pt x="928" y="1472"/>
                      <a:pt x="928" y="1472"/>
                    </a:cubicBezTo>
                    <a:cubicBezTo>
                      <a:pt x="928" y="1106"/>
                      <a:pt x="928" y="1106"/>
                      <a:pt x="928" y="1106"/>
                    </a:cubicBezTo>
                    <a:cubicBezTo>
                      <a:pt x="928" y="1082"/>
                      <a:pt x="937" y="1059"/>
                      <a:pt x="954" y="1041"/>
                    </a:cubicBezTo>
                    <a:cubicBezTo>
                      <a:pt x="1348" y="618"/>
                      <a:pt x="1348" y="618"/>
                      <a:pt x="1348" y="618"/>
                    </a:cubicBezTo>
                    <a:cubicBezTo>
                      <a:pt x="1354" y="612"/>
                      <a:pt x="1363" y="608"/>
                      <a:pt x="1372" y="608"/>
                    </a:cubicBezTo>
                    <a:cubicBezTo>
                      <a:pt x="1376" y="608"/>
                      <a:pt x="1376" y="608"/>
                      <a:pt x="1376" y="608"/>
                    </a:cubicBezTo>
                    <a:cubicBezTo>
                      <a:pt x="1394" y="608"/>
                      <a:pt x="1408" y="622"/>
                      <a:pt x="1408" y="640"/>
                    </a:cubicBezTo>
                    <a:cubicBezTo>
                      <a:pt x="1408" y="696"/>
                      <a:pt x="1408" y="696"/>
                      <a:pt x="1408" y="696"/>
                    </a:cubicBezTo>
                    <a:cubicBezTo>
                      <a:pt x="1191" y="972"/>
                      <a:pt x="1191" y="972"/>
                      <a:pt x="1191" y="972"/>
                    </a:cubicBezTo>
                    <a:cubicBezTo>
                      <a:pt x="1241" y="1012"/>
                      <a:pt x="1241" y="1012"/>
                      <a:pt x="1241" y="1012"/>
                    </a:cubicBezTo>
                    <a:cubicBezTo>
                      <a:pt x="1593" y="564"/>
                      <a:pt x="1593" y="564"/>
                      <a:pt x="1593" y="564"/>
                    </a:cubicBezTo>
                    <a:cubicBezTo>
                      <a:pt x="1598" y="558"/>
                      <a:pt x="1600" y="551"/>
                      <a:pt x="1600" y="544"/>
                    </a:cubicBezTo>
                    <a:cubicBezTo>
                      <a:pt x="1600" y="128"/>
                      <a:pt x="1600" y="128"/>
                      <a:pt x="1600" y="128"/>
                    </a:cubicBezTo>
                    <a:cubicBezTo>
                      <a:pt x="1600" y="93"/>
                      <a:pt x="1629" y="64"/>
                      <a:pt x="1664" y="64"/>
                    </a:cubicBezTo>
                    <a:cubicBezTo>
                      <a:pt x="1699" y="64"/>
                      <a:pt x="1728" y="93"/>
                      <a:pt x="1728" y="128"/>
                    </a:cubicBezTo>
                    <a:lnTo>
                      <a:pt x="1728" y="66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26">
                <a:extLst>
                  <a:ext uri="{FF2B5EF4-FFF2-40B4-BE49-F238E27FC236}">
                    <a16:creationId xmlns:a16="http://schemas.microsoft.com/office/drawing/2014/main" id="{3C3A9ABE-F567-46B2-9C37-62626D93C16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406900" y="-3175"/>
                <a:ext cx="2655888" cy="2657475"/>
              </a:xfrm>
              <a:custGeom>
                <a:avLst/>
                <a:gdLst>
                  <a:gd name="T0" fmla="*/ 1024 w 1024"/>
                  <a:gd name="T1" fmla="*/ 512 h 1024"/>
                  <a:gd name="T2" fmla="*/ 0 w 1024"/>
                  <a:gd name="T3" fmla="*/ 512 h 1024"/>
                  <a:gd name="T4" fmla="*/ 512 w 1024"/>
                  <a:gd name="T5" fmla="*/ 960 h 1024"/>
                  <a:gd name="T6" fmla="*/ 141 w 1024"/>
                  <a:gd name="T7" fmla="*/ 480 h 1024"/>
                  <a:gd name="T8" fmla="*/ 215 w 1024"/>
                  <a:gd name="T9" fmla="*/ 471 h 1024"/>
                  <a:gd name="T10" fmla="*/ 320 w 1024"/>
                  <a:gd name="T11" fmla="*/ 416 h 1024"/>
                  <a:gd name="T12" fmla="*/ 471 w 1024"/>
                  <a:gd name="T13" fmla="*/ 279 h 1024"/>
                  <a:gd name="T14" fmla="*/ 480 w 1024"/>
                  <a:gd name="T15" fmla="*/ 205 h 1024"/>
                  <a:gd name="T16" fmla="*/ 544 w 1024"/>
                  <a:gd name="T17" fmla="*/ 128 h 1024"/>
                  <a:gd name="T18" fmla="*/ 704 w 1024"/>
                  <a:gd name="T19" fmla="*/ 108 h 1024"/>
                  <a:gd name="T20" fmla="*/ 649 w 1024"/>
                  <a:gd name="T21" fmla="*/ 233 h 1024"/>
                  <a:gd name="T22" fmla="*/ 640 w 1024"/>
                  <a:gd name="T23" fmla="*/ 307 h 1024"/>
                  <a:gd name="T24" fmla="*/ 576 w 1024"/>
                  <a:gd name="T25" fmla="*/ 384 h 1024"/>
                  <a:gd name="T26" fmla="*/ 585 w 1024"/>
                  <a:gd name="T27" fmla="*/ 471 h 1024"/>
                  <a:gd name="T28" fmla="*/ 640 w 1024"/>
                  <a:gd name="T29" fmla="*/ 576 h 1024"/>
                  <a:gd name="T30" fmla="*/ 713 w 1024"/>
                  <a:gd name="T31" fmla="*/ 663 h 1024"/>
                  <a:gd name="T32" fmla="*/ 787 w 1024"/>
                  <a:gd name="T33" fmla="*/ 672 h 1024"/>
                  <a:gd name="T34" fmla="*/ 512 w 1024"/>
                  <a:gd name="T35" fmla="*/ 960 h 1024"/>
                  <a:gd name="T36" fmla="*/ 914 w 1024"/>
                  <a:gd name="T37" fmla="*/ 709 h 1024"/>
                  <a:gd name="T38" fmla="*/ 800 w 1024"/>
                  <a:gd name="T39" fmla="*/ 608 h 1024"/>
                  <a:gd name="T40" fmla="*/ 704 w 1024"/>
                  <a:gd name="T41" fmla="*/ 563 h 1024"/>
                  <a:gd name="T42" fmla="*/ 695 w 1024"/>
                  <a:gd name="T43" fmla="*/ 489 h 1024"/>
                  <a:gd name="T44" fmla="*/ 640 w 1024"/>
                  <a:gd name="T45" fmla="*/ 397 h 1024"/>
                  <a:gd name="T46" fmla="*/ 704 w 1024"/>
                  <a:gd name="T47" fmla="*/ 320 h 1024"/>
                  <a:gd name="T48" fmla="*/ 759 w 1024"/>
                  <a:gd name="T49" fmla="*/ 215 h 1024"/>
                  <a:gd name="T50" fmla="*/ 768 w 1024"/>
                  <a:gd name="T51" fmla="*/ 145 h 1024"/>
                  <a:gd name="T52" fmla="*/ 480 w 1024"/>
                  <a:gd name="T53" fmla="*/ 66 h 1024"/>
                  <a:gd name="T54" fmla="*/ 425 w 1024"/>
                  <a:gd name="T55" fmla="*/ 169 h 1024"/>
                  <a:gd name="T56" fmla="*/ 416 w 1024"/>
                  <a:gd name="T57" fmla="*/ 243 h 1024"/>
                  <a:gd name="T58" fmla="*/ 256 w 1024"/>
                  <a:gd name="T59" fmla="*/ 352 h 1024"/>
                  <a:gd name="T60" fmla="*/ 179 w 1024"/>
                  <a:gd name="T61" fmla="*/ 416 h 1024"/>
                  <a:gd name="T62" fmla="*/ 105 w 1024"/>
                  <a:gd name="T63" fmla="*/ 425 h 1024"/>
                  <a:gd name="T64" fmla="*/ 480 w 1024"/>
                  <a:gd name="T65" fmla="*/ 66 h 1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4" h="1024">
                    <a:moveTo>
                      <a:pt x="512" y="1024"/>
                    </a:moveTo>
                    <a:cubicBezTo>
                      <a:pt x="794" y="1024"/>
                      <a:pt x="1024" y="794"/>
                      <a:pt x="1024" y="512"/>
                    </a:cubicBezTo>
                    <a:cubicBezTo>
                      <a:pt x="1024" y="230"/>
                      <a:pt x="794" y="0"/>
                      <a:pt x="512" y="0"/>
                    </a:cubicBezTo>
                    <a:cubicBezTo>
                      <a:pt x="230" y="0"/>
                      <a:pt x="0" y="230"/>
                      <a:pt x="0" y="512"/>
                    </a:cubicBezTo>
                    <a:cubicBezTo>
                      <a:pt x="0" y="794"/>
                      <a:pt x="230" y="1024"/>
                      <a:pt x="512" y="1024"/>
                    </a:cubicBezTo>
                    <a:close/>
                    <a:moveTo>
                      <a:pt x="512" y="960"/>
                    </a:moveTo>
                    <a:cubicBezTo>
                      <a:pt x="280" y="960"/>
                      <a:pt x="88" y="782"/>
                      <a:pt x="66" y="555"/>
                    </a:cubicBezTo>
                    <a:cubicBezTo>
                      <a:pt x="141" y="480"/>
                      <a:pt x="141" y="480"/>
                      <a:pt x="141" y="480"/>
                    </a:cubicBezTo>
                    <a:cubicBezTo>
                      <a:pt x="192" y="480"/>
                      <a:pt x="192" y="480"/>
                      <a:pt x="192" y="480"/>
                    </a:cubicBezTo>
                    <a:cubicBezTo>
                      <a:pt x="200" y="480"/>
                      <a:pt x="209" y="477"/>
                      <a:pt x="215" y="471"/>
                    </a:cubicBezTo>
                    <a:cubicBezTo>
                      <a:pt x="269" y="416"/>
                      <a:pt x="269" y="416"/>
                      <a:pt x="269" y="416"/>
                    </a:cubicBezTo>
                    <a:cubicBezTo>
                      <a:pt x="320" y="416"/>
                      <a:pt x="320" y="416"/>
                      <a:pt x="320" y="416"/>
                    </a:cubicBezTo>
                    <a:cubicBezTo>
                      <a:pt x="328" y="416"/>
                      <a:pt x="337" y="413"/>
                      <a:pt x="343" y="407"/>
                    </a:cubicBezTo>
                    <a:cubicBezTo>
                      <a:pt x="471" y="279"/>
                      <a:pt x="471" y="279"/>
                      <a:pt x="471" y="279"/>
                    </a:cubicBezTo>
                    <a:cubicBezTo>
                      <a:pt x="477" y="273"/>
                      <a:pt x="480" y="264"/>
                      <a:pt x="480" y="256"/>
                    </a:cubicBezTo>
                    <a:cubicBezTo>
                      <a:pt x="480" y="205"/>
                      <a:pt x="480" y="205"/>
                      <a:pt x="480" y="205"/>
                    </a:cubicBezTo>
                    <a:cubicBezTo>
                      <a:pt x="535" y="151"/>
                      <a:pt x="535" y="151"/>
                      <a:pt x="535" y="151"/>
                    </a:cubicBezTo>
                    <a:cubicBezTo>
                      <a:pt x="541" y="145"/>
                      <a:pt x="544" y="136"/>
                      <a:pt x="544" y="128"/>
                    </a:cubicBezTo>
                    <a:cubicBezTo>
                      <a:pt x="544" y="66"/>
                      <a:pt x="544" y="66"/>
                      <a:pt x="544" y="66"/>
                    </a:cubicBezTo>
                    <a:cubicBezTo>
                      <a:pt x="601" y="70"/>
                      <a:pt x="655" y="84"/>
                      <a:pt x="704" y="108"/>
                    </a:cubicBezTo>
                    <a:cubicBezTo>
                      <a:pt x="704" y="179"/>
                      <a:pt x="704" y="179"/>
                      <a:pt x="704" y="179"/>
                    </a:cubicBezTo>
                    <a:cubicBezTo>
                      <a:pt x="649" y="233"/>
                      <a:pt x="649" y="233"/>
                      <a:pt x="649" y="233"/>
                    </a:cubicBezTo>
                    <a:cubicBezTo>
                      <a:pt x="643" y="239"/>
                      <a:pt x="640" y="248"/>
                      <a:pt x="640" y="256"/>
                    </a:cubicBezTo>
                    <a:cubicBezTo>
                      <a:pt x="640" y="307"/>
                      <a:pt x="640" y="307"/>
                      <a:pt x="640" y="307"/>
                    </a:cubicBezTo>
                    <a:cubicBezTo>
                      <a:pt x="585" y="361"/>
                      <a:pt x="585" y="361"/>
                      <a:pt x="585" y="361"/>
                    </a:cubicBezTo>
                    <a:cubicBezTo>
                      <a:pt x="579" y="367"/>
                      <a:pt x="576" y="376"/>
                      <a:pt x="576" y="384"/>
                    </a:cubicBezTo>
                    <a:cubicBezTo>
                      <a:pt x="576" y="448"/>
                      <a:pt x="576" y="448"/>
                      <a:pt x="576" y="448"/>
                    </a:cubicBezTo>
                    <a:cubicBezTo>
                      <a:pt x="576" y="456"/>
                      <a:pt x="579" y="465"/>
                      <a:pt x="585" y="471"/>
                    </a:cubicBezTo>
                    <a:cubicBezTo>
                      <a:pt x="640" y="525"/>
                      <a:pt x="640" y="525"/>
                      <a:pt x="640" y="525"/>
                    </a:cubicBezTo>
                    <a:cubicBezTo>
                      <a:pt x="640" y="576"/>
                      <a:pt x="640" y="576"/>
                      <a:pt x="640" y="576"/>
                    </a:cubicBezTo>
                    <a:cubicBezTo>
                      <a:pt x="640" y="584"/>
                      <a:pt x="643" y="593"/>
                      <a:pt x="649" y="599"/>
                    </a:cubicBezTo>
                    <a:cubicBezTo>
                      <a:pt x="713" y="663"/>
                      <a:pt x="713" y="663"/>
                      <a:pt x="713" y="663"/>
                    </a:cubicBezTo>
                    <a:cubicBezTo>
                      <a:pt x="719" y="669"/>
                      <a:pt x="728" y="672"/>
                      <a:pt x="736" y="672"/>
                    </a:cubicBezTo>
                    <a:cubicBezTo>
                      <a:pt x="787" y="672"/>
                      <a:pt x="787" y="672"/>
                      <a:pt x="787" y="672"/>
                    </a:cubicBezTo>
                    <a:cubicBezTo>
                      <a:pt x="881" y="766"/>
                      <a:pt x="881" y="766"/>
                      <a:pt x="881" y="766"/>
                    </a:cubicBezTo>
                    <a:cubicBezTo>
                      <a:pt x="800" y="883"/>
                      <a:pt x="665" y="960"/>
                      <a:pt x="512" y="960"/>
                    </a:cubicBezTo>
                    <a:close/>
                    <a:moveTo>
                      <a:pt x="960" y="512"/>
                    </a:moveTo>
                    <a:cubicBezTo>
                      <a:pt x="960" y="583"/>
                      <a:pt x="943" y="649"/>
                      <a:pt x="914" y="709"/>
                    </a:cubicBezTo>
                    <a:cubicBezTo>
                      <a:pt x="823" y="617"/>
                      <a:pt x="823" y="617"/>
                      <a:pt x="823" y="617"/>
                    </a:cubicBezTo>
                    <a:cubicBezTo>
                      <a:pt x="817" y="611"/>
                      <a:pt x="808" y="608"/>
                      <a:pt x="800" y="608"/>
                    </a:cubicBezTo>
                    <a:cubicBezTo>
                      <a:pt x="749" y="608"/>
                      <a:pt x="749" y="608"/>
                      <a:pt x="749" y="608"/>
                    </a:cubicBezTo>
                    <a:cubicBezTo>
                      <a:pt x="704" y="563"/>
                      <a:pt x="704" y="563"/>
                      <a:pt x="704" y="563"/>
                    </a:cubicBezTo>
                    <a:cubicBezTo>
                      <a:pt x="704" y="512"/>
                      <a:pt x="704" y="512"/>
                      <a:pt x="704" y="512"/>
                    </a:cubicBezTo>
                    <a:cubicBezTo>
                      <a:pt x="704" y="504"/>
                      <a:pt x="701" y="495"/>
                      <a:pt x="695" y="489"/>
                    </a:cubicBezTo>
                    <a:cubicBezTo>
                      <a:pt x="640" y="435"/>
                      <a:pt x="640" y="435"/>
                      <a:pt x="640" y="435"/>
                    </a:cubicBezTo>
                    <a:cubicBezTo>
                      <a:pt x="640" y="397"/>
                      <a:pt x="640" y="397"/>
                      <a:pt x="640" y="397"/>
                    </a:cubicBezTo>
                    <a:cubicBezTo>
                      <a:pt x="695" y="343"/>
                      <a:pt x="695" y="343"/>
                      <a:pt x="695" y="343"/>
                    </a:cubicBezTo>
                    <a:cubicBezTo>
                      <a:pt x="701" y="337"/>
                      <a:pt x="704" y="328"/>
                      <a:pt x="704" y="320"/>
                    </a:cubicBezTo>
                    <a:cubicBezTo>
                      <a:pt x="704" y="269"/>
                      <a:pt x="704" y="269"/>
                      <a:pt x="704" y="269"/>
                    </a:cubicBezTo>
                    <a:cubicBezTo>
                      <a:pt x="759" y="215"/>
                      <a:pt x="759" y="215"/>
                      <a:pt x="759" y="215"/>
                    </a:cubicBezTo>
                    <a:cubicBezTo>
                      <a:pt x="765" y="209"/>
                      <a:pt x="768" y="200"/>
                      <a:pt x="768" y="192"/>
                    </a:cubicBezTo>
                    <a:cubicBezTo>
                      <a:pt x="768" y="145"/>
                      <a:pt x="768" y="145"/>
                      <a:pt x="768" y="145"/>
                    </a:cubicBezTo>
                    <a:cubicBezTo>
                      <a:pt x="884" y="226"/>
                      <a:pt x="960" y="360"/>
                      <a:pt x="960" y="512"/>
                    </a:cubicBezTo>
                    <a:close/>
                    <a:moveTo>
                      <a:pt x="480" y="66"/>
                    </a:moveTo>
                    <a:cubicBezTo>
                      <a:pt x="480" y="115"/>
                      <a:pt x="480" y="115"/>
                      <a:pt x="480" y="115"/>
                    </a:cubicBezTo>
                    <a:cubicBezTo>
                      <a:pt x="425" y="169"/>
                      <a:pt x="425" y="169"/>
                      <a:pt x="425" y="169"/>
                    </a:cubicBezTo>
                    <a:cubicBezTo>
                      <a:pt x="419" y="175"/>
                      <a:pt x="416" y="184"/>
                      <a:pt x="416" y="192"/>
                    </a:cubicBezTo>
                    <a:cubicBezTo>
                      <a:pt x="416" y="243"/>
                      <a:pt x="416" y="243"/>
                      <a:pt x="416" y="243"/>
                    </a:cubicBezTo>
                    <a:cubicBezTo>
                      <a:pt x="307" y="352"/>
                      <a:pt x="307" y="352"/>
                      <a:pt x="307" y="352"/>
                    </a:cubicBezTo>
                    <a:cubicBezTo>
                      <a:pt x="256" y="352"/>
                      <a:pt x="256" y="352"/>
                      <a:pt x="256" y="352"/>
                    </a:cubicBezTo>
                    <a:cubicBezTo>
                      <a:pt x="248" y="352"/>
                      <a:pt x="239" y="355"/>
                      <a:pt x="233" y="361"/>
                    </a:cubicBezTo>
                    <a:cubicBezTo>
                      <a:pt x="179" y="416"/>
                      <a:pt x="179" y="416"/>
                      <a:pt x="179" y="416"/>
                    </a:cubicBezTo>
                    <a:cubicBezTo>
                      <a:pt x="128" y="416"/>
                      <a:pt x="128" y="416"/>
                      <a:pt x="128" y="416"/>
                    </a:cubicBezTo>
                    <a:cubicBezTo>
                      <a:pt x="120" y="416"/>
                      <a:pt x="111" y="419"/>
                      <a:pt x="105" y="425"/>
                    </a:cubicBezTo>
                    <a:cubicBezTo>
                      <a:pt x="67" y="464"/>
                      <a:pt x="67" y="464"/>
                      <a:pt x="67" y="464"/>
                    </a:cubicBezTo>
                    <a:cubicBezTo>
                      <a:pt x="90" y="250"/>
                      <a:pt x="264" y="81"/>
                      <a:pt x="480" y="6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27">
                <a:extLst>
                  <a:ext uri="{FF2B5EF4-FFF2-40B4-BE49-F238E27FC236}">
                    <a16:creationId xmlns:a16="http://schemas.microsoft.com/office/drawing/2014/main" id="{DB1B2751-E613-4F91-AEF5-D7D2024C17F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908425" y="1243013"/>
                <a:ext cx="1160463" cy="1077913"/>
              </a:xfrm>
              <a:custGeom>
                <a:avLst/>
                <a:gdLst>
                  <a:gd name="T0" fmla="*/ 384 w 448"/>
                  <a:gd name="T1" fmla="*/ 179 h 416"/>
                  <a:gd name="T2" fmla="*/ 384 w 448"/>
                  <a:gd name="T3" fmla="*/ 96 h 416"/>
                  <a:gd name="T4" fmla="*/ 375 w 448"/>
                  <a:gd name="T5" fmla="*/ 73 h 416"/>
                  <a:gd name="T6" fmla="*/ 311 w 448"/>
                  <a:gd name="T7" fmla="*/ 9 h 416"/>
                  <a:gd name="T8" fmla="*/ 288 w 448"/>
                  <a:gd name="T9" fmla="*/ 0 h 416"/>
                  <a:gd name="T10" fmla="*/ 224 w 448"/>
                  <a:gd name="T11" fmla="*/ 0 h 416"/>
                  <a:gd name="T12" fmla="*/ 201 w 448"/>
                  <a:gd name="T13" fmla="*/ 9 h 416"/>
                  <a:gd name="T14" fmla="*/ 147 w 448"/>
                  <a:gd name="T15" fmla="*/ 64 h 416"/>
                  <a:gd name="T16" fmla="*/ 32 w 448"/>
                  <a:gd name="T17" fmla="*/ 64 h 416"/>
                  <a:gd name="T18" fmla="*/ 0 w 448"/>
                  <a:gd name="T19" fmla="*/ 96 h 416"/>
                  <a:gd name="T20" fmla="*/ 0 w 448"/>
                  <a:gd name="T21" fmla="*/ 256 h 416"/>
                  <a:gd name="T22" fmla="*/ 32 w 448"/>
                  <a:gd name="T23" fmla="*/ 288 h 416"/>
                  <a:gd name="T24" fmla="*/ 83 w 448"/>
                  <a:gd name="T25" fmla="*/ 288 h 416"/>
                  <a:gd name="T26" fmla="*/ 137 w 448"/>
                  <a:gd name="T27" fmla="*/ 343 h 416"/>
                  <a:gd name="T28" fmla="*/ 160 w 448"/>
                  <a:gd name="T29" fmla="*/ 352 h 416"/>
                  <a:gd name="T30" fmla="*/ 211 w 448"/>
                  <a:gd name="T31" fmla="*/ 352 h 416"/>
                  <a:gd name="T32" fmla="*/ 265 w 448"/>
                  <a:gd name="T33" fmla="*/ 407 h 416"/>
                  <a:gd name="T34" fmla="*/ 288 w 448"/>
                  <a:gd name="T35" fmla="*/ 416 h 416"/>
                  <a:gd name="T36" fmla="*/ 352 w 448"/>
                  <a:gd name="T37" fmla="*/ 416 h 416"/>
                  <a:gd name="T38" fmla="*/ 375 w 448"/>
                  <a:gd name="T39" fmla="*/ 407 h 416"/>
                  <a:gd name="T40" fmla="*/ 439 w 448"/>
                  <a:gd name="T41" fmla="*/ 343 h 416"/>
                  <a:gd name="T42" fmla="*/ 448 w 448"/>
                  <a:gd name="T43" fmla="*/ 320 h 416"/>
                  <a:gd name="T44" fmla="*/ 448 w 448"/>
                  <a:gd name="T45" fmla="*/ 256 h 416"/>
                  <a:gd name="T46" fmla="*/ 439 w 448"/>
                  <a:gd name="T47" fmla="*/ 233 h 416"/>
                  <a:gd name="T48" fmla="*/ 384 w 448"/>
                  <a:gd name="T49" fmla="*/ 179 h 416"/>
                  <a:gd name="T50" fmla="*/ 384 w 448"/>
                  <a:gd name="T51" fmla="*/ 307 h 416"/>
                  <a:gd name="T52" fmla="*/ 339 w 448"/>
                  <a:gd name="T53" fmla="*/ 352 h 416"/>
                  <a:gd name="T54" fmla="*/ 301 w 448"/>
                  <a:gd name="T55" fmla="*/ 352 h 416"/>
                  <a:gd name="T56" fmla="*/ 247 w 448"/>
                  <a:gd name="T57" fmla="*/ 297 h 416"/>
                  <a:gd name="T58" fmla="*/ 224 w 448"/>
                  <a:gd name="T59" fmla="*/ 288 h 416"/>
                  <a:gd name="T60" fmla="*/ 173 w 448"/>
                  <a:gd name="T61" fmla="*/ 288 h 416"/>
                  <a:gd name="T62" fmla="*/ 119 w 448"/>
                  <a:gd name="T63" fmla="*/ 233 h 416"/>
                  <a:gd name="T64" fmla="*/ 96 w 448"/>
                  <a:gd name="T65" fmla="*/ 224 h 416"/>
                  <a:gd name="T66" fmla="*/ 64 w 448"/>
                  <a:gd name="T67" fmla="*/ 224 h 416"/>
                  <a:gd name="T68" fmla="*/ 64 w 448"/>
                  <a:gd name="T69" fmla="*/ 128 h 416"/>
                  <a:gd name="T70" fmla="*/ 160 w 448"/>
                  <a:gd name="T71" fmla="*/ 128 h 416"/>
                  <a:gd name="T72" fmla="*/ 183 w 448"/>
                  <a:gd name="T73" fmla="*/ 119 h 416"/>
                  <a:gd name="T74" fmla="*/ 237 w 448"/>
                  <a:gd name="T75" fmla="*/ 64 h 416"/>
                  <a:gd name="T76" fmla="*/ 275 w 448"/>
                  <a:gd name="T77" fmla="*/ 64 h 416"/>
                  <a:gd name="T78" fmla="*/ 320 w 448"/>
                  <a:gd name="T79" fmla="*/ 109 h 416"/>
                  <a:gd name="T80" fmla="*/ 320 w 448"/>
                  <a:gd name="T81" fmla="*/ 192 h 416"/>
                  <a:gd name="T82" fmla="*/ 329 w 448"/>
                  <a:gd name="T83" fmla="*/ 215 h 416"/>
                  <a:gd name="T84" fmla="*/ 384 w 448"/>
                  <a:gd name="T85" fmla="*/ 269 h 416"/>
                  <a:gd name="T86" fmla="*/ 384 w 448"/>
                  <a:gd name="T87" fmla="*/ 307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48" h="416">
                    <a:moveTo>
                      <a:pt x="384" y="179"/>
                    </a:moveTo>
                    <a:cubicBezTo>
                      <a:pt x="384" y="96"/>
                      <a:pt x="384" y="96"/>
                      <a:pt x="384" y="96"/>
                    </a:cubicBezTo>
                    <a:cubicBezTo>
                      <a:pt x="384" y="88"/>
                      <a:pt x="381" y="79"/>
                      <a:pt x="375" y="73"/>
                    </a:cubicBezTo>
                    <a:cubicBezTo>
                      <a:pt x="311" y="9"/>
                      <a:pt x="311" y="9"/>
                      <a:pt x="311" y="9"/>
                    </a:cubicBezTo>
                    <a:cubicBezTo>
                      <a:pt x="305" y="3"/>
                      <a:pt x="296" y="0"/>
                      <a:pt x="288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16" y="0"/>
                      <a:pt x="207" y="3"/>
                      <a:pt x="201" y="9"/>
                    </a:cubicBezTo>
                    <a:cubicBezTo>
                      <a:pt x="147" y="64"/>
                      <a:pt x="147" y="64"/>
                      <a:pt x="147" y="64"/>
                    </a:cubicBezTo>
                    <a:cubicBezTo>
                      <a:pt x="32" y="64"/>
                      <a:pt x="32" y="64"/>
                      <a:pt x="32" y="64"/>
                    </a:cubicBezTo>
                    <a:cubicBezTo>
                      <a:pt x="14" y="64"/>
                      <a:pt x="0" y="78"/>
                      <a:pt x="0" y="96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0" y="274"/>
                      <a:pt x="14" y="288"/>
                      <a:pt x="32" y="288"/>
                    </a:cubicBezTo>
                    <a:cubicBezTo>
                      <a:pt x="83" y="288"/>
                      <a:pt x="83" y="288"/>
                      <a:pt x="83" y="288"/>
                    </a:cubicBezTo>
                    <a:cubicBezTo>
                      <a:pt x="137" y="343"/>
                      <a:pt x="137" y="343"/>
                      <a:pt x="137" y="343"/>
                    </a:cubicBezTo>
                    <a:cubicBezTo>
                      <a:pt x="143" y="349"/>
                      <a:pt x="152" y="352"/>
                      <a:pt x="160" y="352"/>
                    </a:cubicBezTo>
                    <a:cubicBezTo>
                      <a:pt x="211" y="352"/>
                      <a:pt x="211" y="352"/>
                      <a:pt x="211" y="352"/>
                    </a:cubicBezTo>
                    <a:cubicBezTo>
                      <a:pt x="265" y="407"/>
                      <a:pt x="265" y="407"/>
                      <a:pt x="265" y="407"/>
                    </a:cubicBezTo>
                    <a:cubicBezTo>
                      <a:pt x="271" y="413"/>
                      <a:pt x="280" y="416"/>
                      <a:pt x="288" y="416"/>
                    </a:cubicBezTo>
                    <a:cubicBezTo>
                      <a:pt x="352" y="416"/>
                      <a:pt x="352" y="416"/>
                      <a:pt x="352" y="416"/>
                    </a:cubicBezTo>
                    <a:cubicBezTo>
                      <a:pt x="360" y="416"/>
                      <a:pt x="369" y="413"/>
                      <a:pt x="375" y="407"/>
                    </a:cubicBezTo>
                    <a:cubicBezTo>
                      <a:pt x="439" y="343"/>
                      <a:pt x="439" y="343"/>
                      <a:pt x="439" y="343"/>
                    </a:cubicBezTo>
                    <a:cubicBezTo>
                      <a:pt x="445" y="337"/>
                      <a:pt x="448" y="328"/>
                      <a:pt x="448" y="320"/>
                    </a:cubicBezTo>
                    <a:cubicBezTo>
                      <a:pt x="448" y="256"/>
                      <a:pt x="448" y="256"/>
                      <a:pt x="448" y="256"/>
                    </a:cubicBezTo>
                    <a:cubicBezTo>
                      <a:pt x="448" y="248"/>
                      <a:pt x="445" y="239"/>
                      <a:pt x="439" y="233"/>
                    </a:cubicBezTo>
                    <a:lnTo>
                      <a:pt x="384" y="179"/>
                    </a:lnTo>
                    <a:close/>
                    <a:moveTo>
                      <a:pt x="384" y="307"/>
                    </a:moveTo>
                    <a:cubicBezTo>
                      <a:pt x="339" y="352"/>
                      <a:pt x="339" y="352"/>
                      <a:pt x="339" y="352"/>
                    </a:cubicBezTo>
                    <a:cubicBezTo>
                      <a:pt x="301" y="352"/>
                      <a:pt x="301" y="352"/>
                      <a:pt x="301" y="352"/>
                    </a:cubicBezTo>
                    <a:cubicBezTo>
                      <a:pt x="247" y="297"/>
                      <a:pt x="247" y="297"/>
                      <a:pt x="247" y="297"/>
                    </a:cubicBezTo>
                    <a:cubicBezTo>
                      <a:pt x="241" y="291"/>
                      <a:pt x="232" y="288"/>
                      <a:pt x="224" y="288"/>
                    </a:cubicBezTo>
                    <a:cubicBezTo>
                      <a:pt x="173" y="288"/>
                      <a:pt x="173" y="288"/>
                      <a:pt x="173" y="288"/>
                    </a:cubicBezTo>
                    <a:cubicBezTo>
                      <a:pt x="119" y="233"/>
                      <a:pt x="119" y="233"/>
                      <a:pt x="119" y="233"/>
                    </a:cubicBezTo>
                    <a:cubicBezTo>
                      <a:pt x="113" y="227"/>
                      <a:pt x="104" y="224"/>
                      <a:pt x="96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160" y="128"/>
                      <a:pt x="160" y="128"/>
                      <a:pt x="160" y="128"/>
                    </a:cubicBezTo>
                    <a:cubicBezTo>
                      <a:pt x="168" y="128"/>
                      <a:pt x="177" y="125"/>
                      <a:pt x="183" y="119"/>
                    </a:cubicBezTo>
                    <a:cubicBezTo>
                      <a:pt x="237" y="64"/>
                      <a:pt x="237" y="64"/>
                      <a:pt x="237" y="64"/>
                    </a:cubicBezTo>
                    <a:cubicBezTo>
                      <a:pt x="275" y="64"/>
                      <a:pt x="275" y="64"/>
                      <a:pt x="275" y="64"/>
                    </a:cubicBezTo>
                    <a:cubicBezTo>
                      <a:pt x="320" y="109"/>
                      <a:pt x="320" y="109"/>
                      <a:pt x="320" y="109"/>
                    </a:cubicBezTo>
                    <a:cubicBezTo>
                      <a:pt x="320" y="192"/>
                      <a:pt x="320" y="192"/>
                      <a:pt x="320" y="192"/>
                    </a:cubicBezTo>
                    <a:cubicBezTo>
                      <a:pt x="320" y="200"/>
                      <a:pt x="323" y="209"/>
                      <a:pt x="329" y="215"/>
                    </a:cubicBezTo>
                    <a:cubicBezTo>
                      <a:pt x="384" y="269"/>
                      <a:pt x="384" y="269"/>
                      <a:pt x="384" y="269"/>
                    </a:cubicBezTo>
                    <a:lnTo>
                      <a:pt x="384" y="30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2" name="Textplatzhalter 6">
            <a:extLst>
              <a:ext uri="{FF2B5EF4-FFF2-40B4-BE49-F238E27FC236}">
                <a16:creationId xmlns:a16="http://schemas.microsoft.com/office/drawing/2014/main" id="{00EF5186-DF66-4F6F-B4AD-A3FCF8D97D6B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68313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1 Our response to the challenges</a:t>
            </a:r>
            <a:endParaRPr lang="en-GB" sz="1050" kern="600" dirty="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408127C-4695-4C1F-B2B4-DC32B03BEF0F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67" name="Rechteck 12">
              <a:extLst>
                <a:ext uri="{FF2B5EF4-FFF2-40B4-BE49-F238E27FC236}">
                  <a16:creationId xmlns:a16="http://schemas.microsoft.com/office/drawing/2014/main" id="{194E8981-BCBF-4F74-A688-2404EF64F43D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C41135EB-7B48-4F12-BCE7-6410D1227E70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85" name="Rectangle 5">
                <a:extLst>
                  <a:ext uri="{FF2B5EF4-FFF2-40B4-BE49-F238E27FC236}">
                    <a16:creationId xmlns:a16="http://schemas.microsoft.com/office/drawing/2014/main" id="{250519A7-9A2F-4658-BE35-FFA1A43A7ADA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08114576-691C-4C61-B442-00FCB13E8F73}"/>
                  </a:ext>
                </a:extLst>
              </p:cNvPr>
              <p:cNvGrpSpPr/>
              <p:nvPr userDrawn="1">
                <p:custDataLst>
                  <p:tags r:id="rId23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96" name="Freeform 6">
                  <a:extLst>
                    <a:ext uri="{FF2B5EF4-FFF2-40B4-BE49-F238E27FC236}">
                      <a16:creationId xmlns:a16="http://schemas.microsoft.com/office/drawing/2014/main" id="{A561614F-E54E-4027-A627-A4451899312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7">
                  <a:extLst>
                    <a:ext uri="{FF2B5EF4-FFF2-40B4-BE49-F238E27FC236}">
                      <a16:creationId xmlns:a16="http://schemas.microsoft.com/office/drawing/2014/main" id="{6BC684F1-3DC5-4F25-873B-697BDC4CF4D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8" name="Freeform 8">
                  <a:extLst>
                    <a:ext uri="{FF2B5EF4-FFF2-40B4-BE49-F238E27FC236}">
                      <a16:creationId xmlns:a16="http://schemas.microsoft.com/office/drawing/2014/main" id="{2E46B351-5127-4FF7-9224-0D4A8A56B66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9" name="Freeform 9">
                  <a:extLst>
                    <a:ext uri="{FF2B5EF4-FFF2-40B4-BE49-F238E27FC236}">
                      <a16:creationId xmlns:a16="http://schemas.microsoft.com/office/drawing/2014/main" id="{1836343D-5C81-4A39-9772-F215515B6E26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10">
                  <a:extLst>
                    <a:ext uri="{FF2B5EF4-FFF2-40B4-BE49-F238E27FC236}">
                      <a16:creationId xmlns:a16="http://schemas.microsoft.com/office/drawing/2014/main" id="{EAA6D986-37C1-4D6B-9CCB-5C64C243674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1" name="Freeform 11">
                  <a:extLst>
                    <a:ext uri="{FF2B5EF4-FFF2-40B4-BE49-F238E27FC236}">
                      <a16:creationId xmlns:a16="http://schemas.microsoft.com/office/drawing/2014/main" id="{8D180E55-FAD5-40AB-8FF9-9934C372ADDB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" name="Freeform 12">
                  <a:extLst>
                    <a:ext uri="{FF2B5EF4-FFF2-40B4-BE49-F238E27FC236}">
                      <a16:creationId xmlns:a16="http://schemas.microsoft.com/office/drawing/2014/main" id="{50774DAF-B001-490C-A43C-C8E2E3E18D3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3" name="Freeform 13">
                  <a:extLst>
                    <a:ext uri="{FF2B5EF4-FFF2-40B4-BE49-F238E27FC236}">
                      <a16:creationId xmlns:a16="http://schemas.microsoft.com/office/drawing/2014/main" id="{E21C1ACE-A5EE-4609-81AA-4E0B238822F9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174E416-B7E7-414B-B395-FA0CDF96A928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1746774" y="3007524"/>
            <a:ext cx="504000" cy="504000"/>
            <a:chOff x="1096573" y="2989421"/>
            <a:chExt cx="504000" cy="504000"/>
          </a:xfrm>
        </p:grpSpPr>
        <p:sp>
          <p:nvSpPr>
            <p:cNvPr id="115" name="Rectangle 107">
              <a:extLst>
                <a:ext uri="{FF2B5EF4-FFF2-40B4-BE49-F238E27FC236}">
                  <a16:creationId xmlns:a16="http://schemas.microsoft.com/office/drawing/2014/main" id="{90CB9D2B-5552-4671-B0BC-B49894F3C11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096573" y="2989421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16" name="Group 5">
              <a:extLst>
                <a:ext uri="{FF2B5EF4-FFF2-40B4-BE49-F238E27FC236}">
                  <a16:creationId xmlns:a16="http://schemas.microsoft.com/office/drawing/2014/main" id="{DD4487A6-0EBB-46D8-B102-2098D75EE8E5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1164901" y="3046763"/>
              <a:ext cx="368454" cy="368454"/>
              <a:chOff x="943" y="-313"/>
              <a:chExt cx="3869" cy="3869"/>
            </a:xfrm>
            <a:solidFill>
              <a:schemeClr val="bg1"/>
            </a:solidFill>
          </p:grpSpPr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id="{C7FC9C39-0F85-49BA-87E1-5A43032CDCB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43" y="-313"/>
                <a:ext cx="3547" cy="2579"/>
              </a:xfrm>
              <a:custGeom>
                <a:avLst/>
                <a:gdLst>
                  <a:gd name="T0" fmla="*/ 55 w 1502"/>
                  <a:gd name="T1" fmla="*/ 819 h 1092"/>
                  <a:gd name="T2" fmla="*/ 819 w 1502"/>
                  <a:gd name="T3" fmla="*/ 55 h 1092"/>
                  <a:gd name="T4" fmla="*/ 1422 w 1502"/>
                  <a:gd name="T5" fmla="*/ 355 h 1092"/>
                  <a:gd name="T6" fmla="*/ 1256 w 1502"/>
                  <a:gd name="T7" fmla="*/ 355 h 1092"/>
                  <a:gd name="T8" fmla="*/ 1229 w 1502"/>
                  <a:gd name="T9" fmla="*/ 382 h 1092"/>
                  <a:gd name="T10" fmla="*/ 1256 w 1502"/>
                  <a:gd name="T11" fmla="*/ 410 h 1092"/>
                  <a:gd name="T12" fmla="*/ 1475 w 1502"/>
                  <a:gd name="T13" fmla="*/ 410 h 1092"/>
                  <a:gd name="T14" fmla="*/ 1477 w 1502"/>
                  <a:gd name="T15" fmla="*/ 409 h 1092"/>
                  <a:gd name="T16" fmla="*/ 1482 w 1502"/>
                  <a:gd name="T17" fmla="*/ 408 h 1092"/>
                  <a:gd name="T18" fmla="*/ 1487 w 1502"/>
                  <a:gd name="T19" fmla="*/ 406 h 1092"/>
                  <a:gd name="T20" fmla="*/ 1490 w 1502"/>
                  <a:gd name="T21" fmla="*/ 405 h 1092"/>
                  <a:gd name="T22" fmla="*/ 1492 w 1502"/>
                  <a:gd name="T23" fmla="*/ 403 h 1092"/>
                  <a:gd name="T24" fmla="*/ 1495 w 1502"/>
                  <a:gd name="T25" fmla="*/ 399 h 1092"/>
                  <a:gd name="T26" fmla="*/ 1498 w 1502"/>
                  <a:gd name="T27" fmla="*/ 395 h 1092"/>
                  <a:gd name="T28" fmla="*/ 1500 w 1502"/>
                  <a:gd name="T29" fmla="*/ 390 h 1092"/>
                  <a:gd name="T30" fmla="*/ 1501 w 1502"/>
                  <a:gd name="T31" fmla="*/ 385 h 1092"/>
                  <a:gd name="T32" fmla="*/ 1502 w 1502"/>
                  <a:gd name="T33" fmla="*/ 382 h 1092"/>
                  <a:gd name="T34" fmla="*/ 1502 w 1502"/>
                  <a:gd name="T35" fmla="*/ 164 h 1092"/>
                  <a:gd name="T36" fmla="*/ 1475 w 1502"/>
                  <a:gd name="T37" fmla="*/ 137 h 1092"/>
                  <a:gd name="T38" fmla="*/ 1447 w 1502"/>
                  <a:gd name="T39" fmla="*/ 164 h 1092"/>
                  <a:gd name="T40" fmla="*/ 1447 w 1502"/>
                  <a:gd name="T41" fmla="*/ 300 h 1092"/>
                  <a:gd name="T42" fmla="*/ 819 w 1502"/>
                  <a:gd name="T43" fmla="*/ 0 h 1092"/>
                  <a:gd name="T44" fmla="*/ 0 w 1502"/>
                  <a:gd name="T45" fmla="*/ 819 h 1092"/>
                  <a:gd name="T46" fmla="*/ 40 w 1502"/>
                  <a:gd name="T47" fmla="*/ 1073 h 1092"/>
                  <a:gd name="T48" fmla="*/ 66 w 1502"/>
                  <a:gd name="T49" fmla="*/ 1092 h 1092"/>
                  <a:gd name="T50" fmla="*/ 75 w 1502"/>
                  <a:gd name="T51" fmla="*/ 1091 h 1092"/>
                  <a:gd name="T52" fmla="*/ 92 w 1502"/>
                  <a:gd name="T53" fmla="*/ 1056 h 1092"/>
                  <a:gd name="T54" fmla="*/ 55 w 1502"/>
                  <a:gd name="T55" fmla="*/ 819 h 1092"/>
                  <a:gd name="T56" fmla="*/ 55 w 1502"/>
                  <a:gd name="T57" fmla="*/ 819 h 1092"/>
                  <a:gd name="T58" fmla="*/ 55 w 1502"/>
                  <a:gd name="T59" fmla="*/ 819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02" h="1092">
                    <a:moveTo>
                      <a:pt x="55" y="819"/>
                    </a:moveTo>
                    <a:cubicBezTo>
                      <a:pt x="55" y="398"/>
                      <a:pt x="398" y="55"/>
                      <a:pt x="819" y="55"/>
                    </a:cubicBezTo>
                    <a:cubicBezTo>
                      <a:pt x="1056" y="55"/>
                      <a:pt x="1277" y="166"/>
                      <a:pt x="1422" y="355"/>
                    </a:cubicBezTo>
                    <a:cubicBezTo>
                      <a:pt x="1256" y="355"/>
                      <a:pt x="1256" y="355"/>
                      <a:pt x="1256" y="355"/>
                    </a:cubicBezTo>
                    <a:cubicBezTo>
                      <a:pt x="1241" y="355"/>
                      <a:pt x="1229" y="367"/>
                      <a:pt x="1229" y="382"/>
                    </a:cubicBezTo>
                    <a:cubicBezTo>
                      <a:pt x="1229" y="397"/>
                      <a:pt x="1241" y="410"/>
                      <a:pt x="1256" y="410"/>
                    </a:cubicBezTo>
                    <a:cubicBezTo>
                      <a:pt x="1475" y="410"/>
                      <a:pt x="1475" y="410"/>
                      <a:pt x="1475" y="410"/>
                    </a:cubicBezTo>
                    <a:cubicBezTo>
                      <a:pt x="1475" y="410"/>
                      <a:pt x="1476" y="409"/>
                      <a:pt x="1477" y="409"/>
                    </a:cubicBezTo>
                    <a:cubicBezTo>
                      <a:pt x="1479" y="409"/>
                      <a:pt x="1481" y="409"/>
                      <a:pt x="1482" y="408"/>
                    </a:cubicBezTo>
                    <a:cubicBezTo>
                      <a:pt x="1484" y="407"/>
                      <a:pt x="1486" y="407"/>
                      <a:pt x="1487" y="406"/>
                    </a:cubicBezTo>
                    <a:cubicBezTo>
                      <a:pt x="1488" y="406"/>
                      <a:pt x="1489" y="406"/>
                      <a:pt x="1490" y="405"/>
                    </a:cubicBezTo>
                    <a:cubicBezTo>
                      <a:pt x="1490" y="405"/>
                      <a:pt x="1491" y="404"/>
                      <a:pt x="1492" y="403"/>
                    </a:cubicBezTo>
                    <a:cubicBezTo>
                      <a:pt x="1493" y="402"/>
                      <a:pt x="1494" y="401"/>
                      <a:pt x="1495" y="399"/>
                    </a:cubicBezTo>
                    <a:cubicBezTo>
                      <a:pt x="1497" y="398"/>
                      <a:pt x="1498" y="397"/>
                      <a:pt x="1498" y="395"/>
                    </a:cubicBezTo>
                    <a:cubicBezTo>
                      <a:pt x="1499" y="394"/>
                      <a:pt x="1500" y="392"/>
                      <a:pt x="1500" y="390"/>
                    </a:cubicBezTo>
                    <a:cubicBezTo>
                      <a:pt x="1501" y="389"/>
                      <a:pt x="1501" y="387"/>
                      <a:pt x="1501" y="385"/>
                    </a:cubicBezTo>
                    <a:cubicBezTo>
                      <a:pt x="1501" y="384"/>
                      <a:pt x="1502" y="383"/>
                      <a:pt x="1502" y="382"/>
                    </a:cubicBezTo>
                    <a:cubicBezTo>
                      <a:pt x="1502" y="164"/>
                      <a:pt x="1502" y="164"/>
                      <a:pt x="1502" y="164"/>
                    </a:cubicBezTo>
                    <a:cubicBezTo>
                      <a:pt x="1502" y="149"/>
                      <a:pt x="1490" y="137"/>
                      <a:pt x="1475" y="137"/>
                    </a:cubicBezTo>
                    <a:cubicBezTo>
                      <a:pt x="1459" y="137"/>
                      <a:pt x="1447" y="149"/>
                      <a:pt x="1447" y="164"/>
                    </a:cubicBezTo>
                    <a:cubicBezTo>
                      <a:pt x="1447" y="300"/>
                      <a:pt x="1447" y="300"/>
                      <a:pt x="1447" y="300"/>
                    </a:cubicBezTo>
                    <a:cubicBezTo>
                      <a:pt x="1293" y="111"/>
                      <a:pt x="1064" y="0"/>
                      <a:pt x="819" y="0"/>
                    </a:cubicBezTo>
                    <a:cubicBezTo>
                      <a:pt x="368" y="0"/>
                      <a:pt x="0" y="367"/>
                      <a:pt x="0" y="819"/>
                    </a:cubicBezTo>
                    <a:cubicBezTo>
                      <a:pt x="0" y="906"/>
                      <a:pt x="14" y="992"/>
                      <a:pt x="40" y="1073"/>
                    </a:cubicBezTo>
                    <a:cubicBezTo>
                      <a:pt x="44" y="1085"/>
                      <a:pt x="55" y="1092"/>
                      <a:pt x="66" y="1092"/>
                    </a:cubicBezTo>
                    <a:cubicBezTo>
                      <a:pt x="69" y="1092"/>
                      <a:pt x="72" y="1092"/>
                      <a:pt x="75" y="1091"/>
                    </a:cubicBezTo>
                    <a:cubicBezTo>
                      <a:pt x="89" y="1086"/>
                      <a:pt x="97" y="1071"/>
                      <a:pt x="92" y="1056"/>
                    </a:cubicBezTo>
                    <a:cubicBezTo>
                      <a:pt x="67" y="980"/>
                      <a:pt x="55" y="900"/>
                      <a:pt x="55" y="819"/>
                    </a:cubicBezTo>
                    <a:close/>
                    <a:moveTo>
                      <a:pt x="55" y="819"/>
                    </a:moveTo>
                    <a:cubicBezTo>
                      <a:pt x="55" y="819"/>
                      <a:pt x="55" y="819"/>
                      <a:pt x="55" y="8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Freeform 8">
                <a:extLst>
                  <a:ext uri="{FF2B5EF4-FFF2-40B4-BE49-F238E27FC236}">
                    <a16:creationId xmlns:a16="http://schemas.microsoft.com/office/drawing/2014/main" id="{0A203C35-5A6A-48DB-959C-CA17356A178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266" y="958"/>
                <a:ext cx="3546" cy="2598"/>
              </a:xfrm>
              <a:custGeom>
                <a:avLst/>
                <a:gdLst>
                  <a:gd name="T0" fmla="*/ 1460 w 1501"/>
                  <a:gd name="T1" fmla="*/ 22 h 1100"/>
                  <a:gd name="T2" fmla="*/ 1425 w 1501"/>
                  <a:gd name="T3" fmla="*/ 5 h 1100"/>
                  <a:gd name="T4" fmla="*/ 1408 w 1501"/>
                  <a:gd name="T5" fmla="*/ 40 h 1100"/>
                  <a:gd name="T6" fmla="*/ 1447 w 1501"/>
                  <a:gd name="T7" fmla="*/ 281 h 1100"/>
                  <a:gd name="T8" fmla="*/ 682 w 1501"/>
                  <a:gd name="T9" fmla="*/ 1046 h 1100"/>
                  <a:gd name="T10" fmla="*/ 80 w 1501"/>
                  <a:gd name="T11" fmla="*/ 745 h 1100"/>
                  <a:gd name="T12" fmla="*/ 245 w 1501"/>
                  <a:gd name="T13" fmla="*/ 745 h 1100"/>
                  <a:gd name="T14" fmla="*/ 273 w 1501"/>
                  <a:gd name="T15" fmla="*/ 718 h 1100"/>
                  <a:gd name="T16" fmla="*/ 245 w 1501"/>
                  <a:gd name="T17" fmla="*/ 691 h 1100"/>
                  <a:gd name="T18" fmla="*/ 27 w 1501"/>
                  <a:gd name="T19" fmla="*/ 691 h 1100"/>
                  <a:gd name="T20" fmla="*/ 24 w 1501"/>
                  <a:gd name="T21" fmla="*/ 691 h 1100"/>
                  <a:gd name="T22" fmla="*/ 19 w 1501"/>
                  <a:gd name="T23" fmla="*/ 692 h 1100"/>
                  <a:gd name="T24" fmla="*/ 14 w 1501"/>
                  <a:gd name="T25" fmla="*/ 694 h 1100"/>
                  <a:gd name="T26" fmla="*/ 12 w 1501"/>
                  <a:gd name="T27" fmla="*/ 695 h 1100"/>
                  <a:gd name="T28" fmla="*/ 10 w 1501"/>
                  <a:gd name="T29" fmla="*/ 697 h 1100"/>
                  <a:gd name="T30" fmla="*/ 6 w 1501"/>
                  <a:gd name="T31" fmla="*/ 701 h 1100"/>
                  <a:gd name="T32" fmla="*/ 3 w 1501"/>
                  <a:gd name="T33" fmla="*/ 705 h 1100"/>
                  <a:gd name="T34" fmla="*/ 1 w 1501"/>
                  <a:gd name="T35" fmla="*/ 710 h 1100"/>
                  <a:gd name="T36" fmla="*/ 0 w 1501"/>
                  <a:gd name="T37" fmla="*/ 716 h 1100"/>
                  <a:gd name="T38" fmla="*/ 0 w 1501"/>
                  <a:gd name="T39" fmla="*/ 718 h 1100"/>
                  <a:gd name="T40" fmla="*/ 0 w 1501"/>
                  <a:gd name="T41" fmla="*/ 937 h 1100"/>
                  <a:gd name="T42" fmla="*/ 27 w 1501"/>
                  <a:gd name="T43" fmla="*/ 964 h 1100"/>
                  <a:gd name="T44" fmla="*/ 54 w 1501"/>
                  <a:gd name="T45" fmla="*/ 937 h 1100"/>
                  <a:gd name="T46" fmla="*/ 54 w 1501"/>
                  <a:gd name="T47" fmla="*/ 800 h 1100"/>
                  <a:gd name="T48" fmla="*/ 682 w 1501"/>
                  <a:gd name="T49" fmla="*/ 1100 h 1100"/>
                  <a:gd name="T50" fmla="*/ 1501 w 1501"/>
                  <a:gd name="T51" fmla="*/ 281 h 1100"/>
                  <a:gd name="T52" fmla="*/ 1460 w 1501"/>
                  <a:gd name="T53" fmla="*/ 22 h 1100"/>
                  <a:gd name="T54" fmla="*/ 1460 w 1501"/>
                  <a:gd name="T55" fmla="*/ 22 h 1100"/>
                  <a:gd name="T56" fmla="*/ 1460 w 1501"/>
                  <a:gd name="T57" fmla="*/ 22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01" h="1100">
                    <a:moveTo>
                      <a:pt x="1460" y="22"/>
                    </a:moveTo>
                    <a:cubicBezTo>
                      <a:pt x="1455" y="8"/>
                      <a:pt x="1440" y="0"/>
                      <a:pt x="1425" y="5"/>
                    </a:cubicBezTo>
                    <a:cubicBezTo>
                      <a:pt x="1411" y="10"/>
                      <a:pt x="1403" y="25"/>
                      <a:pt x="1408" y="40"/>
                    </a:cubicBezTo>
                    <a:cubicBezTo>
                      <a:pt x="1434" y="117"/>
                      <a:pt x="1447" y="199"/>
                      <a:pt x="1447" y="281"/>
                    </a:cubicBezTo>
                    <a:cubicBezTo>
                      <a:pt x="1447" y="703"/>
                      <a:pt x="1104" y="1046"/>
                      <a:pt x="682" y="1046"/>
                    </a:cubicBezTo>
                    <a:cubicBezTo>
                      <a:pt x="446" y="1046"/>
                      <a:pt x="224" y="934"/>
                      <a:pt x="80" y="745"/>
                    </a:cubicBezTo>
                    <a:cubicBezTo>
                      <a:pt x="245" y="745"/>
                      <a:pt x="245" y="745"/>
                      <a:pt x="245" y="745"/>
                    </a:cubicBezTo>
                    <a:cubicBezTo>
                      <a:pt x="260" y="745"/>
                      <a:pt x="273" y="733"/>
                      <a:pt x="273" y="718"/>
                    </a:cubicBezTo>
                    <a:cubicBezTo>
                      <a:pt x="273" y="703"/>
                      <a:pt x="260" y="691"/>
                      <a:pt x="245" y="691"/>
                    </a:cubicBezTo>
                    <a:cubicBezTo>
                      <a:pt x="27" y="691"/>
                      <a:pt x="27" y="691"/>
                      <a:pt x="27" y="691"/>
                    </a:cubicBezTo>
                    <a:cubicBezTo>
                      <a:pt x="26" y="691"/>
                      <a:pt x="25" y="691"/>
                      <a:pt x="24" y="691"/>
                    </a:cubicBezTo>
                    <a:cubicBezTo>
                      <a:pt x="23" y="691"/>
                      <a:pt x="21" y="692"/>
                      <a:pt x="19" y="692"/>
                    </a:cubicBezTo>
                    <a:cubicBezTo>
                      <a:pt x="17" y="693"/>
                      <a:pt x="16" y="694"/>
                      <a:pt x="14" y="694"/>
                    </a:cubicBezTo>
                    <a:cubicBezTo>
                      <a:pt x="13" y="695"/>
                      <a:pt x="12" y="695"/>
                      <a:pt x="12" y="695"/>
                    </a:cubicBezTo>
                    <a:cubicBezTo>
                      <a:pt x="11" y="696"/>
                      <a:pt x="11" y="697"/>
                      <a:pt x="10" y="697"/>
                    </a:cubicBezTo>
                    <a:cubicBezTo>
                      <a:pt x="8" y="698"/>
                      <a:pt x="7" y="700"/>
                      <a:pt x="6" y="701"/>
                    </a:cubicBezTo>
                    <a:cubicBezTo>
                      <a:pt x="5" y="702"/>
                      <a:pt x="4" y="704"/>
                      <a:pt x="3" y="705"/>
                    </a:cubicBezTo>
                    <a:cubicBezTo>
                      <a:pt x="2" y="707"/>
                      <a:pt x="2" y="708"/>
                      <a:pt x="1" y="710"/>
                    </a:cubicBezTo>
                    <a:cubicBezTo>
                      <a:pt x="1" y="712"/>
                      <a:pt x="0" y="714"/>
                      <a:pt x="0" y="716"/>
                    </a:cubicBezTo>
                    <a:cubicBezTo>
                      <a:pt x="0" y="716"/>
                      <a:pt x="0" y="717"/>
                      <a:pt x="0" y="718"/>
                    </a:cubicBezTo>
                    <a:cubicBezTo>
                      <a:pt x="0" y="937"/>
                      <a:pt x="0" y="937"/>
                      <a:pt x="0" y="937"/>
                    </a:cubicBezTo>
                    <a:cubicBezTo>
                      <a:pt x="0" y="952"/>
                      <a:pt x="12" y="964"/>
                      <a:pt x="27" y="964"/>
                    </a:cubicBezTo>
                    <a:cubicBezTo>
                      <a:pt x="42" y="964"/>
                      <a:pt x="54" y="952"/>
                      <a:pt x="54" y="937"/>
                    </a:cubicBezTo>
                    <a:cubicBezTo>
                      <a:pt x="54" y="800"/>
                      <a:pt x="54" y="800"/>
                      <a:pt x="54" y="800"/>
                    </a:cubicBezTo>
                    <a:cubicBezTo>
                      <a:pt x="209" y="989"/>
                      <a:pt x="438" y="1100"/>
                      <a:pt x="682" y="1100"/>
                    </a:cubicBezTo>
                    <a:cubicBezTo>
                      <a:pt x="1134" y="1100"/>
                      <a:pt x="1501" y="733"/>
                      <a:pt x="1501" y="281"/>
                    </a:cubicBezTo>
                    <a:cubicBezTo>
                      <a:pt x="1501" y="193"/>
                      <a:pt x="1487" y="106"/>
                      <a:pt x="1460" y="22"/>
                    </a:cubicBezTo>
                    <a:close/>
                    <a:moveTo>
                      <a:pt x="1460" y="22"/>
                    </a:moveTo>
                    <a:cubicBezTo>
                      <a:pt x="1460" y="22"/>
                      <a:pt x="1460" y="22"/>
                      <a:pt x="1460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9" name="Gruppieren 118">
              <a:extLst>
                <a:ext uri="{FF2B5EF4-FFF2-40B4-BE49-F238E27FC236}">
                  <a16:creationId xmlns:a16="http://schemas.microsoft.com/office/drawing/2014/main" id="{792A4135-1553-490D-BF84-E30CEDDB5B38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 bwMode="gray">
            <a:xfrm>
              <a:off x="1271086" y="3131269"/>
              <a:ext cx="156084" cy="186743"/>
              <a:chOff x="-506413" y="3382963"/>
              <a:chExt cx="1339851" cy="1457325"/>
            </a:xfrm>
          </p:grpSpPr>
          <p:sp>
            <p:nvSpPr>
              <p:cNvPr id="120" name="Freeform 13">
                <a:extLst>
                  <a:ext uri="{FF2B5EF4-FFF2-40B4-BE49-F238E27FC236}">
                    <a16:creationId xmlns:a16="http://schemas.microsoft.com/office/drawing/2014/main" id="{611255C9-94F4-4D48-9728-B03EB66E03F0}"/>
                  </a:ext>
                </a:extLst>
              </p:cNvPr>
              <p:cNvSpPr>
                <a:spLocks noEditPoint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-506413" y="4057650"/>
                <a:ext cx="1339851" cy="782638"/>
              </a:xfrm>
              <a:custGeom>
                <a:avLst/>
                <a:gdLst>
                  <a:gd name="T0" fmla="*/ 299 w 357"/>
                  <a:gd name="T1" fmla="*/ 45 h 209"/>
                  <a:gd name="T2" fmla="*/ 195 w 357"/>
                  <a:gd name="T3" fmla="*/ 0 h 209"/>
                  <a:gd name="T4" fmla="*/ 189 w 357"/>
                  <a:gd name="T5" fmla="*/ 2 h 209"/>
                  <a:gd name="T6" fmla="*/ 185 w 357"/>
                  <a:gd name="T7" fmla="*/ 6 h 209"/>
                  <a:gd name="T8" fmla="*/ 178 w 357"/>
                  <a:gd name="T9" fmla="*/ 12 h 209"/>
                  <a:gd name="T10" fmla="*/ 178 w 357"/>
                  <a:gd name="T11" fmla="*/ 12 h 209"/>
                  <a:gd name="T12" fmla="*/ 171 w 357"/>
                  <a:gd name="T13" fmla="*/ 6 h 209"/>
                  <a:gd name="T14" fmla="*/ 168 w 357"/>
                  <a:gd name="T15" fmla="*/ 2 h 209"/>
                  <a:gd name="T16" fmla="*/ 162 w 357"/>
                  <a:gd name="T17" fmla="*/ 0 h 209"/>
                  <a:gd name="T18" fmla="*/ 58 w 357"/>
                  <a:gd name="T19" fmla="*/ 45 h 209"/>
                  <a:gd name="T20" fmla="*/ 46 w 357"/>
                  <a:gd name="T21" fmla="*/ 206 h 209"/>
                  <a:gd name="T22" fmla="*/ 52 w 357"/>
                  <a:gd name="T23" fmla="*/ 209 h 209"/>
                  <a:gd name="T24" fmla="*/ 305 w 357"/>
                  <a:gd name="T25" fmla="*/ 209 h 209"/>
                  <a:gd name="T26" fmla="*/ 311 w 357"/>
                  <a:gd name="T27" fmla="*/ 206 h 209"/>
                  <a:gd name="T28" fmla="*/ 299 w 357"/>
                  <a:gd name="T29" fmla="*/ 45 h 209"/>
                  <a:gd name="T30" fmla="*/ 193 w 357"/>
                  <a:gd name="T31" fmla="*/ 148 h 209"/>
                  <a:gd name="T32" fmla="*/ 192 w 357"/>
                  <a:gd name="T33" fmla="*/ 151 h 209"/>
                  <a:gd name="T34" fmla="*/ 184 w 357"/>
                  <a:gd name="T35" fmla="*/ 167 h 209"/>
                  <a:gd name="T36" fmla="*/ 178 w 357"/>
                  <a:gd name="T37" fmla="*/ 170 h 209"/>
                  <a:gd name="T38" fmla="*/ 173 w 357"/>
                  <a:gd name="T39" fmla="*/ 167 h 209"/>
                  <a:gd name="T40" fmla="*/ 164 w 357"/>
                  <a:gd name="T41" fmla="*/ 151 h 209"/>
                  <a:gd name="T42" fmla="*/ 164 w 357"/>
                  <a:gd name="T43" fmla="*/ 148 h 209"/>
                  <a:gd name="T44" fmla="*/ 160 w 357"/>
                  <a:gd name="T45" fmla="*/ 32 h 209"/>
                  <a:gd name="T46" fmla="*/ 163 w 357"/>
                  <a:gd name="T47" fmla="*/ 27 h 209"/>
                  <a:gd name="T48" fmla="*/ 175 w 357"/>
                  <a:gd name="T49" fmla="*/ 18 h 209"/>
                  <a:gd name="T50" fmla="*/ 182 w 357"/>
                  <a:gd name="T51" fmla="*/ 18 h 209"/>
                  <a:gd name="T52" fmla="*/ 194 w 357"/>
                  <a:gd name="T53" fmla="*/ 27 h 209"/>
                  <a:gd name="T54" fmla="*/ 196 w 357"/>
                  <a:gd name="T55" fmla="*/ 32 h 209"/>
                  <a:gd name="T56" fmla="*/ 193 w 357"/>
                  <a:gd name="T57" fmla="*/ 14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7" h="209">
                    <a:moveTo>
                      <a:pt x="299" y="45"/>
                    </a:moveTo>
                    <a:cubicBezTo>
                      <a:pt x="284" y="21"/>
                      <a:pt x="245" y="4"/>
                      <a:pt x="195" y="0"/>
                    </a:cubicBezTo>
                    <a:cubicBezTo>
                      <a:pt x="193" y="0"/>
                      <a:pt x="191" y="1"/>
                      <a:pt x="189" y="2"/>
                    </a:cubicBezTo>
                    <a:cubicBezTo>
                      <a:pt x="188" y="3"/>
                      <a:pt x="187" y="5"/>
                      <a:pt x="185" y="6"/>
                    </a:cubicBezTo>
                    <a:cubicBezTo>
                      <a:pt x="183" y="9"/>
                      <a:pt x="181" y="12"/>
                      <a:pt x="178" y="12"/>
                    </a:cubicBezTo>
                    <a:cubicBezTo>
                      <a:pt x="178" y="12"/>
                      <a:pt x="178" y="12"/>
                      <a:pt x="178" y="12"/>
                    </a:cubicBezTo>
                    <a:cubicBezTo>
                      <a:pt x="176" y="12"/>
                      <a:pt x="174" y="9"/>
                      <a:pt x="171" y="6"/>
                    </a:cubicBezTo>
                    <a:cubicBezTo>
                      <a:pt x="170" y="5"/>
                      <a:pt x="169" y="3"/>
                      <a:pt x="168" y="2"/>
                    </a:cubicBezTo>
                    <a:cubicBezTo>
                      <a:pt x="166" y="1"/>
                      <a:pt x="164" y="0"/>
                      <a:pt x="162" y="0"/>
                    </a:cubicBezTo>
                    <a:cubicBezTo>
                      <a:pt x="112" y="4"/>
                      <a:pt x="73" y="21"/>
                      <a:pt x="58" y="45"/>
                    </a:cubicBezTo>
                    <a:cubicBezTo>
                      <a:pt x="55" y="49"/>
                      <a:pt x="0" y="148"/>
                      <a:pt x="46" y="206"/>
                    </a:cubicBezTo>
                    <a:cubicBezTo>
                      <a:pt x="47" y="208"/>
                      <a:pt x="49" y="209"/>
                      <a:pt x="52" y="209"/>
                    </a:cubicBezTo>
                    <a:cubicBezTo>
                      <a:pt x="305" y="209"/>
                      <a:pt x="305" y="209"/>
                      <a:pt x="305" y="209"/>
                    </a:cubicBezTo>
                    <a:cubicBezTo>
                      <a:pt x="307" y="209"/>
                      <a:pt x="309" y="208"/>
                      <a:pt x="311" y="206"/>
                    </a:cubicBezTo>
                    <a:cubicBezTo>
                      <a:pt x="357" y="148"/>
                      <a:pt x="299" y="46"/>
                      <a:pt x="299" y="45"/>
                    </a:cubicBezTo>
                    <a:close/>
                    <a:moveTo>
                      <a:pt x="193" y="148"/>
                    </a:moveTo>
                    <a:cubicBezTo>
                      <a:pt x="193" y="149"/>
                      <a:pt x="193" y="150"/>
                      <a:pt x="192" y="151"/>
                    </a:cubicBezTo>
                    <a:cubicBezTo>
                      <a:pt x="184" y="167"/>
                      <a:pt x="184" y="167"/>
                      <a:pt x="184" y="167"/>
                    </a:cubicBezTo>
                    <a:cubicBezTo>
                      <a:pt x="182" y="169"/>
                      <a:pt x="180" y="170"/>
                      <a:pt x="178" y="170"/>
                    </a:cubicBezTo>
                    <a:cubicBezTo>
                      <a:pt x="176" y="170"/>
                      <a:pt x="174" y="169"/>
                      <a:pt x="173" y="167"/>
                    </a:cubicBezTo>
                    <a:cubicBezTo>
                      <a:pt x="164" y="151"/>
                      <a:pt x="164" y="151"/>
                      <a:pt x="164" y="151"/>
                    </a:cubicBezTo>
                    <a:cubicBezTo>
                      <a:pt x="164" y="150"/>
                      <a:pt x="164" y="149"/>
                      <a:pt x="164" y="148"/>
                    </a:cubicBezTo>
                    <a:cubicBezTo>
                      <a:pt x="160" y="32"/>
                      <a:pt x="160" y="32"/>
                      <a:pt x="160" y="32"/>
                    </a:cubicBezTo>
                    <a:cubicBezTo>
                      <a:pt x="160" y="30"/>
                      <a:pt x="161" y="28"/>
                      <a:pt x="163" y="27"/>
                    </a:cubicBezTo>
                    <a:cubicBezTo>
                      <a:pt x="175" y="18"/>
                      <a:pt x="175" y="18"/>
                      <a:pt x="175" y="18"/>
                    </a:cubicBezTo>
                    <a:cubicBezTo>
                      <a:pt x="177" y="17"/>
                      <a:pt x="180" y="17"/>
                      <a:pt x="182" y="18"/>
                    </a:cubicBezTo>
                    <a:cubicBezTo>
                      <a:pt x="194" y="27"/>
                      <a:pt x="194" y="27"/>
                      <a:pt x="194" y="27"/>
                    </a:cubicBezTo>
                    <a:cubicBezTo>
                      <a:pt x="195" y="28"/>
                      <a:pt x="196" y="30"/>
                      <a:pt x="196" y="32"/>
                    </a:cubicBezTo>
                    <a:lnTo>
                      <a:pt x="193" y="148"/>
                    </a:lnTo>
                    <a:close/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Oval 14">
                <a:extLst>
                  <a:ext uri="{FF2B5EF4-FFF2-40B4-BE49-F238E27FC236}">
                    <a16:creationId xmlns:a16="http://schemas.microsoft.com/office/drawing/2014/main" id="{A14DCC28-E6FD-42A1-A188-5512E3EF29C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160337" y="3382963"/>
                <a:ext cx="638175" cy="636588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B3569C-C7AB-4B94-9DC7-B174EB722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858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0 L 0.02361 0 " pathEditMode="relative" rAng="0" ptsTypes="AA">
                                      <p:cBhvr>
                                        <p:cTn id="6" dur="10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81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decel="100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69" grpId="0"/>
      <p:bldP spid="8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2F09CF2-53EE-423E-8362-5E8DCF3CD3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351058DC-CADA-404C-8BF6-926BB26EEBED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554636" y="0"/>
            <a:ext cx="9695735" cy="5457314"/>
            <a:chOff x="-554636" y="2376"/>
            <a:chExt cx="9695735" cy="5457314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E15FA800-900E-4018-9C80-4A59BBC46F7F}"/>
                </a:ext>
              </a:extLst>
            </p:cNvPr>
            <p:cNvPicPr>
              <a:picLocks noChangeAspect="1"/>
            </p:cNvPicPr>
            <p:nvPr>
              <p:custDataLst>
                <p:tags r:id="rId32"/>
              </p:custDataLst>
            </p:nvPr>
          </p:nvPicPr>
          <p:blipFill>
            <a:blip r:embed="rId37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977B934B-BFE0-4FEB-8B81-F264E9E198E5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A599BB36-F6E8-408B-8273-DB863304BC1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9188292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44000"/>
                </a:schemeClr>
              </a:gs>
              <a:gs pos="79000">
                <a:schemeClr val="bg1">
                  <a:alpha val="14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lt1">
                    <a:alpha val="0"/>
                  </a:schemeClr>
                </a:solidFill>
              </a:rPr>
              <a:t>1</a:t>
            </a:r>
            <a:endParaRPr lang="en-GB" dirty="0">
              <a:solidFill>
                <a:schemeClr val="lt1">
                  <a:alpha val="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5BB5972-6290-4377-8C76-11C8D55C625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699793" y="3687862"/>
            <a:ext cx="5975896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2800" b="1" dirty="0">
                <a:solidFill>
                  <a:schemeClr val="tx1"/>
                </a:solidFill>
              </a:rPr>
              <a:t>TECHEM’S</a:t>
            </a:r>
            <a:br>
              <a:rPr lang="en-GB" sz="2800" b="1" dirty="0">
                <a:solidFill>
                  <a:schemeClr val="tx1"/>
                </a:solidFill>
              </a:rPr>
            </a:br>
            <a:r>
              <a:rPr lang="en-GB" sz="2800" b="1" dirty="0">
                <a:solidFill>
                  <a:schemeClr val="tx1"/>
                </a:solidFill>
              </a:rPr>
              <a:t>HOLISTIC APPROAC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7346F9-5B17-4756-8C04-07BC6F290D0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7088467" y="2936856"/>
            <a:ext cx="1679047" cy="900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7200" b="1" dirty="0">
                <a:solidFill>
                  <a:schemeClr val="tx1"/>
                </a:solidFill>
              </a:rPr>
              <a:t>02</a:t>
            </a:r>
          </a:p>
        </p:txBody>
      </p:sp>
      <p:sp>
        <p:nvSpPr>
          <p:cNvPr id="28" name="Fußzeilenplatzhalter 1">
            <a:extLst>
              <a:ext uri="{FF2B5EF4-FFF2-40B4-BE49-F238E27FC236}">
                <a16:creationId xmlns:a16="http://schemas.microsoft.com/office/drawing/2014/main" id="{1D50AC14-D8AE-4ED1-8927-1FF5FAFEA1D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600">
                <a:solidFill>
                  <a:schemeClr val="accent6"/>
                </a:solidFill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TECHEM – THE SERVICE PARTNER FOR GREEN AND SMART BUILDING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71" name="Grafik 80">
            <a:extLst>
              <a:ext uri="{FF2B5EF4-FFF2-40B4-BE49-F238E27FC236}">
                <a16:creationId xmlns:a16="http://schemas.microsoft.com/office/drawing/2014/main" id="{A5F204A8-EDFA-453B-9402-EFC072E55A1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4" t="43525" r="5462" b="746"/>
          <a:stretch/>
        </p:blipFill>
        <p:spPr bwMode="gray">
          <a:xfrm>
            <a:off x="-12773583" y="0"/>
            <a:ext cx="12775110" cy="5143500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F3B4B66B-89C8-4D20-9803-72422CFC7892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-9810831" y="0"/>
            <a:ext cx="9695735" cy="5457314"/>
            <a:chOff x="-554636" y="2376"/>
            <a:chExt cx="9695735" cy="5457314"/>
          </a:xfrm>
        </p:grpSpPr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3E5E0F88-52CF-4956-A755-86CC8BF98C83}"/>
                </a:ext>
              </a:extLst>
            </p:cNvPr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37">
              <a:biLevel thresh="50000"/>
              <a:alphaModFix amt="2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-554636" y="2376"/>
              <a:ext cx="9695735" cy="5457314"/>
            </a:xfrm>
            <a:prstGeom prst="rect">
              <a:avLst/>
            </a:prstGeom>
          </p:spPr>
        </p:pic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1363762-212A-4693-91D5-D654CEA13B71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-542838" y="2861668"/>
              <a:ext cx="438337" cy="43016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5" name="Rectangle 14">
            <a:extLst>
              <a:ext uri="{FF2B5EF4-FFF2-40B4-BE49-F238E27FC236}">
                <a16:creationId xmlns:a16="http://schemas.microsoft.com/office/drawing/2014/main" id="{0D105E08-56AF-4A42-ACA2-94F844CC9EF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-9140727" y="0"/>
            <a:ext cx="9142254" cy="5143500"/>
          </a:xfrm>
          <a:prstGeom prst="rect">
            <a:avLst/>
          </a:prstGeom>
          <a:gradFill flip="none" rotWithShape="1">
            <a:gsLst>
              <a:gs pos="17000">
                <a:schemeClr val="bg1">
                  <a:alpha val="71000"/>
                </a:schemeClr>
              </a:gs>
              <a:gs pos="79000">
                <a:schemeClr val="bg1">
                  <a:alpha val="14000"/>
                </a:schemeClr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C1CCC91-5F07-4EF8-8F45-81C8558C7A36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-8243184" y="555526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3200" b="1" dirty="0">
                <a:solidFill>
                  <a:schemeClr val="tx1"/>
                </a:solidFill>
              </a:rPr>
              <a:t>THE STRATEGY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BBF3319-15E8-4F19-99A8-19B8589ACF2F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-8228895" y="1131590"/>
            <a:ext cx="8207376" cy="410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GB" sz="1800" dirty="0">
                <a:solidFill>
                  <a:schemeClr val="tx1"/>
                </a:solidFill>
              </a:rPr>
              <a:t>Taking advantage of digitalization to ...</a:t>
            </a:r>
          </a:p>
        </p:txBody>
      </p:sp>
      <p:sp>
        <p:nvSpPr>
          <p:cNvPr id="112" name="Textplatzhalter 6">
            <a:extLst>
              <a:ext uri="{FF2B5EF4-FFF2-40B4-BE49-F238E27FC236}">
                <a16:creationId xmlns:a16="http://schemas.microsoft.com/office/drawing/2014/main" id="{00BE20A9-2BCA-430D-992A-88E65D43405D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-8580186" y="118392"/>
            <a:ext cx="6788329" cy="252413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>
            <a:lvl1pPr marL="0" indent="-179992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17780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361950" indent="-18415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5397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717550" indent="-177800" algn="l" defTabSz="35998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85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kern="600"/>
              <a:t>01 Our response to the challenges</a:t>
            </a:r>
            <a:endParaRPr lang="en-GB" sz="1050" kern="600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28AA440-DC35-461D-9272-8D80D606141B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0" y="169186"/>
            <a:ext cx="9144000" cy="410650"/>
            <a:chOff x="0" y="169186"/>
            <a:chExt cx="9144000" cy="410650"/>
          </a:xfrm>
        </p:grpSpPr>
        <p:sp>
          <p:nvSpPr>
            <p:cNvPr id="66" name="Rechteck 12">
              <a:extLst>
                <a:ext uri="{FF2B5EF4-FFF2-40B4-BE49-F238E27FC236}">
                  <a16:creationId xmlns:a16="http://schemas.microsoft.com/office/drawing/2014/main" id="{EBDC87C3-6ED1-4B80-9348-35AA8BFE7089}"/>
                </a:ext>
              </a:extLst>
            </p:cNvPr>
            <p:cNvSpPr/>
            <p:nvPr userDrawn="1"/>
          </p:nvSpPr>
          <p:spPr bwMode="gray">
            <a:xfrm>
              <a:off x="0" y="413263"/>
              <a:ext cx="9144000" cy="360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dirty="0"/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D7CDC43E-E9C9-48AE-8862-36D23DA20791}"/>
                </a:ext>
              </a:extLst>
            </p:cNvPr>
            <p:cNvGrpSpPr/>
            <p:nvPr userDrawn="1"/>
          </p:nvGrpSpPr>
          <p:grpSpPr bwMode="gray">
            <a:xfrm>
              <a:off x="7900818" y="169186"/>
              <a:ext cx="881232" cy="410650"/>
              <a:chOff x="7900818" y="169186"/>
              <a:chExt cx="881232" cy="410650"/>
            </a:xfrm>
          </p:grpSpPr>
          <p:sp>
            <p:nvSpPr>
              <p:cNvPr id="114" name="Rectangle 5">
                <a:extLst>
                  <a:ext uri="{FF2B5EF4-FFF2-40B4-BE49-F238E27FC236}">
                    <a16:creationId xmlns:a16="http://schemas.microsoft.com/office/drawing/2014/main" id="{13B1BDF1-E69C-423B-96F7-AFD443BD16D0}"/>
                  </a:ext>
                </a:extLst>
              </p:cNvPr>
              <p:cNvSpPr>
                <a:spLocks noChangeArrowheads="1"/>
              </p:cNvSpPr>
              <p:nvPr userDrawn="1">
                <p:custDataLst>
                  <p:tags r:id="rId28"/>
                </p:custDataLst>
              </p:nvPr>
            </p:nvSpPr>
            <p:spPr bwMode="gray">
              <a:xfrm>
                <a:off x="7900818" y="169186"/>
                <a:ext cx="881232" cy="4106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" dist="254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8B2AF2AC-933F-475F-BA86-FBECB1925FB5}"/>
                  </a:ext>
                </a:extLst>
              </p:cNvPr>
              <p:cNvGrpSpPr/>
              <p:nvPr userDrawn="1">
                <p:custDataLst>
                  <p:tags r:id="rId29"/>
                </p:custDataLst>
              </p:nvPr>
            </p:nvGrpSpPr>
            <p:grpSpPr bwMode="gray">
              <a:xfrm>
                <a:off x="8003295" y="259145"/>
                <a:ext cx="676276" cy="230730"/>
                <a:chOff x="7580313" y="338138"/>
                <a:chExt cx="944563" cy="322263"/>
              </a:xfrm>
            </p:grpSpPr>
            <p:sp>
              <p:nvSpPr>
                <p:cNvPr id="116" name="Freeform 6">
                  <a:extLst>
                    <a:ext uri="{FF2B5EF4-FFF2-40B4-BE49-F238E27FC236}">
                      <a16:creationId xmlns:a16="http://schemas.microsoft.com/office/drawing/2014/main" id="{9AD54475-303D-4789-A14D-53C99D79A015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555626"/>
                  <a:ext cx="466725" cy="104775"/>
                </a:xfrm>
                <a:custGeom>
                  <a:avLst/>
                  <a:gdLst>
                    <a:gd name="T0" fmla="*/ 0 w 3114"/>
                    <a:gd name="T1" fmla="*/ 6 h 696"/>
                    <a:gd name="T2" fmla="*/ 2452 w 3114"/>
                    <a:gd name="T3" fmla="*/ 6 h 696"/>
                    <a:gd name="T4" fmla="*/ 2730 w 3114"/>
                    <a:gd name="T5" fmla="*/ 71 h 696"/>
                    <a:gd name="T6" fmla="*/ 2999 w 3114"/>
                    <a:gd name="T7" fmla="*/ 323 h 696"/>
                    <a:gd name="T8" fmla="*/ 3082 w 3114"/>
                    <a:gd name="T9" fmla="*/ 523 h 696"/>
                    <a:gd name="T10" fmla="*/ 3111 w 3114"/>
                    <a:gd name="T11" fmla="*/ 696 h 696"/>
                    <a:gd name="T12" fmla="*/ 2887 w 3114"/>
                    <a:gd name="T13" fmla="*/ 463 h 696"/>
                    <a:gd name="T14" fmla="*/ 2325 w 3114"/>
                    <a:gd name="T15" fmla="*/ 353 h 696"/>
                    <a:gd name="T16" fmla="*/ 1588 w 3114"/>
                    <a:gd name="T17" fmla="*/ 352 h 696"/>
                    <a:gd name="T18" fmla="*/ 366 w 3114"/>
                    <a:gd name="T19" fmla="*/ 353 h 696"/>
                    <a:gd name="T20" fmla="*/ 241 w 3114"/>
                    <a:gd name="T21" fmla="*/ 338 h 696"/>
                    <a:gd name="T22" fmla="*/ 108 w 3114"/>
                    <a:gd name="T23" fmla="*/ 261 h 696"/>
                    <a:gd name="T24" fmla="*/ 25 w 3114"/>
                    <a:gd name="T25" fmla="*/ 130 h 696"/>
                    <a:gd name="T26" fmla="*/ 0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0" y="6"/>
                      </a:moveTo>
                      <a:lnTo>
                        <a:pt x="2452" y="6"/>
                      </a:lnTo>
                      <a:cubicBezTo>
                        <a:pt x="2452" y="6"/>
                        <a:pt x="2580" y="0"/>
                        <a:pt x="2730" y="71"/>
                      </a:cubicBezTo>
                      <a:cubicBezTo>
                        <a:pt x="2879" y="141"/>
                        <a:pt x="2959" y="256"/>
                        <a:pt x="2999" y="323"/>
                      </a:cubicBezTo>
                      <a:cubicBezTo>
                        <a:pt x="3019" y="356"/>
                        <a:pt x="3050" y="404"/>
                        <a:pt x="3082" y="523"/>
                      </a:cubicBezTo>
                      <a:cubicBezTo>
                        <a:pt x="3114" y="642"/>
                        <a:pt x="3111" y="696"/>
                        <a:pt x="3111" y="696"/>
                      </a:cubicBezTo>
                      <a:cubicBezTo>
                        <a:pt x="3111" y="696"/>
                        <a:pt x="3010" y="545"/>
                        <a:pt x="2887" y="463"/>
                      </a:cubicBezTo>
                      <a:cubicBezTo>
                        <a:pt x="2737" y="366"/>
                        <a:pt x="2550" y="351"/>
                        <a:pt x="2325" y="353"/>
                      </a:cubicBezTo>
                      <a:cubicBezTo>
                        <a:pt x="2107" y="353"/>
                        <a:pt x="1588" y="352"/>
                        <a:pt x="1588" y="352"/>
                      </a:cubicBezTo>
                      <a:lnTo>
                        <a:pt x="366" y="353"/>
                      </a:lnTo>
                      <a:cubicBezTo>
                        <a:pt x="366" y="353"/>
                        <a:pt x="298" y="357"/>
                        <a:pt x="241" y="338"/>
                      </a:cubicBezTo>
                      <a:cubicBezTo>
                        <a:pt x="184" y="319"/>
                        <a:pt x="158" y="307"/>
                        <a:pt x="108" y="261"/>
                      </a:cubicBezTo>
                      <a:cubicBezTo>
                        <a:pt x="63" y="218"/>
                        <a:pt x="34" y="154"/>
                        <a:pt x="25" y="130"/>
                      </a:cubicBezTo>
                      <a:cubicBezTo>
                        <a:pt x="8" y="78"/>
                        <a:pt x="2" y="44"/>
                        <a:pt x="0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Freeform 7">
                  <a:extLst>
                    <a:ext uri="{FF2B5EF4-FFF2-40B4-BE49-F238E27FC236}">
                      <a16:creationId xmlns:a16="http://schemas.microsoft.com/office/drawing/2014/main" id="{23521DFA-572D-47B0-80CF-A2F7FC3069B0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058150" y="555626"/>
                  <a:ext cx="466725" cy="104775"/>
                </a:xfrm>
                <a:custGeom>
                  <a:avLst/>
                  <a:gdLst>
                    <a:gd name="T0" fmla="*/ 3114 w 3114"/>
                    <a:gd name="T1" fmla="*/ 6 h 696"/>
                    <a:gd name="T2" fmla="*/ 662 w 3114"/>
                    <a:gd name="T3" fmla="*/ 6 h 696"/>
                    <a:gd name="T4" fmla="*/ 384 w 3114"/>
                    <a:gd name="T5" fmla="*/ 71 h 696"/>
                    <a:gd name="T6" fmla="*/ 115 w 3114"/>
                    <a:gd name="T7" fmla="*/ 323 h 696"/>
                    <a:gd name="T8" fmla="*/ 32 w 3114"/>
                    <a:gd name="T9" fmla="*/ 523 h 696"/>
                    <a:gd name="T10" fmla="*/ 3 w 3114"/>
                    <a:gd name="T11" fmla="*/ 696 h 696"/>
                    <a:gd name="T12" fmla="*/ 227 w 3114"/>
                    <a:gd name="T13" fmla="*/ 463 h 696"/>
                    <a:gd name="T14" fmla="*/ 789 w 3114"/>
                    <a:gd name="T15" fmla="*/ 353 h 696"/>
                    <a:gd name="T16" fmla="*/ 1526 w 3114"/>
                    <a:gd name="T17" fmla="*/ 352 h 696"/>
                    <a:gd name="T18" fmla="*/ 2748 w 3114"/>
                    <a:gd name="T19" fmla="*/ 353 h 696"/>
                    <a:gd name="T20" fmla="*/ 2873 w 3114"/>
                    <a:gd name="T21" fmla="*/ 338 h 696"/>
                    <a:gd name="T22" fmla="*/ 3005 w 3114"/>
                    <a:gd name="T23" fmla="*/ 261 h 696"/>
                    <a:gd name="T24" fmla="*/ 3089 w 3114"/>
                    <a:gd name="T25" fmla="*/ 130 h 696"/>
                    <a:gd name="T26" fmla="*/ 3114 w 3114"/>
                    <a:gd name="T27" fmla="*/ 6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14" h="696">
                      <a:moveTo>
                        <a:pt x="3114" y="6"/>
                      </a:moveTo>
                      <a:lnTo>
                        <a:pt x="662" y="6"/>
                      </a:lnTo>
                      <a:cubicBezTo>
                        <a:pt x="662" y="6"/>
                        <a:pt x="534" y="0"/>
                        <a:pt x="384" y="71"/>
                      </a:cubicBezTo>
                      <a:cubicBezTo>
                        <a:pt x="235" y="141"/>
                        <a:pt x="155" y="256"/>
                        <a:pt x="115" y="323"/>
                      </a:cubicBezTo>
                      <a:cubicBezTo>
                        <a:pt x="95" y="356"/>
                        <a:pt x="64" y="404"/>
                        <a:pt x="32" y="523"/>
                      </a:cubicBezTo>
                      <a:cubicBezTo>
                        <a:pt x="0" y="642"/>
                        <a:pt x="3" y="696"/>
                        <a:pt x="3" y="696"/>
                      </a:cubicBezTo>
                      <a:cubicBezTo>
                        <a:pt x="3" y="696"/>
                        <a:pt x="104" y="545"/>
                        <a:pt x="227" y="463"/>
                      </a:cubicBezTo>
                      <a:cubicBezTo>
                        <a:pt x="377" y="366"/>
                        <a:pt x="564" y="351"/>
                        <a:pt x="789" y="353"/>
                      </a:cubicBezTo>
                      <a:cubicBezTo>
                        <a:pt x="1007" y="353"/>
                        <a:pt x="1526" y="352"/>
                        <a:pt x="1526" y="352"/>
                      </a:cubicBezTo>
                      <a:lnTo>
                        <a:pt x="2748" y="353"/>
                      </a:lnTo>
                      <a:cubicBezTo>
                        <a:pt x="2748" y="353"/>
                        <a:pt x="2816" y="357"/>
                        <a:pt x="2873" y="338"/>
                      </a:cubicBezTo>
                      <a:cubicBezTo>
                        <a:pt x="2930" y="319"/>
                        <a:pt x="2956" y="307"/>
                        <a:pt x="3005" y="261"/>
                      </a:cubicBezTo>
                      <a:cubicBezTo>
                        <a:pt x="3051" y="218"/>
                        <a:pt x="3080" y="154"/>
                        <a:pt x="3089" y="130"/>
                      </a:cubicBezTo>
                      <a:cubicBezTo>
                        <a:pt x="3106" y="78"/>
                        <a:pt x="3112" y="44"/>
                        <a:pt x="3114" y="6"/>
                      </a:cubicBezTo>
                      <a:close/>
                    </a:path>
                  </a:pathLst>
                </a:custGeom>
                <a:solidFill>
                  <a:srgbClr val="E2051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8">
                  <a:extLst>
                    <a:ext uri="{FF2B5EF4-FFF2-40B4-BE49-F238E27FC236}">
                      <a16:creationId xmlns:a16="http://schemas.microsoft.com/office/drawing/2014/main" id="{C6E99BA6-EEAA-4257-ABD6-120E0782CD0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7694613" y="388938"/>
                  <a:ext cx="138113" cy="141288"/>
                </a:xfrm>
                <a:custGeom>
                  <a:avLst/>
                  <a:gdLst>
                    <a:gd name="T0" fmla="*/ 638 w 930"/>
                    <a:gd name="T1" fmla="*/ 381 h 937"/>
                    <a:gd name="T2" fmla="*/ 305 w 930"/>
                    <a:gd name="T3" fmla="*/ 381 h 937"/>
                    <a:gd name="T4" fmla="*/ 474 w 930"/>
                    <a:gd name="T5" fmla="*/ 182 h 937"/>
                    <a:gd name="T6" fmla="*/ 638 w 930"/>
                    <a:gd name="T7" fmla="*/ 381 h 937"/>
                    <a:gd name="T8" fmla="*/ 930 w 930"/>
                    <a:gd name="T9" fmla="*/ 513 h 937"/>
                    <a:gd name="T10" fmla="*/ 930 w 930"/>
                    <a:gd name="T11" fmla="*/ 513 h 937"/>
                    <a:gd name="T12" fmla="*/ 887 w 930"/>
                    <a:gd name="T13" fmla="*/ 227 h 937"/>
                    <a:gd name="T14" fmla="*/ 468 w 930"/>
                    <a:gd name="T15" fmla="*/ 0 h 937"/>
                    <a:gd name="T16" fmla="*/ 3 w 930"/>
                    <a:gd name="T17" fmla="*/ 482 h 937"/>
                    <a:gd name="T18" fmla="*/ 513 w 930"/>
                    <a:gd name="T19" fmla="*/ 922 h 937"/>
                    <a:gd name="T20" fmla="*/ 923 w 930"/>
                    <a:gd name="T21" fmla="*/ 780 h 937"/>
                    <a:gd name="T22" fmla="*/ 846 w 930"/>
                    <a:gd name="T23" fmla="*/ 650 h 937"/>
                    <a:gd name="T24" fmla="*/ 550 w 930"/>
                    <a:gd name="T25" fmla="*/ 746 h 937"/>
                    <a:gd name="T26" fmla="*/ 310 w 930"/>
                    <a:gd name="T27" fmla="*/ 513 h 937"/>
                    <a:gd name="T28" fmla="*/ 930 w 930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0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7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30" y="513"/>
                      </a:moveTo>
                      <a:lnTo>
                        <a:pt x="930" y="513"/>
                      </a:lnTo>
                      <a:cubicBezTo>
                        <a:pt x="930" y="401"/>
                        <a:pt x="925" y="300"/>
                        <a:pt x="887" y="227"/>
                      </a:cubicBezTo>
                      <a:cubicBezTo>
                        <a:pt x="827" y="105"/>
                        <a:pt x="712" y="0"/>
                        <a:pt x="468" y="0"/>
                      </a:cubicBezTo>
                      <a:cubicBezTo>
                        <a:pt x="133" y="0"/>
                        <a:pt x="5" y="178"/>
                        <a:pt x="3" y="482"/>
                      </a:cubicBezTo>
                      <a:cubicBezTo>
                        <a:pt x="0" y="752"/>
                        <a:pt x="188" y="937"/>
                        <a:pt x="513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2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30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9">
                  <a:extLst>
                    <a:ext uri="{FF2B5EF4-FFF2-40B4-BE49-F238E27FC236}">
                      <a16:creationId xmlns:a16="http://schemas.microsoft.com/office/drawing/2014/main" id="{35A83D12-41AF-4EB8-BFB8-39DDE1C31749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gray">
                <a:xfrm>
                  <a:off x="8145463" y="388938"/>
                  <a:ext cx="139700" cy="141288"/>
                </a:xfrm>
                <a:custGeom>
                  <a:avLst/>
                  <a:gdLst>
                    <a:gd name="T0" fmla="*/ 638 w 929"/>
                    <a:gd name="T1" fmla="*/ 381 h 937"/>
                    <a:gd name="T2" fmla="*/ 305 w 929"/>
                    <a:gd name="T3" fmla="*/ 381 h 937"/>
                    <a:gd name="T4" fmla="*/ 474 w 929"/>
                    <a:gd name="T5" fmla="*/ 182 h 937"/>
                    <a:gd name="T6" fmla="*/ 638 w 929"/>
                    <a:gd name="T7" fmla="*/ 381 h 937"/>
                    <a:gd name="T8" fmla="*/ 929 w 929"/>
                    <a:gd name="T9" fmla="*/ 513 h 937"/>
                    <a:gd name="T10" fmla="*/ 929 w 929"/>
                    <a:gd name="T11" fmla="*/ 513 h 937"/>
                    <a:gd name="T12" fmla="*/ 886 w 929"/>
                    <a:gd name="T13" fmla="*/ 227 h 937"/>
                    <a:gd name="T14" fmla="*/ 468 w 929"/>
                    <a:gd name="T15" fmla="*/ 0 h 937"/>
                    <a:gd name="T16" fmla="*/ 2 w 929"/>
                    <a:gd name="T17" fmla="*/ 482 h 937"/>
                    <a:gd name="T18" fmla="*/ 512 w 929"/>
                    <a:gd name="T19" fmla="*/ 922 h 937"/>
                    <a:gd name="T20" fmla="*/ 923 w 929"/>
                    <a:gd name="T21" fmla="*/ 780 h 937"/>
                    <a:gd name="T22" fmla="*/ 846 w 929"/>
                    <a:gd name="T23" fmla="*/ 650 h 937"/>
                    <a:gd name="T24" fmla="*/ 550 w 929"/>
                    <a:gd name="T25" fmla="*/ 746 h 937"/>
                    <a:gd name="T26" fmla="*/ 310 w 929"/>
                    <a:gd name="T27" fmla="*/ 513 h 937"/>
                    <a:gd name="T28" fmla="*/ 929 w 929"/>
                    <a:gd name="T29" fmla="*/ 513 h 9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9" h="937">
                      <a:moveTo>
                        <a:pt x="638" y="381"/>
                      </a:moveTo>
                      <a:lnTo>
                        <a:pt x="305" y="381"/>
                      </a:lnTo>
                      <a:cubicBezTo>
                        <a:pt x="309" y="339"/>
                        <a:pt x="306" y="182"/>
                        <a:pt x="474" y="182"/>
                      </a:cubicBezTo>
                      <a:cubicBezTo>
                        <a:pt x="653" y="182"/>
                        <a:pt x="634" y="330"/>
                        <a:pt x="638" y="381"/>
                      </a:cubicBezTo>
                      <a:close/>
                      <a:moveTo>
                        <a:pt x="929" y="513"/>
                      </a:moveTo>
                      <a:lnTo>
                        <a:pt x="929" y="513"/>
                      </a:lnTo>
                      <a:cubicBezTo>
                        <a:pt x="929" y="401"/>
                        <a:pt x="925" y="300"/>
                        <a:pt x="886" y="227"/>
                      </a:cubicBezTo>
                      <a:cubicBezTo>
                        <a:pt x="827" y="105"/>
                        <a:pt x="711" y="0"/>
                        <a:pt x="468" y="0"/>
                      </a:cubicBezTo>
                      <a:cubicBezTo>
                        <a:pt x="132" y="0"/>
                        <a:pt x="5" y="178"/>
                        <a:pt x="2" y="482"/>
                      </a:cubicBezTo>
                      <a:cubicBezTo>
                        <a:pt x="0" y="752"/>
                        <a:pt x="187" y="937"/>
                        <a:pt x="512" y="922"/>
                      </a:cubicBezTo>
                      <a:cubicBezTo>
                        <a:pt x="659" y="915"/>
                        <a:pt x="764" y="886"/>
                        <a:pt x="923" y="780"/>
                      </a:cubicBezTo>
                      <a:lnTo>
                        <a:pt x="846" y="650"/>
                      </a:lnTo>
                      <a:cubicBezTo>
                        <a:pt x="779" y="699"/>
                        <a:pt x="691" y="754"/>
                        <a:pt x="550" y="746"/>
                      </a:cubicBezTo>
                      <a:cubicBezTo>
                        <a:pt x="316" y="733"/>
                        <a:pt x="311" y="570"/>
                        <a:pt x="310" y="513"/>
                      </a:cubicBezTo>
                      <a:lnTo>
                        <a:pt x="929" y="51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0">
                  <a:extLst>
                    <a:ext uri="{FF2B5EF4-FFF2-40B4-BE49-F238E27FC236}">
                      <a16:creationId xmlns:a16="http://schemas.microsoft.com/office/drawing/2014/main" id="{79C16B9F-D2D5-46F1-865E-E10AEA2E50FF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580313" y="338138"/>
                  <a:ext cx="103188" cy="190500"/>
                </a:xfrm>
                <a:custGeom>
                  <a:avLst/>
                  <a:gdLst>
                    <a:gd name="T0" fmla="*/ 690 w 690"/>
                    <a:gd name="T1" fmla="*/ 343 h 1259"/>
                    <a:gd name="T2" fmla="*/ 690 w 690"/>
                    <a:gd name="T3" fmla="*/ 551 h 1259"/>
                    <a:gd name="T4" fmla="*/ 480 w 690"/>
                    <a:gd name="T5" fmla="*/ 551 h 1259"/>
                    <a:gd name="T6" fmla="*/ 480 w 690"/>
                    <a:gd name="T7" fmla="*/ 887 h 1259"/>
                    <a:gd name="T8" fmla="*/ 607 w 690"/>
                    <a:gd name="T9" fmla="*/ 1073 h 1259"/>
                    <a:gd name="T10" fmla="*/ 689 w 690"/>
                    <a:gd name="T11" fmla="*/ 1067 h 1259"/>
                    <a:gd name="T12" fmla="*/ 689 w 690"/>
                    <a:gd name="T13" fmla="*/ 1216 h 1259"/>
                    <a:gd name="T14" fmla="*/ 477 w 690"/>
                    <a:gd name="T15" fmla="*/ 1259 h 1259"/>
                    <a:gd name="T16" fmla="*/ 165 w 690"/>
                    <a:gd name="T17" fmla="*/ 1004 h 1259"/>
                    <a:gd name="T18" fmla="*/ 165 w 690"/>
                    <a:gd name="T19" fmla="*/ 551 h 1259"/>
                    <a:gd name="T20" fmla="*/ 0 w 690"/>
                    <a:gd name="T21" fmla="*/ 551 h 1259"/>
                    <a:gd name="T22" fmla="*/ 0 w 690"/>
                    <a:gd name="T23" fmla="*/ 343 h 1259"/>
                    <a:gd name="T24" fmla="*/ 170 w 690"/>
                    <a:gd name="T25" fmla="*/ 343 h 1259"/>
                    <a:gd name="T26" fmla="*/ 170 w 690"/>
                    <a:gd name="T27" fmla="*/ 134 h 1259"/>
                    <a:gd name="T28" fmla="*/ 484 w 690"/>
                    <a:gd name="T29" fmla="*/ 0 h 1259"/>
                    <a:gd name="T30" fmla="*/ 484 w 690"/>
                    <a:gd name="T31" fmla="*/ 343 h 1259"/>
                    <a:gd name="T32" fmla="*/ 690 w 690"/>
                    <a:gd name="T33" fmla="*/ 343 h 12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690" h="1259">
                      <a:moveTo>
                        <a:pt x="690" y="343"/>
                      </a:moveTo>
                      <a:lnTo>
                        <a:pt x="690" y="551"/>
                      </a:lnTo>
                      <a:lnTo>
                        <a:pt x="480" y="551"/>
                      </a:lnTo>
                      <a:lnTo>
                        <a:pt x="480" y="887"/>
                      </a:lnTo>
                      <a:cubicBezTo>
                        <a:pt x="482" y="995"/>
                        <a:pt x="482" y="1073"/>
                        <a:pt x="607" y="1073"/>
                      </a:cubicBezTo>
                      <a:cubicBezTo>
                        <a:pt x="633" y="1073"/>
                        <a:pt x="649" y="1073"/>
                        <a:pt x="689" y="1067"/>
                      </a:cubicBezTo>
                      <a:lnTo>
                        <a:pt x="689" y="1216"/>
                      </a:lnTo>
                      <a:cubicBezTo>
                        <a:pt x="647" y="1233"/>
                        <a:pt x="588" y="1259"/>
                        <a:pt x="477" y="1259"/>
                      </a:cubicBezTo>
                      <a:cubicBezTo>
                        <a:pt x="217" y="1259"/>
                        <a:pt x="165" y="1172"/>
                        <a:pt x="165" y="1004"/>
                      </a:cubicBezTo>
                      <a:lnTo>
                        <a:pt x="165" y="551"/>
                      </a:lnTo>
                      <a:lnTo>
                        <a:pt x="0" y="551"/>
                      </a:lnTo>
                      <a:lnTo>
                        <a:pt x="0" y="343"/>
                      </a:lnTo>
                      <a:lnTo>
                        <a:pt x="170" y="343"/>
                      </a:lnTo>
                      <a:lnTo>
                        <a:pt x="170" y="134"/>
                      </a:lnTo>
                      <a:lnTo>
                        <a:pt x="484" y="0"/>
                      </a:lnTo>
                      <a:lnTo>
                        <a:pt x="484" y="343"/>
                      </a:lnTo>
                      <a:lnTo>
                        <a:pt x="690" y="3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11">
                  <a:extLst>
                    <a:ext uri="{FF2B5EF4-FFF2-40B4-BE49-F238E27FC236}">
                      <a16:creationId xmlns:a16="http://schemas.microsoft.com/office/drawing/2014/main" id="{325DE11B-4A24-4843-96CA-CC2D5B714587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991475" y="339726"/>
                  <a:ext cx="138113" cy="188913"/>
                </a:xfrm>
                <a:custGeom>
                  <a:avLst/>
                  <a:gdLst>
                    <a:gd name="T0" fmla="*/ 0 w 919"/>
                    <a:gd name="T1" fmla="*/ 134 h 1253"/>
                    <a:gd name="T2" fmla="*/ 325 w 919"/>
                    <a:gd name="T3" fmla="*/ 0 h 1253"/>
                    <a:gd name="T4" fmla="*/ 325 w 919"/>
                    <a:gd name="T5" fmla="*/ 477 h 1253"/>
                    <a:gd name="T6" fmla="*/ 594 w 919"/>
                    <a:gd name="T7" fmla="*/ 363 h 1253"/>
                    <a:gd name="T8" fmla="*/ 833 w 919"/>
                    <a:gd name="T9" fmla="*/ 451 h 1253"/>
                    <a:gd name="T10" fmla="*/ 919 w 919"/>
                    <a:gd name="T11" fmla="*/ 746 h 1253"/>
                    <a:gd name="T12" fmla="*/ 919 w 919"/>
                    <a:gd name="T13" fmla="*/ 1253 h 1253"/>
                    <a:gd name="T14" fmla="*/ 599 w 919"/>
                    <a:gd name="T15" fmla="*/ 1253 h 1253"/>
                    <a:gd name="T16" fmla="*/ 599 w 919"/>
                    <a:gd name="T17" fmla="*/ 784 h 1253"/>
                    <a:gd name="T18" fmla="*/ 465 w 919"/>
                    <a:gd name="T19" fmla="*/ 569 h 1253"/>
                    <a:gd name="T20" fmla="*/ 330 w 919"/>
                    <a:gd name="T21" fmla="*/ 691 h 1253"/>
                    <a:gd name="T22" fmla="*/ 322 w 919"/>
                    <a:gd name="T23" fmla="*/ 859 h 1253"/>
                    <a:gd name="T24" fmla="*/ 322 w 919"/>
                    <a:gd name="T25" fmla="*/ 1253 h 1253"/>
                    <a:gd name="T26" fmla="*/ 0 w 919"/>
                    <a:gd name="T27" fmla="*/ 1253 h 1253"/>
                    <a:gd name="T28" fmla="*/ 0 w 919"/>
                    <a:gd name="T29" fmla="*/ 134 h 1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19" h="1253">
                      <a:moveTo>
                        <a:pt x="0" y="134"/>
                      </a:moveTo>
                      <a:lnTo>
                        <a:pt x="325" y="0"/>
                      </a:lnTo>
                      <a:lnTo>
                        <a:pt x="325" y="477"/>
                      </a:lnTo>
                      <a:cubicBezTo>
                        <a:pt x="359" y="442"/>
                        <a:pt x="438" y="363"/>
                        <a:pt x="594" y="363"/>
                      </a:cubicBezTo>
                      <a:cubicBezTo>
                        <a:pt x="677" y="363"/>
                        <a:pt x="763" y="385"/>
                        <a:pt x="833" y="451"/>
                      </a:cubicBezTo>
                      <a:cubicBezTo>
                        <a:pt x="919" y="529"/>
                        <a:pt x="919" y="625"/>
                        <a:pt x="919" y="746"/>
                      </a:cubicBezTo>
                      <a:lnTo>
                        <a:pt x="919" y="1253"/>
                      </a:lnTo>
                      <a:lnTo>
                        <a:pt x="599" y="1253"/>
                      </a:lnTo>
                      <a:lnTo>
                        <a:pt x="599" y="784"/>
                      </a:lnTo>
                      <a:cubicBezTo>
                        <a:pt x="599" y="711"/>
                        <a:pt x="599" y="569"/>
                        <a:pt x="465" y="569"/>
                      </a:cubicBezTo>
                      <a:cubicBezTo>
                        <a:pt x="363" y="569"/>
                        <a:pt x="339" y="656"/>
                        <a:pt x="330" y="691"/>
                      </a:cubicBezTo>
                      <a:cubicBezTo>
                        <a:pt x="322" y="730"/>
                        <a:pt x="322" y="786"/>
                        <a:pt x="322" y="859"/>
                      </a:cubicBezTo>
                      <a:lnTo>
                        <a:pt x="322" y="1253"/>
                      </a:lnTo>
                      <a:lnTo>
                        <a:pt x="0" y="1253"/>
                      </a:lnTo>
                      <a:lnTo>
                        <a:pt x="0" y="1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2" name="Freeform 12">
                  <a:extLst>
                    <a:ext uri="{FF2B5EF4-FFF2-40B4-BE49-F238E27FC236}">
                      <a16:creationId xmlns:a16="http://schemas.microsoft.com/office/drawing/2014/main" id="{139E84FD-368A-4743-9A36-D350DF54B1B6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8304213" y="392113"/>
                  <a:ext cx="220663" cy="136525"/>
                </a:xfrm>
                <a:custGeom>
                  <a:avLst/>
                  <a:gdLst>
                    <a:gd name="T0" fmla="*/ 0 w 1474"/>
                    <a:gd name="T1" fmla="*/ 0 h 904"/>
                    <a:gd name="T2" fmla="*/ 310 w 1474"/>
                    <a:gd name="T3" fmla="*/ 0 h 904"/>
                    <a:gd name="T4" fmla="*/ 310 w 1474"/>
                    <a:gd name="T5" fmla="*/ 177 h 904"/>
                    <a:gd name="T6" fmla="*/ 598 w 1474"/>
                    <a:gd name="T7" fmla="*/ 0 h 904"/>
                    <a:gd name="T8" fmla="*/ 863 w 1474"/>
                    <a:gd name="T9" fmla="*/ 173 h 904"/>
                    <a:gd name="T10" fmla="*/ 1165 w 1474"/>
                    <a:gd name="T11" fmla="*/ 0 h 904"/>
                    <a:gd name="T12" fmla="*/ 1428 w 1474"/>
                    <a:gd name="T13" fmla="*/ 145 h 904"/>
                    <a:gd name="T14" fmla="*/ 1474 w 1474"/>
                    <a:gd name="T15" fmla="*/ 427 h 904"/>
                    <a:gd name="T16" fmla="*/ 1474 w 1474"/>
                    <a:gd name="T17" fmla="*/ 904 h 904"/>
                    <a:gd name="T18" fmla="*/ 1157 w 1474"/>
                    <a:gd name="T19" fmla="*/ 904 h 904"/>
                    <a:gd name="T20" fmla="*/ 1155 w 1474"/>
                    <a:gd name="T21" fmla="*/ 411 h 904"/>
                    <a:gd name="T22" fmla="*/ 1030 w 1474"/>
                    <a:gd name="T23" fmla="*/ 218 h 904"/>
                    <a:gd name="T24" fmla="*/ 912 w 1474"/>
                    <a:gd name="T25" fmla="*/ 291 h 904"/>
                    <a:gd name="T26" fmla="*/ 894 w 1474"/>
                    <a:gd name="T27" fmla="*/ 414 h 904"/>
                    <a:gd name="T28" fmla="*/ 894 w 1474"/>
                    <a:gd name="T29" fmla="*/ 904 h 904"/>
                    <a:gd name="T30" fmla="*/ 578 w 1474"/>
                    <a:gd name="T31" fmla="*/ 904 h 904"/>
                    <a:gd name="T32" fmla="*/ 578 w 1474"/>
                    <a:gd name="T33" fmla="*/ 407 h 904"/>
                    <a:gd name="T34" fmla="*/ 452 w 1474"/>
                    <a:gd name="T35" fmla="*/ 218 h 904"/>
                    <a:gd name="T36" fmla="*/ 317 w 1474"/>
                    <a:gd name="T37" fmla="*/ 407 h 904"/>
                    <a:gd name="T38" fmla="*/ 317 w 1474"/>
                    <a:gd name="T39" fmla="*/ 904 h 904"/>
                    <a:gd name="T40" fmla="*/ 0 w 1474"/>
                    <a:gd name="T41" fmla="*/ 904 h 904"/>
                    <a:gd name="T42" fmla="*/ 0 w 1474"/>
                    <a:gd name="T43" fmla="*/ 0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474" h="904">
                      <a:moveTo>
                        <a:pt x="0" y="0"/>
                      </a:moveTo>
                      <a:lnTo>
                        <a:pt x="310" y="0"/>
                      </a:lnTo>
                      <a:lnTo>
                        <a:pt x="310" y="177"/>
                      </a:lnTo>
                      <a:cubicBezTo>
                        <a:pt x="371" y="64"/>
                        <a:pt x="470" y="0"/>
                        <a:pt x="598" y="0"/>
                      </a:cubicBezTo>
                      <a:cubicBezTo>
                        <a:pt x="647" y="0"/>
                        <a:pt x="808" y="21"/>
                        <a:pt x="863" y="173"/>
                      </a:cubicBezTo>
                      <a:cubicBezTo>
                        <a:pt x="943" y="38"/>
                        <a:pt x="1077" y="0"/>
                        <a:pt x="1165" y="0"/>
                      </a:cubicBezTo>
                      <a:cubicBezTo>
                        <a:pt x="1323" y="0"/>
                        <a:pt x="1396" y="95"/>
                        <a:pt x="1428" y="145"/>
                      </a:cubicBezTo>
                      <a:cubicBezTo>
                        <a:pt x="1474" y="220"/>
                        <a:pt x="1474" y="326"/>
                        <a:pt x="1474" y="427"/>
                      </a:cubicBezTo>
                      <a:lnTo>
                        <a:pt x="1474" y="904"/>
                      </a:lnTo>
                      <a:lnTo>
                        <a:pt x="1157" y="904"/>
                      </a:lnTo>
                      <a:lnTo>
                        <a:pt x="1155" y="411"/>
                      </a:lnTo>
                      <a:cubicBezTo>
                        <a:pt x="1155" y="322"/>
                        <a:pt x="1155" y="218"/>
                        <a:pt x="1030" y="218"/>
                      </a:cubicBezTo>
                      <a:cubicBezTo>
                        <a:pt x="988" y="218"/>
                        <a:pt x="941" y="234"/>
                        <a:pt x="912" y="291"/>
                      </a:cubicBezTo>
                      <a:cubicBezTo>
                        <a:pt x="902" y="312"/>
                        <a:pt x="894" y="340"/>
                        <a:pt x="894" y="414"/>
                      </a:cubicBezTo>
                      <a:lnTo>
                        <a:pt x="894" y="904"/>
                      </a:lnTo>
                      <a:lnTo>
                        <a:pt x="578" y="904"/>
                      </a:lnTo>
                      <a:lnTo>
                        <a:pt x="578" y="407"/>
                      </a:lnTo>
                      <a:cubicBezTo>
                        <a:pt x="578" y="329"/>
                        <a:pt x="578" y="218"/>
                        <a:pt x="452" y="218"/>
                      </a:cubicBezTo>
                      <a:cubicBezTo>
                        <a:pt x="344" y="218"/>
                        <a:pt x="317" y="310"/>
                        <a:pt x="317" y="407"/>
                      </a:cubicBezTo>
                      <a:lnTo>
                        <a:pt x="317" y="904"/>
                      </a:lnTo>
                      <a:lnTo>
                        <a:pt x="0" y="904"/>
                      </a:lnTo>
                      <a:cubicBezTo>
                        <a:pt x="0" y="904"/>
                        <a:pt x="0" y="26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3" name="Freeform 13">
                  <a:extLst>
                    <a:ext uri="{FF2B5EF4-FFF2-40B4-BE49-F238E27FC236}">
                      <a16:creationId xmlns:a16="http://schemas.microsoft.com/office/drawing/2014/main" id="{FCEB3CCB-5463-474A-8486-48C801AE1EA2}"/>
                    </a:ext>
                  </a:extLst>
                </p:cNvPr>
                <p:cNvSpPr>
                  <a:spLocks/>
                </p:cNvSpPr>
                <p:nvPr userDrawn="1"/>
              </p:nvSpPr>
              <p:spPr bwMode="gray">
                <a:xfrm>
                  <a:off x="7848600" y="388938"/>
                  <a:ext cx="128588" cy="139700"/>
                </a:xfrm>
                <a:custGeom>
                  <a:avLst/>
                  <a:gdLst>
                    <a:gd name="T0" fmla="*/ 588 w 857"/>
                    <a:gd name="T1" fmla="*/ 744 h 926"/>
                    <a:gd name="T2" fmla="*/ 321 w 857"/>
                    <a:gd name="T3" fmla="*/ 467 h 926"/>
                    <a:gd name="T4" fmla="*/ 576 w 857"/>
                    <a:gd name="T5" fmla="*/ 180 h 926"/>
                    <a:gd name="T6" fmla="*/ 786 w 857"/>
                    <a:gd name="T7" fmla="*/ 244 h 926"/>
                    <a:gd name="T8" fmla="*/ 857 w 857"/>
                    <a:gd name="T9" fmla="*/ 121 h 926"/>
                    <a:gd name="T10" fmla="*/ 472 w 857"/>
                    <a:gd name="T11" fmla="*/ 0 h 926"/>
                    <a:gd name="T12" fmla="*/ 0 w 857"/>
                    <a:gd name="T13" fmla="*/ 477 h 926"/>
                    <a:gd name="T14" fmla="*/ 472 w 857"/>
                    <a:gd name="T15" fmla="*/ 926 h 926"/>
                    <a:gd name="T16" fmla="*/ 857 w 857"/>
                    <a:gd name="T17" fmla="*/ 805 h 926"/>
                    <a:gd name="T18" fmla="*/ 786 w 857"/>
                    <a:gd name="T19" fmla="*/ 681 h 926"/>
                    <a:gd name="T20" fmla="*/ 588 w 857"/>
                    <a:gd name="T21" fmla="*/ 744 h 9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57" h="926">
                      <a:moveTo>
                        <a:pt x="588" y="744"/>
                      </a:moveTo>
                      <a:cubicBezTo>
                        <a:pt x="505" y="744"/>
                        <a:pt x="321" y="687"/>
                        <a:pt x="321" y="467"/>
                      </a:cubicBezTo>
                      <a:cubicBezTo>
                        <a:pt x="321" y="254"/>
                        <a:pt x="493" y="187"/>
                        <a:pt x="576" y="180"/>
                      </a:cubicBezTo>
                      <a:cubicBezTo>
                        <a:pt x="659" y="174"/>
                        <a:pt x="702" y="187"/>
                        <a:pt x="786" y="244"/>
                      </a:cubicBezTo>
                      <a:lnTo>
                        <a:pt x="857" y="121"/>
                      </a:lnTo>
                      <a:cubicBezTo>
                        <a:pt x="794" y="77"/>
                        <a:pt x="701" y="0"/>
                        <a:pt x="472" y="0"/>
                      </a:cubicBezTo>
                      <a:cubicBezTo>
                        <a:pt x="187" y="0"/>
                        <a:pt x="0" y="195"/>
                        <a:pt x="0" y="477"/>
                      </a:cubicBezTo>
                      <a:cubicBezTo>
                        <a:pt x="0" y="717"/>
                        <a:pt x="187" y="926"/>
                        <a:pt x="472" y="926"/>
                      </a:cubicBezTo>
                      <a:cubicBezTo>
                        <a:pt x="701" y="926"/>
                        <a:pt x="794" y="849"/>
                        <a:pt x="857" y="805"/>
                      </a:cubicBezTo>
                      <a:lnTo>
                        <a:pt x="786" y="681"/>
                      </a:lnTo>
                      <a:cubicBezTo>
                        <a:pt x="694" y="738"/>
                        <a:pt x="672" y="744"/>
                        <a:pt x="588" y="74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159" name="Rectangle 158">
            <a:extLst>
              <a:ext uri="{FF2B5EF4-FFF2-40B4-BE49-F238E27FC236}">
                <a16:creationId xmlns:a16="http://schemas.microsoft.com/office/drawing/2014/main" id="{46501231-4C28-4EB7-AD1C-B477481ABA87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-6205347" y="2225675"/>
            <a:ext cx="584994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develop innovative, high-quality solutions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for specific target groups </a:t>
            </a:r>
            <a:endParaRPr lang="en-GB" sz="14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BAC2E84-04D0-4DFD-8848-C9392CB42EA8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-6205347" y="3033870"/>
            <a:ext cx="5132045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flexibly respond to customers’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individual needs </a:t>
            </a:r>
            <a:endParaRPr lang="en-GB" sz="1400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551FE5E6-FA0D-428A-BD99-F2258C324D0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-6205347" y="3842065"/>
            <a:ext cx="4551459" cy="47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1400" dirty="0">
                <a:solidFill>
                  <a:schemeClr val="tx1"/>
                </a:solidFill>
              </a:rPr>
              <a:t>keep the costs of Germany's energy transition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low for tenants and landlords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5EDA9BA8-8171-470E-9C44-E09394F40E2E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-6910472" y="2211710"/>
            <a:ext cx="504000" cy="504000"/>
            <a:chOff x="2483824" y="1826890"/>
            <a:chExt cx="504000" cy="504000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099EE3FD-6787-437B-9E65-5B9D4A4B0626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2483824" y="182689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F1D2495-69AF-4E54-B177-0164265B4245}"/>
                </a:ext>
              </a:extLst>
            </p:cNvPr>
            <p:cNvGrpSpPr/>
            <p:nvPr>
              <p:custDataLst>
                <p:tags r:id="rId27"/>
              </p:custDataLst>
            </p:nvPr>
          </p:nvGrpSpPr>
          <p:grpSpPr bwMode="gray">
            <a:xfrm>
              <a:off x="2551184" y="1880320"/>
              <a:ext cx="369280" cy="397140"/>
              <a:chOff x="-3062288" y="1462088"/>
              <a:chExt cx="2062163" cy="2217738"/>
            </a:xfrm>
            <a:solidFill>
              <a:schemeClr val="bg1"/>
            </a:solidFill>
          </p:grpSpPr>
          <p:sp>
            <p:nvSpPr>
              <p:cNvPr id="176" name="Freeform 5">
                <a:extLst>
                  <a:ext uri="{FF2B5EF4-FFF2-40B4-BE49-F238E27FC236}">
                    <a16:creationId xmlns:a16="http://schemas.microsoft.com/office/drawing/2014/main" id="{1BC4E912-6E16-490F-AA03-DE52071C1D5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062288" y="1462088"/>
                <a:ext cx="2062163" cy="2217738"/>
              </a:xfrm>
              <a:custGeom>
                <a:avLst/>
                <a:gdLst>
                  <a:gd name="T0" fmla="*/ 708 w 736"/>
                  <a:gd name="T1" fmla="*/ 281 h 792"/>
                  <a:gd name="T2" fmla="*/ 601 w 736"/>
                  <a:gd name="T3" fmla="*/ 93 h 792"/>
                  <a:gd name="T4" fmla="*/ 413 w 736"/>
                  <a:gd name="T5" fmla="*/ 6 h 792"/>
                  <a:gd name="T6" fmla="*/ 336 w 736"/>
                  <a:gd name="T7" fmla="*/ 6 h 792"/>
                  <a:gd name="T8" fmla="*/ 148 w 736"/>
                  <a:gd name="T9" fmla="*/ 93 h 792"/>
                  <a:gd name="T10" fmla="*/ 42 w 736"/>
                  <a:gd name="T11" fmla="*/ 281 h 792"/>
                  <a:gd name="T12" fmla="*/ 79 w 736"/>
                  <a:gd name="T13" fmla="*/ 482 h 792"/>
                  <a:gd name="T14" fmla="*/ 150 w 736"/>
                  <a:gd name="T15" fmla="*/ 685 h 792"/>
                  <a:gd name="T16" fmla="*/ 302 w 736"/>
                  <a:gd name="T17" fmla="*/ 791 h 792"/>
                  <a:gd name="T18" fmla="*/ 375 w 736"/>
                  <a:gd name="T19" fmla="*/ 744 h 792"/>
                  <a:gd name="T20" fmla="*/ 549 w 736"/>
                  <a:gd name="T21" fmla="*/ 718 h 792"/>
                  <a:gd name="T22" fmla="*/ 608 w 736"/>
                  <a:gd name="T23" fmla="*/ 624 h 792"/>
                  <a:gd name="T24" fmla="*/ 732 w 736"/>
                  <a:gd name="T25" fmla="*/ 350 h 792"/>
                  <a:gd name="T26" fmla="*/ 643 w 736"/>
                  <a:gd name="T27" fmla="*/ 479 h 792"/>
                  <a:gd name="T28" fmla="*/ 579 w 736"/>
                  <a:gd name="T29" fmla="*/ 620 h 792"/>
                  <a:gd name="T30" fmla="*/ 539 w 736"/>
                  <a:gd name="T31" fmla="*/ 692 h 792"/>
                  <a:gd name="T32" fmla="*/ 448 w 736"/>
                  <a:gd name="T33" fmla="*/ 764 h 792"/>
                  <a:gd name="T34" fmla="*/ 387 w 736"/>
                  <a:gd name="T35" fmla="*/ 712 h 792"/>
                  <a:gd name="T36" fmla="*/ 363 w 736"/>
                  <a:gd name="T37" fmla="*/ 712 h 792"/>
                  <a:gd name="T38" fmla="*/ 220 w 736"/>
                  <a:gd name="T39" fmla="*/ 698 h 792"/>
                  <a:gd name="T40" fmla="*/ 174 w 736"/>
                  <a:gd name="T41" fmla="*/ 671 h 792"/>
                  <a:gd name="T42" fmla="*/ 163 w 736"/>
                  <a:gd name="T43" fmla="*/ 604 h 792"/>
                  <a:gd name="T44" fmla="*/ 101 w 736"/>
                  <a:gd name="T45" fmla="*/ 464 h 792"/>
                  <a:gd name="T46" fmla="*/ 69 w 736"/>
                  <a:gd name="T47" fmla="*/ 283 h 792"/>
                  <a:gd name="T48" fmla="*/ 158 w 736"/>
                  <a:gd name="T49" fmla="*/ 119 h 792"/>
                  <a:gd name="T50" fmla="*/ 223 w 736"/>
                  <a:gd name="T51" fmla="*/ 67 h 792"/>
                  <a:gd name="T52" fmla="*/ 244 w 736"/>
                  <a:gd name="T53" fmla="*/ 64 h 792"/>
                  <a:gd name="T54" fmla="*/ 365 w 736"/>
                  <a:gd name="T55" fmla="*/ 52 h 792"/>
                  <a:gd name="T56" fmla="*/ 375 w 736"/>
                  <a:gd name="T57" fmla="*/ 56 h 792"/>
                  <a:gd name="T58" fmla="*/ 420 w 736"/>
                  <a:gd name="T59" fmla="*/ 33 h 792"/>
                  <a:gd name="T60" fmla="*/ 519 w 736"/>
                  <a:gd name="T61" fmla="*/ 68 h 792"/>
                  <a:gd name="T62" fmla="*/ 592 w 736"/>
                  <a:gd name="T63" fmla="*/ 119 h 792"/>
                  <a:gd name="T64" fmla="*/ 680 w 736"/>
                  <a:gd name="T65" fmla="*/ 283 h 792"/>
                  <a:gd name="T66" fmla="*/ 704 w 736"/>
                  <a:gd name="T67" fmla="*/ 353 h 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6" h="792">
                    <a:moveTo>
                      <a:pt x="732" y="350"/>
                    </a:moveTo>
                    <a:cubicBezTo>
                      <a:pt x="727" y="317"/>
                      <a:pt x="714" y="291"/>
                      <a:pt x="708" y="281"/>
                    </a:cubicBezTo>
                    <a:cubicBezTo>
                      <a:pt x="712" y="213"/>
                      <a:pt x="699" y="161"/>
                      <a:pt x="668" y="128"/>
                    </a:cubicBezTo>
                    <a:cubicBezTo>
                      <a:pt x="644" y="102"/>
                      <a:pt x="616" y="95"/>
                      <a:pt x="601" y="93"/>
                    </a:cubicBezTo>
                    <a:cubicBezTo>
                      <a:pt x="579" y="47"/>
                      <a:pt x="542" y="38"/>
                      <a:pt x="520" y="40"/>
                    </a:cubicBezTo>
                    <a:cubicBezTo>
                      <a:pt x="478" y="1"/>
                      <a:pt x="439" y="0"/>
                      <a:pt x="413" y="6"/>
                    </a:cubicBezTo>
                    <a:cubicBezTo>
                      <a:pt x="396" y="11"/>
                      <a:pt x="383" y="19"/>
                      <a:pt x="375" y="24"/>
                    </a:cubicBezTo>
                    <a:cubicBezTo>
                      <a:pt x="367" y="19"/>
                      <a:pt x="353" y="11"/>
                      <a:pt x="336" y="6"/>
                    </a:cubicBezTo>
                    <a:cubicBezTo>
                      <a:pt x="311" y="0"/>
                      <a:pt x="272" y="1"/>
                      <a:pt x="230" y="40"/>
                    </a:cubicBezTo>
                    <a:cubicBezTo>
                      <a:pt x="207" y="38"/>
                      <a:pt x="170" y="47"/>
                      <a:pt x="148" y="93"/>
                    </a:cubicBezTo>
                    <a:cubicBezTo>
                      <a:pt x="134" y="95"/>
                      <a:pt x="106" y="102"/>
                      <a:pt x="82" y="128"/>
                    </a:cubicBezTo>
                    <a:cubicBezTo>
                      <a:pt x="51" y="161"/>
                      <a:pt x="38" y="213"/>
                      <a:pt x="42" y="281"/>
                    </a:cubicBezTo>
                    <a:cubicBezTo>
                      <a:pt x="36" y="291"/>
                      <a:pt x="22" y="317"/>
                      <a:pt x="18" y="350"/>
                    </a:cubicBezTo>
                    <a:cubicBezTo>
                      <a:pt x="13" y="387"/>
                      <a:pt x="21" y="439"/>
                      <a:pt x="79" y="482"/>
                    </a:cubicBezTo>
                    <a:cubicBezTo>
                      <a:pt x="72" y="521"/>
                      <a:pt x="78" y="590"/>
                      <a:pt x="142" y="624"/>
                    </a:cubicBezTo>
                    <a:cubicBezTo>
                      <a:pt x="139" y="638"/>
                      <a:pt x="137" y="663"/>
                      <a:pt x="150" y="685"/>
                    </a:cubicBezTo>
                    <a:cubicBezTo>
                      <a:pt x="161" y="701"/>
                      <a:pt x="177" y="713"/>
                      <a:pt x="200" y="718"/>
                    </a:cubicBezTo>
                    <a:cubicBezTo>
                      <a:pt x="212" y="736"/>
                      <a:pt x="252" y="791"/>
                      <a:pt x="302" y="791"/>
                    </a:cubicBezTo>
                    <a:cubicBezTo>
                      <a:pt x="302" y="791"/>
                      <a:pt x="302" y="791"/>
                      <a:pt x="303" y="791"/>
                    </a:cubicBezTo>
                    <a:cubicBezTo>
                      <a:pt x="329" y="791"/>
                      <a:pt x="354" y="775"/>
                      <a:pt x="375" y="744"/>
                    </a:cubicBezTo>
                    <a:cubicBezTo>
                      <a:pt x="396" y="775"/>
                      <a:pt x="420" y="791"/>
                      <a:pt x="447" y="791"/>
                    </a:cubicBezTo>
                    <a:cubicBezTo>
                      <a:pt x="497" y="792"/>
                      <a:pt x="538" y="736"/>
                      <a:pt x="549" y="718"/>
                    </a:cubicBezTo>
                    <a:cubicBezTo>
                      <a:pt x="572" y="713"/>
                      <a:pt x="589" y="701"/>
                      <a:pt x="599" y="685"/>
                    </a:cubicBezTo>
                    <a:cubicBezTo>
                      <a:pt x="612" y="663"/>
                      <a:pt x="610" y="638"/>
                      <a:pt x="608" y="624"/>
                    </a:cubicBezTo>
                    <a:cubicBezTo>
                      <a:pt x="671" y="590"/>
                      <a:pt x="678" y="521"/>
                      <a:pt x="671" y="482"/>
                    </a:cubicBezTo>
                    <a:cubicBezTo>
                      <a:pt x="729" y="439"/>
                      <a:pt x="736" y="387"/>
                      <a:pt x="732" y="350"/>
                    </a:cubicBezTo>
                    <a:close/>
                    <a:moveTo>
                      <a:pt x="648" y="464"/>
                    </a:moveTo>
                    <a:cubicBezTo>
                      <a:pt x="643" y="468"/>
                      <a:pt x="641" y="473"/>
                      <a:pt x="643" y="479"/>
                    </a:cubicBezTo>
                    <a:cubicBezTo>
                      <a:pt x="643" y="483"/>
                      <a:pt x="664" y="570"/>
                      <a:pt x="587" y="604"/>
                    </a:cubicBezTo>
                    <a:cubicBezTo>
                      <a:pt x="580" y="606"/>
                      <a:pt x="577" y="614"/>
                      <a:pt x="579" y="620"/>
                    </a:cubicBezTo>
                    <a:cubicBezTo>
                      <a:pt x="579" y="621"/>
                      <a:pt x="588" y="650"/>
                      <a:pt x="576" y="671"/>
                    </a:cubicBezTo>
                    <a:cubicBezTo>
                      <a:pt x="569" y="682"/>
                      <a:pt x="557" y="689"/>
                      <a:pt x="539" y="692"/>
                    </a:cubicBezTo>
                    <a:cubicBezTo>
                      <a:pt x="535" y="693"/>
                      <a:pt x="531" y="695"/>
                      <a:pt x="529" y="698"/>
                    </a:cubicBezTo>
                    <a:cubicBezTo>
                      <a:pt x="518" y="717"/>
                      <a:pt x="483" y="764"/>
                      <a:pt x="448" y="764"/>
                    </a:cubicBezTo>
                    <a:cubicBezTo>
                      <a:pt x="448" y="764"/>
                      <a:pt x="447" y="764"/>
                      <a:pt x="447" y="764"/>
                    </a:cubicBezTo>
                    <a:cubicBezTo>
                      <a:pt x="426" y="763"/>
                      <a:pt x="406" y="746"/>
                      <a:pt x="387" y="712"/>
                    </a:cubicBezTo>
                    <a:cubicBezTo>
                      <a:pt x="385" y="707"/>
                      <a:pt x="380" y="704"/>
                      <a:pt x="375" y="704"/>
                    </a:cubicBezTo>
                    <a:cubicBezTo>
                      <a:pt x="370" y="704"/>
                      <a:pt x="365" y="707"/>
                      <a:pt x="363" y="712"/>
                    </a:cubicBezTo>
                    <a:cubicBezTo>
                      <a:pt x="344" y="746"/>
                      <a:pt x="324" y="763"/>
                      <a:pt x="302" y="764"/>
                    </a:cubicBezTo>
                    <a:cubicBezTo>
                      <a:pt x="267" y="764"/>
                      <a:pt x="231" y="717"/>
                      <a:pt x="220" y="698"/>
                    </a:cubicBezTo>
                    <a:cubicBezTo>
                      <a:pt x="218" y="695"/>
                      <a:pt x="215" y="693"/>
                      <a:pt x="211" y="692"/>
                    </a:cubicBezTo>
                    <a:cubicBezTo>
                      <a:pt x="193" y="689"/>
                      <a:pt x="181" y="682"/>
                      <a:pt x="174" y="671"/>
                    </a:cubicBezTo>
                    <a:cubicBezTo>
                      <a:pt x="161" y="650"/>
                      <a:pt x="171" y="621"/>
                      <a:pt x="171" y="620"/>
                    </a:cubicBezTo>
                    <a:cubicBezTo>
                      <a:pt x="173" y="614"/>
                      <a:pt x="170" y="606"/>
                      <a:pt x="163" y="604"/>
                    </a:cubicBezTo>
                    <a:cubicBezTo>
                      <a:pt x="86" y="570"/>
                      <a:pt x="106" y="483"/>
                      <a:pt x="107" y="479"/>
                    </a:cubicBezTo>
                    <a:cubicBezTo>
                      <a:pt x="109" y="473"/>
                      <a:pt x="106" y="468"/>
                      <a:pt x="101" y="464"/>
                    </a:cubicBezTo>
                    <a:cubicBezTo>
                      <a:pt x="0" y="396"/>
                      <a:pt x="64" y="296"/>
                      <a:pt x="67" y="292"/>
                    </a:cubicBezTo>
                    <a:cubicBezTo>
                      <a:pt x="69" y="289"/>
                      <a:pt x="69" y="286"/>
                      <a:pt x="69" y="283"/>
                    </a:cubicBezTo>
                    <a:cubicBezTo>
                      <a:pt x="65" y="221"/>
                      <a:pt x="76" y="175"/>
                      <a:pt x="101" y="147"/>
                    </a:cubicBezTo>
                    <a:cubicBezTo>
                      <a:pt x="126" y="120"/>
                      <a:pt x="156" y="119"/>
                      <a:pt x="158" y="119"/>
                    </a:cubicBezTo>
                    <a:cubicBezTo>
                      <a:pt x="163" y="119"/>
                      <a:pt x="168" y="116"/>
                      <a:pt x="170" y="111"/>
                    </a:cubicBezTo>
                    <a:cubicBezTo>
                      <a:pt x="186" y="73"/>
                      <a:pt x="210" y="67"/>
                      <a:pt x="223" y="67"/>
                    </a:cubicBezTo>
                    <a:cubicBezTo>
                      <a:pt x="227" y="67"/>
                      <a:pt x="230" y="68"/>
                      <a:pt x="231" y="68"/>
                    </a:cubicBezTo>
                    <a:cubicBezTo>
                      <a:pt x="236" y="69"/>
                      <a:pt x="240" y="68"/>
                      <a:pt x="244" y="64"/>
                    </a:cubicBezTo>
                    <a:cubicBezTo>
                      <a:pt x="272" y="37"/>
                      <a:pt x="300" y="26"/>
                      <a:pt x="329" y="33"/>
                    </a:cubicBezTo>
                    <a:cubicBezTo>
                      <a:pt x="351" y="38"/>
                      <a:pt x="365" y="51"/>
                      <a:pt x="365" y="52"/>
                    </a:cubicBezTo>
                    <a:cubicBezTo>
                      <a:pt x="367" y="54"/>
                      <a:pt x="371" y="56"/>
                      <a:pt x="375" y="56"/>
                    </a:cubicBezTo>
                    <a:cubicBezTo>
                      <a:pt x="375" y="56"/>
                      <a:pt x="375" y="56"/>
                      <a:pt x="375" y="56"/>
                    </a:cubicBezTo>
                    <a:cubicBezTo>
                      <a:pt x="379" y="56"/>
                      <a:pt x="382" y="54"/>
                      <a:pt x="385" y="52"/>
                    </a:cubicBezTo>
                    <a:cubicBezTo>
                      <a:pt x="385" y="51"/>
                      <a:pt x="399" y="38"/>
                      <a:pt x="420" y="33"/>
                    </a:cubicBezTo>
                    <a:cubicBezTo>
                      <a:pt x="449" y="26"/>
                      <a:pt x="478" y="36"/>
                      <a:pt x="506" y="64"/>
                    </a:cubicBezTo>
                    <a:cubicBezTo>
                      <a:pt x="509" y="68"/>
                      <a:pt x="514" y="69"/>
                      <a:pt x="519" y="68"/>
                    </a:cubicBezTo>
                    <a:cubicBezTo>
                      <a:pt x="523" y="67"/>
                      <a:pt x="559" y="60"/>
                      <a:pt x="579" y="111"/>
                    </a:cubicBezTo>
                    <a:cubicBezTo>
                      <a:pt x="581" y="116"/>
                      <a:pt x="586" y="119"/>
                      <a:pt x="592" y="119"/>
                    </a:cubicBezTo>
                    <a:cubicBezTo>
                      <a:pt x="593" y="119"/>
                      <a:pt x="623" y="120"/>
                      <a:pt x="648" y="147"/>
                    </a:cubicBezTo>
                    <a:cubicBezTo>
                      <a:pt x="674" y="175"/>
                      <a:pt x="685" y="221"/>
                      <a:pt x="680" y="283"/>
                    </a:cubicBezTo>
                    <a:cubicBezTo>
                      <a:pt x="680" y="286"/>
                      <a:pt x="681" y="289"/>
                      <a:pt x="683" y="292"/>
                    </a:cubicBezTo>
                    <a:cubicBezTo>
                      <a:pt x="683" y="292"/>
                      <a:pt x="700" y="318"/>
                      <a:pt x="704" y="353"/>
                    </a:cubicBezTo>
                    <a:cubicBezTo>
                      <a:pt x="710" y="398"/>
                      <a:pt x="691" y="436"/>
                      <a:pt x="648" y="4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6">
                <a:extLst>
                  <a:ext uri="{FF2B5EF4-FFF2-40B4-BE49-F238E27FC236}">
                    <a16:creationId xmlns:a16="http://schemas.microsoft.com/office/drawing/2014/main" id="{FF829F2E-3E21-4D3B-8994-E538DE2A77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57351" y="1712913"/>
                <a:ext cx="296863" cy="333375"/>
              </a:xfrm>
              <a:custGeom>
                <a:avLst/>
                <a:gdLst>
                  <a:gd name="T0" fmla="*/ 103 w 106"/>
                  <a:gd name="T1" fmla="*/ 11 h 119"/>
                  <a:gd name="T2" fmla="*/ 86 w 106"/>
                  <a:gd name="T3" fmla="*/ 3 h 119"/>
                  <a:gd name="T4" fmla="*/ 0 w 106"/>
                  <a:gd name="T5" fmla="*/ 105 h 119"/>
                  <a:gd name="T6" fmla="*/ 14 w 106"/>
                  <a:gd name="T7" fmla="*/ 119 h 119"/>
                  <a:gd name="T8" fmla="*/ 14 w 106"/>
                  <a:gd name="T9" fmla="*/ 119 h 119"/>
                  <a:gd name="T10" fmla="*/ 28 w 106"/>
                  <a:gd name="T11" fmla="*/ 105 h 119"/>
                  <a:gd name="T12" fmla="*/ 95 w 106"/>
                  <a:gd name="T13" fmla="*/ 29 h 119"/>
                  <a:gd name="T14" fmla="*/ 103 w 106"/>
                  <a:gd name="T15" fmla="*/ 1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119">
                    <a:moveTo>
                      <a:pt x="103" y="11"/>
                    </a:moveTo>
                    <a:cubicBezTo>
                      <a:pt x="101" y="4"/>
                      <a:pt x="93" y="0"/>
                      <a:pt x="86" y="3"/>
                    </a:cubicBezTo>
                    <a:cubicBezTo>
                      <a:pt x="1" y="31"/>
                      <a:pt x="0" y="102"/>
                      <a:pt x="0" y="105"/>
                    </a:cubicBezTo>
                    <a:cubicBezTo>
                      <a:pt x="0" y="113"/>
                      <a:pt x="6" y="119"/>
                      <a:pt x="14" y="119"/>
                    </a:cubicBezTo>
                    <a:cubicBezTo>
                      <a:pt x="14" y="119"/>
                      <a:pt x="14" y="119"/>
                      <a:pt x="14" y="119"/>
                    </a:cubicBezTo>
                    <a:cubicBezTo>
                      <a:pt x="21" y="119"/>
                      <a:pt x="27" y="113"/>
                      <a:pt x="28" y="105"/>
                    </a:cubicBezTo>
                    <a:cubicBezTo>
                      <a:pt x="28" y="103"/>
                      <a:pt x="29" y="51"/>
                      <a:pt x="95" y="29"/>
                    </a:cubicBezTo>
                    <a:cubicBezTo>
                      <a:pt x="102" y="26"/>
                      <a:pt x="106" y="19"/>
                      <a:pt x="103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7">
                <a:extLst>
                  <a:ext uri="{FF2B5EF4-FFF2-40B4-BE49-F238E27FC236}">
                    <a16:creationId xmlns:a16="http://schemas.microsoft.com/office/drawing/2014/main" id="{5F41B488-67DF-4CF8-A04D-B7820BD46E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27188" y="2643188"/>
                <a:ext cx="446088" cy="252413"/>
              </a:xfrm>
              <a:custGeom>
                <a:avLst/>
                <a:gdLst>
                  <a:gd name="T0" fmla="*/ 154 w 159"/>
                  <a:gd name="T1" fmla="*/ 45 h 90"/>
                  <a:gd name="T2" fmla="*/ 135 w 159"/>
                  <a:gd name="T3" fmla="*/ 43 h 90"/>
                  <a:gd name="T4" fmla="*/ 75 w 159"/>
                  <a:gd name="T5" fmla="*/ 61 h 90"/>
                  <a:gd name="T6" fmla="*/ 28 w 159"/>
                  <a:gd name="T7" fmla="*/ 11 h 90"/>
                  <a:gd name="T8" fmla="*/ 11 w 159"/>
                  <a:gd name="T9" fmla="*/ 3 h 90"/>
                  <a:gd name="T10" fmla="*/ 3 w 159"/>
                  <a:gd name="T11" fmla="*/ 20 h 90"/>
                  <a:gd name="T12" fmla="*/ 67 w 159"/>
                  <a:gd name="T13" fmla="*/ 87 h 90"/>
                  <a:gd name="T14" fmla="*/ 88 w 159"/>
                  <a:gd name="T15" fmla="*/ 90 h 90"/>
                  <a:gd name="T16" fmla="*/ 152 w 159"/>
                  <a:gd name="T17" fmla="*/ 65 h 90"/>
                  <a:gd name="T18" fmla="*/ 154 w 159"/>
                  <a:gd name="T19" fmla="*/ 4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9" h="90">
                    <a:moveTo>
                      <a:pt x="154" y="45"/>
                    </a:moveTo>
                    <a:cubicBezTo>
                      <a:pt x="150" y="39"/>
                      <a:pt x="141" y="38"/>
                      <a:pt x="135" y="43"/>
                    </a:cubicBezTo>
                    <a:cubicBezTo>
                      <a:pt x="113" y="60"/>
                      <a:pt x="93" y="66"/>
                      <a:pt x="75" y="61"/>
                    </a:cubicBezTo>
                    <a:cubicBezTo>
                      <a:pt x="44" y="52"/>
                      <a:pt x="29" y="11"/>
                      <a:pt x="28" y="11"/>
                    </a:cubicBezTo>
                    <a:cubicBezTo>
                      <a:pt x="26" y="4"/>
                      <a:pt x="18" y="0"/>
                      <a:pt x="11" y="3"/>
                    </a:cubicBezTo>
                    <a:cubicBezTo>
                      <a:pt x="4" y="5"/>
                      <a:pt x="0" y="13"/>
                      <a:pt x="3" y="20"/>
                    </a:cubicBezTo>
                    <a:cubicBezTo>
                      <a:pt x="4" y="22"/>
                      <a:pt x="23" y="74"/>
                      <a:pt x="67" y="87"/>
                    </a:cubicBezTo>
                    <a:cubicBezTo>
                      <a:pt x="74" y="89"/>
                      <a:pt x="81" y="90"/>
                      <a:pt x="88" y="90"/>
                    </a:cubicBezTo>
                    <a:cubicBezTo>
                      <a:pt x="108" y="90"/>
                      <a:pt x="129" y="81"/>
                      <a:pt x="152" y="65"/>
                    </a:cubicBezTo>
                    <a:cubicBezTo>
                      <a:pt x="158" y="60"/>
                      <a:pt x="159" y="51"/>
                      <a:pt x="154" y="4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8">
                <a:extLst>
                  <a:ext uri="{FF2B5EF4-FFF2-40B4-BE49-F238E27FC236}">
                    <a16:creationId xmlns:a16="http://schemas.microsoft.com/office/drawing/2014/main" id="{B57C3BAE-0C33-4B1D-AE8E-D341CB1847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09763" y="2786063"/>
                <a:ext cx="223838" cy="366713"/>
              </a:xfrm>
              <a:custGeom>
                <a:avLst/>
                <a:gdLst>
                  <a:gd name="T0" fmla="*/ 24 w 80"/>
                  <a:gd name="T1" fmla="*/ 6 h 131"/>
                  <a:gd name="T2" fmla="*/ 5 w 80"/>
                  <a:gd name="T3" fmla="*/ 6 h 131"/>
                  <a:gd name="T4" fmla="*/ 5 w 80"/>
                  <a:gd name="T5" fmla="*/ 25 h 131"/>
                  <a:gd name="T6" fmla="*/ 40 w 80"/>
                  <a:gd name="T7" fmla="*/ 114 h 131"/>
                  <a:gd name="T8" fmla="*/ 50 w 80"/>
                  <a:gd name="T9" fmla="*/ 131 h 131"/>
                  <a:gd name="T10" fmla="*/ 53 w 80"/>
                  <a:gd name="T11" fmla="*/ 131 h 131"/>
                  <a:gd name="T12" fmla="*/ 66 w 80"/>
                  <a:gd name="T13" fmla="*/ 121 h 131"/>
                  <a:gd name="T14" fmla="*/ 24 w 80"/>
                  <a:gd name="T15" fmla="*/ 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131">
                    <a:moveTo>
                      <a:pt x="24" y="6"/>
                    </a:moveTo>
                    <a:cubicBezTo>
                      <a:pt x="19" y="0"/>
                      <a:pt x="10" y="0"/>
                      <a:pt x="5" y="6"/>
                    </a:cubicBezTo>
                    <a:cubicBezTo>
                      <a:pt x="0" y="11"/>
                      <a:pt x="0" y="20"/>
                      <a:pt x="5" y="25"/>
                    </a:cubicBezTo>
                    <a:cubicBezTo>
                      <a:pt x="49" y="69"/>
                      <a:pt x="40" y="112"/>
                      <a:pt x="40" y="114"/>
                    </a:cubicBezTo>
                    <a:cubicBezTo>
                      <a:pt x="38" y="122"/>
                      <a:pt x="42" y="129"/>
                      <a:pt x="50" y="131"/>
                    </a:cubicBezTo>
                    <a:cubicBezTo>
                      <a:pt x="51" y="131"/>
                      <a:pt x="52" y="131"/>
                      <a:pt x="53" y="131"/>
                    </a:cubicBezTo>
                    <a:cubicBezTo>
                      <a:pt x="59" y="131"/>
                      <a:pt x="65" y="127"/>
                      <a:pt x="66" y="121"/>
                    </a:cubicBezTo>
                    <a:cubicBezTo>
                      <a:pt x="67" y="118"/>
                      <a:pt x="80" y="62"/>
                      <a:pt x="24" y="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9">
                <a:extLst>
                  <a:ext uri="{FF2B5EF4-FFF2-40B4-BE49-F238E27FC236}">
                    <a16:creationId xmlns:a16="http://schemas.microsoft.com/office/drawing/2014/main" id="{8A5EE3CD-DB50-44E0-84FA-652CFDAAAB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25626" y="2071688"/>
                <a:ext cx="585788" cy="442913"/>
              </a:xfrm>
              <a:custGeom>
                <a:avLst/>
                <a:gdLst>
                  <a:gd name="T0" fmla="*/ 206 w 209"/>
                  <a:gd name="T1" fmla="*/ 133 h 158"/>
                  <a:gd name="T2" fmla="*/ 189 w 209"/>
                  <a:gd name="T3" fmla="*/ 125 h 158"/>
                  <a:gd name="T4" fmla="*/ 86 w 209"/>
                  <a:gd name="T5" fmla="*/ 102 h 158"/>
                  <a:gd name="T6" fmla="*/ 54 w 209"/>
                  <a:gd name="T7" fmla="*/ 42 h 158"/>
                  <a:gd name="T8" fmla="*/ 16 w 209"/>
                  <a:gd name="T9" fmla="*/ 0 h 158"/>
                  <a:gd name="T10" fmla="*/ 1 w 209"/>
                  <a:gd name="T11" fmla="*/ 13 h 158"/>
                  <a:gd name="T12" fmla="*/ 13 w 209"/>
                  <a:gd name="T13" fmla="*/ 28 h 158"/>
                  <a:gd name="T14" fmla="*/ 29 w 209"/>
                  <a:gd name="T15" fmla="*/ 51 h 158"/>
                  <a:gd name="T16" fmla="*/ 64 w 209"/>
                  <a:gd name="T17" fmla="*/ 119 h 158"/>
                  <a:gd name="T18" fmla="*/ 149 w 209"/>
                  <a:gd name="T19" fmla="*/ 158 h 158"/>
                  <a:gd name="T20" fmla="*/ 198 w 209"/>
                  <a:gd name="T21" fmla="*/ 150 h 158"/>
                  <a:gd name="T22" fmla="*/ 206 w 209"/>
                  <a:gd name="T23" fmla="*/ 133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9" h="158">
                    <a:moveTo>
                      <a:pt x="206" y="133"/>
                    </a:moveTo>
                    <a:cubicBezTo>
                      <a:pt x="204" y="126"/>
                      <a:pt x="196" y="122"/>
                      <a:pt x="189" y="125"/>
                    </a:cubicBezTo>
                    <a:cubicBezTo>
                      <a:pt x="186" y="126"/>
                      <a:pt x="121" y="148"/>
                      <a:pt x="86" y="102"/>
                    </a:cubicBezTo>
                    <a:cubicBezTo>
                      <a:pt x="68" y="79"/>
                      <a:pt x="60" y="58"/>
                      <a:pt x="54" y="42"/>
                    </a:cubicBezTo>
                    <a:cubicBezTo>
                      <a:pt x="47" y="21"/>
                      <a:pt x="39" y="2"/>
                      <a:pt x="16" y="0"/>
                    </a:cubicBezTo>
                    <a:cubicBezTo>
                      <a:pt x="8" y="0"/>
                      <a:pt x="2" y="5"/>
                      <a:pt x="1" y="13"/>
                    </a:cubicBezTo>
                    <a:cubicBezTo>
                      <a:pt x="0" y="20"/>
                      <a:pt x="6" y="27"/>
                      <a:pt x="13" y="28"/>
                    </a:cubicBezTo>
                    <a:cubicBezTo>
                      <a:pt x="19" y="28"/>
                      <a:pt x="21" y="31"/>
                      <a:pt x="29" y="51"/>
                    </a:cubicBezTo>
                    <a:cubicBezTo>
                      <a:pt x="35" y="68"/>
                      <a:pt x="44" y="92"/>
                      <a:pt x="64" y="119"/>
                    </a:cubicBezTo>
                    <a:cubicBezTo>
                      <a:pt x="88" y="150"/>
                      <a:pt x="121" y="158"/>
                      <a:pt x="149" y="158"/>
                    </a:cubicBezTo>
                    <a:cubicBezTo>
                      <a:pt x="175" y="158"/>
                      <a:pt x="196" y="151"/>
                      <a:pt x="198" y="150"/>
                    </a:cubicBezTo>
                    <a:cubicBezTo>
                      <a:pt x="205" y="148"/>
                      <a:pt x="209" y="140"/>
                      <a:pt x="206" y="13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10">
                <a:extLst>
                  <a:ext uri="{FF2B5EF4-FFF2-40B4-BE49-F238E27FC236}">
                    <a16:creationId xmlns:a16="http://schemas.microsoft.com/office/drawing/2014/main" id="{896893DB-7EA4-43E0-864A-96C04BADDE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051051" y="1539875"/>
                <a:ext cx="76200" cy="1971675"/>
              </a:xfrm>
              <a:custGeom>
                <a:avLst/>
                <a:gdLst>
                  <a:gd name="T0" fmla="*/ 14 w 27"/>
                  <a:gd name="T1" fmla="*/ 0 h 704"/>
                  <a:gd name="T2" fmla="*/ 0 w 27"/>
                  <a:gd name="T3" fmla="*/ 14 h 704"/>
                  <a:gd name="T4" fmla="*/ 0 w 27"/>
                  <a:gd name="T5" fmla="*/ 690 h 704"/>
                  <a:gd name="T6" fmla="*/ 14 w 27"/>
                  <a:gd name="T7" fmla="*/ 704 h 704"/>
                  <a:gd name="T8" fmla="*/ 27 w 27"/>
                  <a:gd name="T9" fmla="*/ 690 h 704"/>
                  <a:gd name="T10" fmla="*/ 27 w 27"/>
                  <a:gd name="T11" fmla="*/ 14 h 704"/>
                  <a:gd name="T12" fmla="*/ 14 w 27"/>
                  <a:gd name="T13" fmla="*/ 0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704">
                    <a:moveTo>
                      <a:pt x="14" y="0"/>
                    </a:moveTo>
                    <a:cubicBezTo>
                      <a:pt x="6" y="0"/>
                      <a:pt x="0" y="6"/>
                      <a:pt x="0" y="14"/>
                    </a:cubicBezTo>
                    <a:cubicBezTo>
                      <a:pt x="0" y="690"/>
                      <a:pt x="0" y="690"/>
                      <a:pt x="0" y="690"/>
                    </a:cubicBezTo>
                    <a:cubicBezTo>
                      <a:pt x="0" y="698"/>
                      <a:pt x="6" y="704"/>
                      <a:pt x="14" y="704"/>
                    </a:cubicBezTo>
                    <a:cubicBezTo>
                      <a:pt x="21" y="704"/>
                      <a:pt x="27" y="698"/>
                      <a:pt x="27" y="690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6"/>
                      <a:pt x="21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11">
                <a:extLst>
                  <a:ext uri="{FF2B5EF4-FFF2-40B4-BE49-F238E27FC236}">
                    <a16:creationId xmlns:a16="http://schemas.microsoft.com/office/drawing/2014/main" id="{E3B492BB-30CB-4111-AF62-0DA198FCD7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38338" y="1830388"/>
                <a:ext cx="207963" cy="493713"/>
              </a:xfrm>
              <a:custGeom>
                <a:avLst/>
                <a:gdLst>
                  <a:gd name="T0" fmla="*/ 73 w 74"/>
                  <a:gd name="T1" fmla="*/ 14 h 176"/>
                  <a:gd name="T2" fmla="*/ 60 w 74"/>
                  <a:gd name="T3" fmla="*/ 0 h 176"/>
                  <a:gd name="T4" fmla="*/ 46 w 74"/>
                  <a:gd name="T5" fmla="*/ 14 h 176"/>
                  <a:gd name="T6" fmla="*/ 4 w 74"/>
                  <a:gd name="T7" fmla="*/ 154 h 176"/>
                  <a:gd name="T8" fmla="*/ 7 w 74"/>
                  <a:gd name="T9" fmla="*/ 173 h 176"/>
                  <a:gd name="T10" fmla="*/ 15 w 74"/>
                  <a:gd name="T11" fmla="*/ 176 h 176"/>
                  <a:gd name="T12" fmla="*/ 26 w 74"/>
                  <a:gd name="T13" fmla="*/ 171 h 176"/>
                  <a:gd name="T14" fmla="*/ 73 w 74"/>
                  <a:gd name="T15" fmla="*/ 1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176">
                    <a:moveTo>
                      <a:pt x="73" y="14"/>
                    </a:moveTo>
                    <a:cubicBezTo>
                      <a:pt x="73" y="6"/>
                      <a:pt x="67" y="0"/>
                      <a:pt x="60" y="0"/>
                    </a:cubicBezTo>
                    <a:cubicBezTo>
                      <a:pt x="52" y="1"/>
                      <a:pt x="46" y="7"/>
                      <a:pt x="46" y="14"/>
                    </a:cubicBezTo>
                    <a:cubicBezTo>
                      <a:pt x="46" y="15"/>
                      <a:pt x="47" y="100"/>
                      <a:pt x="4" y="154"/>
                    </a:cubicBezTo>
                    <a:cubicBezTo>
                      <a:pt x="0" y="160"/>
                      <a:pt x="1" y="169"/>
                      <a:pt x="7" y="173"/>
                    </a:cubicBezTo>
                    <a:cubicBezTo>
                      <a:pt x="9" y="175"/>
                      <a:pt x="12" y="176"/>
                      <a:pt x="15" y="176"/>
                    </a:cubicBezTo>
                    <a:cubicBezTo>
                      <a:pt x="19" y="176"/>
                      <a:pt x="23" y="175"/>
                      <a:pt x="26" y="171"/>
                    </a:cubicBezTo>
                    <a:cubicBezTo>
                      <a:pt x="74" y="110"/>
                      <a:pt x="73" y="18"/>
                      <a:pt x="73" y="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12">
                <a:extLst>
                  <a:ext uri="{FF2B5EF4-FFF2-40B4-BE49-F238E27FC236}">
                    <a16:creationId xmlns:a16="http://schemas.microsoft.com/office/drawing/2014/main" id="{6D9205E6-0C8B-45AA-9BCA-11EAB3AAE6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12938" y="3041650"/>
                <a:ext cx="296863" cy="290513"/>
              </a:xfrm>
              <a:custGeom>
                <a:avLst/>
                <a:gdLst>
                  <a:gd name="T0" fmla="*/ 92 w 106"/>
                  <a:gd name="T1" fmla="*/ 0 h 104"/>
                  <a:gd name="T2" fmla="*/ 3 w 106"/>
                  <a:gd name="T3" fmla="*/ 86 h 104"/>
                  <a:gd name="T4" fmla="*/ 11 w 106"/>
                  <a:gd name="T5" fmla="*/ 103 h 104"/>
                  <a:gd name="T6" fmla="*/ 16 w 106"/>
                  <a:gd name="T7" fmla="*/ 104 h 104"/>
                  <a:gd name="T8" fmla="*/ 29 w 106"/>
                  <a:gd name="T9" fmla="*/ 95 h 104"/>
                  <a:gd name="T10" fmla="*/ 92 w 106"/>
                  <a:gd name="T11" fmla="*/ 27 h 104"/>
                  <a:gd name="T12" fmla="*/ 106 w 106"/>
                  <a:gd name="T13" fmla="*/ 14 h 104"/>
                  <a:gd name="T14" fmla="*/ 92 w 106"/>
                  <a:gd name="T15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104">
                    <a:moveTo>
                      <a:pt x="92" y="0"/>
                    </a:moveTo>
                    <a:cubicBezTo>
                      <a:pt x="32" y="0"/>
                      <a:pt x="4" y="82"/>
                      <a:pt x="3" y="86"/>
                    </a:cubicBezTo>
                    <a:cubicBezTo>
                      <a:pt x="0" y="93"/>
                      <a:pt x="4" y="101"/>
                      <a:pt x="11" y="103"/>
                    </a:cubicBezTo>
                    <a:cubicBezTo>
                      <a:pt x="13" y="104"/>
                      <a:pt x="14" y="104"/>
                      <a:pt x="16" y="104"/>
                    </a:cubicBezTo>
                    <a:cubicBezTo>
                      <a:pt x="21" y="104"/>
                      <a:pt x="27" y="100"/>
                      <a:pt x="29" y="95"/>
                    </a:cubicBezTo>
                    <a:cubicBezTo>
                      <a:pt x="35" y="76"/>
                      <a:pt x="59" y="27"/>
                      <a:pt x="92" y="27"/>
                    </a:cubicBezTo>
                    <a:cubicBezTo>
                      <a:pt x="100" y="27"/>
                      <a:pt x="106" y="21"/>
                      <a:pt x="106" y="14"/>
                    </a:cubicBezTo>
                    <a:cubicBezTo>
                      <a:pt x="106" y="6"/>
                      <a:pt x="100" y="0"/>
                      <a:pt x="9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13">
                <a:extLst>
                  <a:ext uri="{FF2B5EF4-FFF2-40B4-BE49-F238E27FC236}">
                    <a16:creationId xmlns:a16="http://schemas.microsoft.com/office/drawing/2014/main" id="{F5ADC6DF-EC94-4D5C-A469-C3F0A17059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770063" y="1554163"/>
                <a:ext cx="179388" cy="206375"/>
              </a:xfrm>
              <a:custGeom>
                <a:avLst/>
                <a:gdLst>
                  <a:gd name="T0" fmla="*/ 57 w 64"/>
                  <a:gd name="T1" fmla="*/ 5 h 74"/>
                  <a:gd name="T2" fmla="*/ 37 w 64"/>
                  <a:gd name="T3" fmla="*/ 8 h 74"/>
                  <a:gd name="T4" fmla="*/ 5 w 64"/>
                  <a:gd name="T5" fmla="*/ 52 h 74"/>
                  <a:gd name="T6" fmla="*/ 7 w 64"/>
                  <a:gd name="T7" fmla="*/ 71 h 74"/>
                  <a:gd name="T8" fmla="*/ 16 w 64"/>
                  <a:gd name="T9" fmla="*/ 74 h 74"/>
                  <a:gd name="T10" fmla="*/ 27 w 64"/>
                  <a:gd name="T11" fmla="*/ 68 h 74"/>
                  <a:gd name="T12" fmla="*/ 59 w 64"/>
                  <a:gd name="T13" fmla="*/ 24 h 74"/>
                  <a:gd name="T14" fmla="*/ 57 w 64"/>
                  <a:gd name="T15" fmla="*/ 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74">
                    <a:moveTo>
                      <a:pt x="57" y="5"/>
                    </a:moveTo>
                    <a:cubicBezTo>
                      <a:pt x="50" y="0"/>
                      <a:pt x="42" y="2"/>
                      <a:pt x="37" y="8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0" y="58"/>
                      <a:pt x="1" y="66"/>
                      <a:pt x="7" y="71"/>
                    </a:cubicBezTo>
                    <a:cubicBezTo>
                      <a:pt x="10" y="73"/>
                      <a:pt x="13" y="74"/>
                      <a:pt x="16" y="74"/>
                    </a:cubicBezTo>
                    <a:cubicBezTo>
                      <a:pt x="20" y="74"/>
                      <a:pt x="24" y="72"/>
                      <a:pt x="27" y="68"/>
                    </a:cubicBezTo>
                    <a:cubicBezTo>
                      <a:pt x="59" y="24"/>
                      <a:pt x="59" y="24"/>
                      <a:pt x="59" y="24"/>
                    </a:cubicBezTo>
                    <a:cubicBezTo>
                      <a:pt x="64" y="18"/>
                      <a:pt x="63" y="9"/>
                      <a:pt x="57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14">
                <a:extLst>
                  <a:ext uri="{FF2B5EF4-FFF2-40B4-BE49-F238E27FC236}">
                    <a16:creationId xmlns:a16="http://schemas.microsoft.com/office/drawing/2014/main" id="{2CCD4752-2607-4CCD-A8F5-630B2D69CB3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549526" y="1814513"/>
                <a:ext cx="307975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5 h 109"/>
                  <a:gd name="T4" fmla="*/ 55 w 110"/>
                  <a:gd name="T5" fmla="*/ 109 h 109"/>
                  <a:gd name="T6" fmla="*/ 110 w 110"/>
                  <a:gd name="T7" fmla="*/ 55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5 h 109"/>
                  <a:gd name="T14" fmla="*/ 55 w 110"/>
                  <a:gd name="T15" fmla="*/ 28 h 109"/>
                  <a:gd name="T16" fmla="*/ 82 w 110"/>
                  <a:gd name="T17" fmla="*/ 55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5"/>
                      <a:pt x="0" y="55"/>
                    </a:cubicBezTo>
                    <a:cubicBezTo>
                      <a:pt x="0" y="85"/>
                      <a:pt x="25" y="109"/>
                      <a:pt x="55" y="109"/>
                    </a:cubicBezTo>
                    <a:cubicBezTo>
                      <a:pt x="85" y="109"/>
                      <a:pt x="110" y="85"/>
                      <a:pt x="110" y="55"/>
                    </a:cubicBezTo>
                    <a:cubicBezTo>
                      <a:pt x="110" y="25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70"/>
                      <a:pt x="28" y="55"/>
                    </a:cubicBezTo>
                    <a:cubicBezTo>
                      <a:pt x="28" y="40"/>
                      <a:pt x="40" y="28"/>
                      <a:pt x="55" y="28"/>
                    </a:cubicBezTo>
                    <a:cubicBezTo>
                      <a:pt x="70" y="28"/>
                      <a:pt x="82" y="40"/>
                      <a:pt x="82" y="55"/>
                    </a:cubicBezTo>
                    <a:cubicBezTo>
                      <a:pt x="82" y="70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15">
                <a:extLst>
                  <a:ext uri="{FF2B5EF4-FFF2-40B4-BE49-F238E27FC236}">
                    <a16:creationId xmlns:a16="http://schemas.microsoft.com/office/drawing/2014/main" id="{BE51A4B7-F3C5-4286-84A3-C891A9646A9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816226" y="2312988"/>
                <a:ext cx="306388" cy="304800"/>
              </a:xfrm>
              <a:custGeom>
                <a:avLst/>
                <a:gdLst>
                  <a:gd name="T0" fmla="*/ 54 w 109"/>
                  <a:gd name="T1" fmla="*/ 0 h 109"/>
                  <a:gd name="T2" fmla="*/ 0 w 109"/>
                  <a:gd name="T3" fmla="*/ 54 h 109"/>
                  <a:gd name="T4" fmla="*/ 54 w 109"/>
                  <a:gd name="T5" fmla="*/ 109 h 109"/>
                  <a:gd name="T6" fmla="*/ 109 w 109"/>
                  <a:gd name="T7" fmla="*/ 54 h 109"/>
                  <a:gd name="T8" fmla="*/ 54 w 109"/>
                  <a:gd name="T9" fmla="*/ 0 h 109"/>
                  <a:gd name="T10" fmla="*/ 54 w 109"/>
                  <a:gd name="T11" fmla="*/ 82 h 109"/>
                  <a:gd name="T12" fmla="*/ 27 w 109"/>
                  <a:gd name="T13" fmla="*/ 54 h 109"/>
                  <a:gd name="T14" fmla="*/ 54 w 109"/>
                  <a:gd name="T15" fmla="*/ 27 h 109"/>
                  <a:gd name="T16" fmla="*/ 82 w 109"/>
                  <a:gd name="T17" fmla="*/ 54 h 109"/>
                  <a:gd name="T18" fmla="*/ 54 w 109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109">
                    <a:moveTo>
                      <a:pt x="54" y="0"/>
                    </a:moveTo>
                    <a:cubicBezTo>
                      <a:pt x="24" y="0"/>
                      <a:pt x="0" y="24"/>
                      <a:pt x="0" y="54"/>
                    </a:cubicBezTo>
                    <a:cubicBezTo>
                      <a:pt x="0" y="84"/>
                      <a:pt x="24" y="109"/>
                      <a:pt x="54" y="109"/>
                    </a:cubicBezTo>
                    <a:cubicBezTo>
                      <a:pt x="85" y="109"/>
                      <a:pt x="109" y="84"/>
                      <a:pt x="109" y="54"/>
                    </a:cubicBezTo>
                    <a:cubicBezTo>
                      <a:pt x="109" y="24"/>
                      <a:pt x="85" y="0"/>
                      <a:pt x="54" y="0"/>
                    </a:cubicBezTo>
                    <a:close/>
                    <a:moveTo>
                      <a:pt x="54" y="82"/>
                    </a:moveTo>
                    <a:cubicBezTo>
                      <a:pt x="39" y="82"/>
                      <a:pt x="27" y="69"/>
                      <a:pt x="27" y="54"/>
                    </a:cubicBezTo>
                    <a:cubicBezTo>
                      <a:pt x="27" y="39"/>
                      <a:pt x="39" y="27"/>
                      <a:pt x="54" y="27"/>
                    </a:cubicBezTo>
                    <a:cubicBezTo>
                      <a:pt x="69" y="27"/>
                      <a:pt x="82" y="39"/>
                      <a:pt x="82" y="54"/>
                    </a:cubicBezTo>
                    <a:cubicBezTo>
                      <a:pt x="82" y="69"/>
                      <a:pt x="69" y="82"/>
                      <a:pt x="54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16">
                <a:extLst>
                  <a:ext uri="{FF2B5EF4-FFF2-40B4-BE49-F238E27FC236}">
                    <a16:creationId xmlns:a16="http://schemas.microsoft.com/office/drawing/2014/main" id="{5C0218DD-6AA1-4330-8CF8-5A62AE4885D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435226" y="2657475"/>
                <a:ext cx="309563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4 h 109"/>
                  <a:gd name="T4" fmla="*/ 55 w 110"/>
                  <a:gd name="T5" fmla="*/ 109 h 109"/>
                  <a:gd name="T6" fmla="*/ 110 w 110"/>
                  <a:gd name="T7" fmla="*/ 54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4 h 109"/>
                  <a:gd name="T14" fmla="*/ 55 w 110"/>
                  <a:gd name="T15" fmla="*/ 27 h 109"/>
                  <a:gd name="T16" fmla="*/ 82 w 110"/>
                  <a:gd name="T17" fmla="*/ 54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4"/>
                      <a:pt x="0" y="54"/>
                    </a:cubicBezTo>
                    <a:cubicBezTo>
                      <a:pt x="0" y="84"/>
                      <a:pt x="25" y="109"/>
                      <a:pt x="55" y="109"/>
                    </a:cubicBezTo>
                    <a:cubicBezTo>
                      <a:pt x="85" y="109"/>
                      <a:pt x="110" y="84"/>
                      <a:pt x="110" y="54"/>
                    </a:cubicBezTo>
                    <a:cubicBezTo>
                      <a:pt x="110" y="24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69"/>
                      <a:pt x="28" y="54"/>
                    </a:cubicBezTo>
                    <a:cubicBezTo>
                      <a:pt x="28" y="39"/>
                      <a:pt x="40" y="27"/>
                      <a:pt x="55" y="27"/>
                    </a:cubicBezTo>
                    <a:cubicBezTo>
                      <a:pt x="70" y="27"/>
                      <a:pt x="82" y="39"/>
                      <a:pt x="82" y="54"/>
                    </a:cubicBezTo>
                    <a:cubicBezTo>
                      <a:pt x="82" y="69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17">
                <a:extLst>
                  <a:ext uri="{FF2B5EF4-FFF2-40B4-BE49-F238E27FC236}">
                    <a16:creationId xmlns:a16="http://schemas.microsoft.com/office/drawing/2014/main" id="{64D60F76-0C8A-40B9-BC2D-2B9E67989F5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435226" y="3078163"/>
                <a:ext cx="309563" cy="304800"/>
              </a:xfrm>
              <a:custGeom>
                <a:avLst/>
                <a:gdLst>
                  <a:gd name="T0" fmla="*/ 55 w 110"/>
                  <a:gd name="T1" fmla="*/ 0 h 109"/>
                  <a:gd name="T2" fmla="*/ 0 w 110"/>
                  <a:gd name="T3" fmla="*/ 54 h 109"/>
                  <a:gd name="T4" fmla="*/ 55 w 110"/>
                  <a:gd name="T5" fmla="*/ 109 h 109"/>
                  <a:gd name="T6" fmla="*/ 110 w 110"/>
                  <a:gd name="T7" fmla="*/ 54 h 109"/>
                  <a:gd name="T8" fmla="*/ 55 w 110"/>
                  <a:gd name="T9" fmla="*/ 0 h 109"/>
                  <a:gd name="T10" fmla="*/ 55 w 110"/>
                  <a:gd name="T11" fmla="*/ 82 h 109"/>
                  <a:gd name="T12" fmla="*/ 28 w 110"/>
                  <a:gd name="T13" fmla="*/ 54 h 109"/>
                  <a:gd name="T14" fmla="*/ 55 w 110"/>
                  <a:gd name="T15" fmla="*/ 27 h 109"/>
                  <a:gd name="T16" fmla="*/ 82 w 110"/>
                  <a:gd name="T17" fmla="*/ 54 h 109"/>
                  <a:gd name="T18" fmla="*/ 55 w 110"/>
                  <a:gd name="T19" fmla="*/ 8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0" h="109">
                    <a:moveTo>
                      <a:pt x="55" y="0"/>
                    </a:moveTo>
                    <a:cubicBezTo>
                      <a:pt x="25" y="0"/>
                      <a:pt x="0" y="24"/>
                      <a:pt x="0" y="54"/>
                    </a:cubicBezTo>
                    <a:cubicBezTo>
                      <a:pt x="0" y="85"/>
                      <a:pt x="25" y="109"/>
                      <a:pt x="55" y="109"/>
                    </a:cubicBezTo>
                    <a:cubicBezTo>
                      <a:pt x="85" y="109"/>
                      <a:pt x="110" y="85"/>
                      <a:pt x="110" y="54"/>
                    </a:cubicBezTo>
                    <a:cubicBezTo>
                      <a:pt x="110" y="24"/>
                      <a:pt x="85" y="0"/>
                      <a:pt x="55" y="0"/>
                    </a:cubicBezTo>
                    <a:close/>
                    <a:moveTo>
                      <a:pt x="55" y="82"/>
                    </a:moveTo>
                    <a:cubicBezTo>
                      <a:pt x="40" y="82"/>
                      <a:pt x="28" y="69"/>
                      <a:pt x="28" y="54"/>
                    </a:cubicBezTo>
                    <a:cubicBezTo>
                      <a:pt x="28" y="39"/>
                      <a:pt x="40" y="27"/>
                      <a:pt x="55" y="27"/>
                    </a:cubicBezTo>
                    <a:cubicBezTo>
                      <a:pt x="70" y="27"/>
                      <a:pt x="82" y="39"/>
                      <a:pt x="82" y="54"/>
                    </a:cubicBezTo>
                    <a:cubicBezTo>
                      <a:pt x="82" y="69"/>
                      <a:pt x="70" y="82"/>
                      <a:pt x="55" y="8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18">
                <a:extLst>
                  <a:ext uri="{FF2B5EF4-FFF2-40B4-BE49-F238E27FC236}">
                    <a16:creationId xmlns:a16="http://schemas.microsoft.com/office/drawing/2014/main" id="{3594098C-F1F9-4696-BFCA-3C7C0020B2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435226" y="2044700"/>
                <a:ext cx="79375" cy="458788"/>
              </a:xfrm>
              <a:custGeom>
                <a:avLst/>
                <a:gdLst>
                  <a:gd name="T0" fmla="*/ 14 w 28"/>
                  <a:gd name="T1" fmla="*/ 0 h 164"/>
                  <a:gd name="T2" fmla="*/ 0 w 28"/>
                  <a:gd name="T3" fmla="*/ 14 h 164"/>
                  <a:gd name="T4" fmla="*/ 0 w 28"/>
                  <a:gd name="T5" fmla="*/ 150 h 164"/>
                  <a:gd name="T6" fmla="*/ 14 w 28"/>
                  <a:gd name="T7" fmla="*/ 164 h 164"/>
                  <a:gd name="T8" fmla="*/ 28 w 28"/>
                  <a:gd name="T9" fmla="*/ 150 h 164"/>
                  <a:gd name="T10" fmla="*/ 28 w 28"/>
                  <a:gd name="T11" fmla="*/ 14 h 164"/>
                  <a:gd name="T12" fmla="*/ 14 w 28"/>
                  <a:gd name="T13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64">
                    <a:moveTo>
                      <a:pt x="14" y="0"/>
                    </a:moveTo>
                    <a:cubicBezTo>
                      <a:pt x="6" y="0"/>
                      <a:pt x="0" y="6"/>
                      <a:pt x="0" y="14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8"/>
                      <a:pt x="6" y="164"/>
                      <a:pt x="14" y="164"/>
                    </a:cubicBezTo>
                    <a:cubicBezTo>
                      <a:pt x="22" y="164"/>
                      <a:pt x="28" y="158"/>
                      <a:pt x="28" y="150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19">
                <a:extLst>
                  <a:ext uri="{FF2B5EF4-FFF2-40B4-BE49-F238E27FC236}">
                    <a16:creationId xmlns:a16="http://schemas.microsoft.com/office/drawing/2014/main" id="{35BAFF9A-45D5-4244-8BBA-68010722A7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586038" y="2427288"/>
                <a:ext cx="344488" cy="76200"/>
              </a:xfrm>
              <a:custGeom>
                <a:avLst/>
                <a:gdLst>
                  <a:gd name="T0" fmla="*/ 109 w 123"/>
                  <a:gd name="T1" fmla="*/ 0 h 27"/>
                  <a:gd name="T2" fmla="*/ 13 w 123"/>
                  <a:gd name="T3" fmla="*/ 0 h 27"/>
                  <a:gd name="T4" fmla="*/ 0 w 123"/>
                  <a:gd name="T5" fmla="*/ 13 h 27"/>
                  <a:gd name="T6" fmla="*/ 13 w 123"/>
                  <a:gd name="T7" fmla="*/ 27 h 27"/>
                  <a:gd name="T8" fmla="*/ 109 w 123"/>
                  <a:gd name="T9" fmla="*/ 27 h 27"/>
                  <a:gd name="T10" fmla="*/ 123 w 123"/>
                  <a:gd name="T11" fmla="*/ 13 h 27"/>
                  <a:gd name="T12" fmla="*/ 109 w 123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27">
                    <a:moveTo>
                      <a:pt x="109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21"/>
                      <a:pt x="6" y="27"/>
                      <a:pt x="13" y="27"/>
                    </a:cubicBezTo>
                    <a:cubicBezTo>
                      <a:pt x="109" y="27"/>
                      <a:pt x="109" y="27"/>
                      <a:pt x="109" y="27"/>
                    </a:cubicBezTo>
                    <a:cubicBezTo>
                      <a:pt x="117" y="27"/>
                      <a:pt x="123" y="21"/>
                      <a:pt x="123" y="13"/>
                    </a:cubicBezTo>
                    <a:cubicBezTo>
                      <a:pt x="123" y="6"/>
                      <a:pt x="117" y="0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0">
                <a:extLst>
                  <a:ext uri="{FF2B5EF4-FFF2-40B4-BE49-F238E27FC236}">
                    <a16:creationId xmlns:a16="http://schemas.microsoft.com/office/drawing/2014/main" id="{30F7E2F7-B74F-4751-8308-C3FA0C8820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319338" y="2427288"/>
                <a:ext cx="77788" cy="306388"/>
              </a:xfrm>
              <a:custGeom>
                <a:avLst/>
                <a:gdLst>
                  <a:gd name="T0" fmla="*/ 14 w 28"/>
                  <a:gd name="T1" fmla="*/ 0 h 109"/>
                  <a:gd name="T2" fmla="*/ 0 w 28"/>
                  <a:gd name="T3" fmla="*/ 13 h 109"/>
                  <a:gd name="T4" fmla="*/ 0 w 28"/>
                  <a:gd name="T5" fmla="*/ 95 h 109"/>
                  <a:gd name="T6" fmla="*/ 14 w 28"/>
                  <a:gd name="T7" fmla="*/ 109 h 109"/>
                  <a:gd name="T8" fmla="*/ 28 w 28"/>
                  <a:gd name="T9" fmla="*/ 95 h 109"/>
                  <a:gd name="T10" fmla="*/ 28 w 28"/>
                  <a:gd name="T11" fmla="*/ 13 h 109"/>
                  <a:gd name="T12" fmla="*/ 14 w 28"/>
                  <a:gd name="T13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09">
                    <a:moveTo>
                      <a:pt x="14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103"/>
                      <a:pt x="6" y="109"/>
                      <a:pt x="14" y="109"/>
                    </a:cubicBezTo>
                    <a:cubicBezTo>
                      <a:pt x="22" y="109"/>
                      <a:pt x="28" y="103"/>
                      <a:pt x="28" y="95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21">
                <a:extLst>
                  <a:ext uri="{FF2B5EF4-FFF2-40B4-BE49-F238E27FC236}">
                    <a16:creationId xmlns:a16="http://schemas.microsoft.com/office/drawing/2014/main" id="{CFCB8072-198D-4458-8DED-2E133876E7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319338" y="2887663"/>
                <a:ext cx="77788" cy="265113"/>
              </a:xfrm>
              <a:custGeom>
                <a:avLst/>
                <a:gdLst>
                  <a:gd name="T0" fmla="*/ 14 w 28"/>
                  <a:gd name="T1" fmla="*/ 0 h 95"/>
                  <a:gd name="T2" fmla="*/ 0 w 28"/>
                  <a:gd name="T3" fmla="*/ 13 h 95"/>
                  <a:gd name="T4" fmla="*/ 0 w 28"/>
                  <a:gd name="T5" fmla="*/ 81 h 95"/>
                  <a:gd name="T6" fmla="*/ 14 w 28"/>
                  <a:gd name="T7" fmla="*/ 95 h 95"/>
                  <a:gd name="T8" fmla="*/ 28 w 28"/>
                  <a:gd name="T9" fmla="*/ 81 h 95"/>
                  <a:gd name="T10" fmla="*/ 28 w 28"/>
                  <a:gd name="T11" fmla="*/ 13 h 95"/>
                  <a:gd name="T12" fmla="*/ 14 w 28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95">
                    <a:moveTo>
                      <a:pt x="14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89"/>
                      <a:pt x="6" y="95"/>
                      <a:pt x="14" y="95"/>
                    </a:cubicBezTo>
                    <a:cubicBezTo>
                      <a:pt x="22" y="95"/>
                      <a:pt x="28" y="89"/>
                      <a:pt x="28" y="81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04B60CEB-B307-4E21-9D5A-7B711CFF57BA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-6910472" y="3828100"/>
            <a:ext cx="504000" cy="504000"/>
            <a:chOff x="4491833" y="3443280"/>
            <a:chExt cx="504000" cy="504000"/>
          </a:xfrm>
        </p:grpSpPr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A825F7AB-2E2C-453A-8CFD-9A7EA0206B0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4491833" y="3443280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5128E1C8-C272-4059-917E-BBF4E61E8537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 bwMode="gray">
            <a:xfrm>
              <a:off x="4572000" y="3504954"/>
              <a:ext cx="343666" cy="380652"/>
              <a:chOff x="-5402263" y="-3175"/>
              <a:chExt cx="4646613" cy="5146676"/>
            </a:xfrm>
            <a:solidFill>
              <a:schemeClr val="bg1"/>
            </a:solidFill>
          </p:grpSpPr>
          <p:sp>
            <p:nvSpPr>
              <p:cNvPr id="167" name="Freeform 25">
                <a:extLst>
                  <a:ext uri="{FF2B5EF4-FFF2-40B4-BE49-F238E27FC236}">
                    <a16:creationId xmlns:a16="http://schemas.microsoft.com/office/drawing/2014/main" id="{A5C72ED7-B270-4EFB-BA05-BD0E7BCA840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402263" y="827088"/>
                <a:ext cx="4646613" cy="4316413"/>
              </a:xfrm>
              <a:custGeom>
                <a:avLst/>
                <a:gdLst>
                  <a:gd name="T0" fmla="*/ 1536 w 1792"/>
                  <a:gd name="T1" fmla="*/ 128 h 1664"/>
                  <a:gd name="T2" fmla="*/ 1469 w 1792"/>
                  <a:gd name="T3" fmla="*/ 618 h 1664"/>
                  <a:gd name="T4" fmla="*/ 1372 w 1792"/>
                  <a:gd name="T5" fmla="*/ 544 h 1664"/>
                  <a:gd name="T6" fmla="*/ 907 w 1792"/>
                  <a:gd name="T7" fmla="*/ 997 h 1664"/>
                  <a:gd name="T8" fmla="*/ 885 w 1792"/>
                  <a:gd name="T9" fmla="*/ 997 h 1664"/>
                  <a:gd name="T10" fmla="*/ 420 w 1792"/>
                  <a:gd name="T11" fmla="*/ 544 h 1664"/>
                  <a:gd name="T12" fmla="*/ 323 w 1792"/>
                  <a:gd name="T13" fmla="*/ 618 h 1664"/>
                  <a:gd name="T14" fmla="*/ 256 w 1792"/>
                  <a:gd name="T15" fmla="*/ 128 h 1664"/>
                  <a:gd name="T16" fmla="*/ 0 w 1792"/>
                  <a:gd name="T17" fmla="*/ 128 h 1664"/>
                  <a:gd name="T18" fmla="*/ 4 w 1792"/>
                  <a:gd name="T19" fmla="*/ 687 h 1664"/>
                  <a:gd name="T20" fmla="*/ 201 w 1792"/>
                  <a:gd name="T21" fmla="*/ 1047 h 1664"/>
                  <a:gd name="T22" fmla="*/ 480 w 1792"/>
                  <a:gd name="T23" fmla="*/ 1365 h 1664"/>
                  <a:gd name="T24" fmla="*/ 512 w 1792"/>
                  <a:gd name="T25" fmla="*/ 1664 h 1664"/>
                  <a:gd name="T26" fmla="*/ 1312 w 1792"/>
                  <a:gd name="T27" fmla="*/ 1632 h 1664"/>
                  <a:gd name="T28" fmla="*/ 1340 w 1792"/>
                  <a:gd name="T29" fmla="*/ 1297 h 1664"/>
                  <a:gd name="T30" fmla="*/ 1596 w 1792"/>
                  <a:gd name="T31" fmla="*/ 1039 h 1664"/>
                  <a:gd name="T32" fmla="*/ 1792 w 1792"/>
                  <a:gd name="T33" fmla="*/ 672 h 1664"/>
                  <a:gd name="T34" fmla="*/ 1664 w 1792"/>
                  <a:gd name="T35" fmla="*/ 0 h 1664"/>
                  <a:gd name="T36" fmla="*/ 250 w 1792"/>
                  <a:gd name="T37" fmla="*/ 1005 h 1664"/>
                  <a:gd name="T38" fmla="*/ 64 w 1792"/>
                  <a:gd name="T39" fmla="*/ 128 h 1664"/>
                  <a:gd name="T40" fmla="*/ 192 w 1792"/>
                  <a:gd name="T41" fmla="*/ 128 h 1664"/>
                  <a:gd name="T42" fmla="*/ 199 w 1792"/>
                  <a:gd name="T43" fmla="*/ 564 h 1664"/>
                  <a:gd name="T44" fmla="*/ 601 w 1792"/>
                  <a:gd name="T45" fmla="*/ 972 h 1664"/>
                  <a:gd name="T46" fmla="*/ 384 w 1792"/>
                  <a:gd name="T47" fmla="*/ 640 h 1664"/>
                  <a:gd name="T48" fmla="*/ 420 w 1792"/>
                  <a:gd name="T49" fmla="*/ 608 h 1664"/>
                  <a:gd name="T50" fmla="*/ 838 w 1792"/>
                  <a:gd name="T51" fmla="*/ 1041 h 1664"/>
                  <a:gd name="T52" fmla="*/ 864 w 1792"/>
                  <a:gd name="T53" fmla="*/ 1472 h 1664"/>
                  <a:gd name="T54" fmla="*/ 544 w 1792"/>
                  <a:gd name="T55" fmla="*/ 1365 h 1664"/>
                  <a:gd name="T56" fmla="*/ 544 w 1792"/>
                  <a:gd name="T57" fmla="*/ 1536 h 1664"/>
                  <a:gd name="T58" fmla="*/ 864 w 1792"/>
                  <a:gd name="T59" fmla="*/ 1600 h 1664"/>
                  <a:gd name="T60" fmla="*/ 544 w 1792"/>
                  <a:gd name="T61" fmla="*/ 1536 h 1664"/>
                  <a:gd name="T62" fmla="*/ 928 w 1792"/>
                  <a:gd name="T63" fmla="*/ 1536 h 1664"/>
                  <a:gd name="T64" fmla="*/ 1248 w 1792"/>
                  <a:gd name="T65" fmla="*/ 1600 h 1664"/>
                  <a:gd name="T66" fmla="*/ 1728 w 1792"/>
                  <a:gd name="T67" fmla="*/ 664 h 1664"/>
                  <a:gd name="T68" fmla="*/ 1295 w 1792"/>
                  <a:gd name="T69" fmla="*/ 1252 h 1664"/>
                  <a:gd name="T70" fmla="*/ 1248 w 1792"/>
                  <a:gd name="T71" fmla="*/ 1472 h 1664"/>
                  <a:gd name="T72" fmla="*/ 928 w 1792"/>
                  <a:gd name="T73" fmla="*/ 1106 h 1664"/>
                  <a:gd name="T74" fmla="*/ 1348 w 1792"/>
                  <a:gd name="T75" fmla="*/ 618 h 1664"/>
                  <a:gd name="T76" fmla="*/ 1376 w 1792"/>
                  <a:gd name="T77" fmla="*/ 608 h 1664"/>
                  <a:gd name="T78" fmla="*/ 1408 w 1792"/>
                  <a:gd name="T79" fmla="*/ 696 h 1664"/>
                  <a:gd name="T80" fmla="*/ 1241 w 1792"/>
                  <a:gd name="T81" fmla="*/ 1012 h 1664"/>
                  <a:gd name="T82" fmla="*/ 1600 w 1792"/>
                  <a:gd name="T83" fmla="*/ 544 h 1664"/>
                  <a:gd name="T84" fmla="*/ 1664 w 1792"/>
                  <a:gd name="T85" fmla="*/ 64 h 1664"/>
                  <a:gd name="T86" fmla="*/ 1728 w 1792"/>
                  <a:gd name="T87" fmla="*/ 66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92" h="1664">
                    <a:moveTo>
                      <a:pt x="1664" y="0"/>
                    </a:moveTo>
                    <a:cubicBezTo>
                      <a:pt x="1593" y="0"/>
                      <a:pt x="1536" y="57"/>
                      <a:pt x="1536" y="128"/>
                    </a:cubicBezTo>
                    <a:cubicBezTo>
                      <a:pt x="1536" y="533"/>
                      <a:pt x="1536" y="533"/>
                      <a:pt x="1536" y="533"/>
                    </a:cubicBezTo>
                    <a:cubicBezTo>
                      <a:pt x="1469" y="618"/>
                      <a:pt x="1469" y="618"/>
                      <a:pt x="1469" y="618"/>
                    </a:cubicBezTo>
                    <a:cubicBezTo>
                      <a:pt x="1459" y="575"/>
                      <a:pt x="1421" y="544"/>
                      <a:pt x="1376" y="544"/>
                    </a:cubicBezTo>
                    <a:cubicBezTo>
                      <a:pt x="1372" y="544"/>
                      <a:pt x="1372" y="544"/>
                      <a:pt x="1372" y="544"/>
                    </a:cubicBezTo>
                    <a:cubicBezTo>
                      <a:pt x="1345" y="544"/>
                      <a:pt x="1320" y="555"/>
                      <a:pt x="1302" y="574"/>
                    </a:cubicBezTo>
                    <a:cubicBezTo>
                      <a:pt x="907" y="997"/>
                      <a:pt x="907" y="997"/>
                      <a:pt x="907" y="997"/>
                    </a:cubicBezTo>
                    <a:cubicBezTo>
                      <a:pt x="903" y="1002"/>
                      <a:pt x="900" y="1007"/>
                      <a:pt x="896" y="1012"/>
                    </a:cubicBezTo>
                    <a:cubicBezTo>
                      <a:pt x="892" y="1007"/>
                      <a:pt x="889" y="1002"/>
                      <a:pt x="885" y="997"/>
                    </a:cubicBezTo>
                    <a:cubicBezTo>
                      <a:pt x="490" y="574"/>
                      <a:pt x="490" y="574"/>
                      <a:pt x="490" y="574"/>
                    </a:cubicBezTo>
                    <a:cubicBezTo>
                      <a:pt x="472" y="555"/>
                      <a:pt x="447" y="544"/>
                      <a:pt x="420" y="544"/>
                    </a:cubicBezTo>
                    <a:cubicBezTo>
                      <a:pt x="416" y="544"/>
                      <a:pt x="416" y="544"/>
                      <a:pt x="416" y="544"/>
                    </a:cubicBezTo>
                    <a:cubicBezTo>
                      <a:pt x="371" y="544"/>
                      <a:pt x="333" y="575"/>
                      <a:pt x="323" y="618"/>
                    </a:cubicBezTo>
                    <a:cubicBezTo>
                      <a:pt x="256" y="533"/>
                      <a:pt x="256" y="533"/>
                      <a:pt x="256" y="533"/>
                    </a:cubicBezTo>
                    <a:cubicBezTo>
                      <a:pt x="256" y="128"/>
                      <a:pt x="256" y="128"/>
                      <a:pt x="256" y="128"/>
                    </a:cubicBezTo>
                    <a:cubicBezTo>
                      <a:pt x="256" y="57"/>
                      <a:pt x="199" y="0"/>
                      <a:pt x="128" y="0"/>
                    </a:cubicBezTo>
                    <a:cubicBezTo>
                      <a:pt x="57" y="0"/>
                      <a:pt x="0" y="57"/>
                      <a:pt x="0" y="128"/>
                    </a:cubicBezTo>
                    <a:cubicBezTo>
                      <a:pt x="0" y="672"/>
                      <a:pt x="0" y="672"/>
                      <a:pt x="0" y="672"/>
                    </a:cubicBezTo>
                    <a:cubicBezTo>
                      <a:pt x="0" y="677"/>
                      <a:pt x="1" y="683"/>
                      <a:pt x="4" y="687"/>
                    </a:cubicBezTo>
                    <a:cubicBezTo>
                      <a:pt x="196" y="1039"/>
                      <a:pt x="196" y="1039"/>
                      <a:pt x="196" y="1039"/>
                    </a:cubicBezTo>
                    <a:cubicBezTo>
                      <a:pt x="197" y="1042"/>
                      <a:pt x="199" y="1044"/>
                      <a:pt x="201" y="1047"/>
                    </a:cubicBezTo>
                    <a:cubicBezTo>
                      <a:pt x="452" y="1297"/>
                      <a:pt x="452" y="1297"/>
                      <a:pt x="452" y="1297"/>
                    </a:cubicBezTo>
                    <a:cubicBezTo>
                      <a:pt x="470" y="1315"/>
                      <a:pt x="480" y="1340"/>
                      <a:pt x="480" y="1365"/>
                    </a:cubicBezTo>
                    <a:cubicBezTo>
                      <a:pt x="480" y="1632"/>
                      <a:pt x="480" y="1632"/>
                      <a:pt x="480" y="1632"/>
                    </a:cubicBezTo>
                    <a:cubicBezTo>
                      <a:pt x="480" y="1650"/>
                      <a:pt x="494" y="1664"/>
                      <a:pt x="512" y="1664"/>
                    </a:cubicBezTo>
                    <a:cubicBezTo>
                      <a:pt x="1280" y="1664"/>
                      <a:pt x="1280" y="1664"/>
                      <a:pt x="1280" y="1664"/>
                    </a:cubicBezTo>
                    <a:cubicBezTo>
                      <a:pt x="1298" y="1664"/>
                      <a:pt x="1312" y="1650"/>
                      <a:pt x="1312" y="1632"/>
                    </a:cubicBezTo>
                    <a:cubicBezTo>
                      <a:pt x="1312" y="1365"/>
                      <a:pt x="1312" y="1365"/>
                      <a:pt x="1312" y="1365"/>
                    </a:cubicBezTo>
                    <a:cubicBezTo>
                      <a:pt x="1312" y="1340"/>
                      <a:pt x="1322" y="1315"/>
                      <a:pt x="1340" y="1297"/>
                    </a:cubicBezTo>
                    <a:cubicBezTo>
                      <a:pt x="1591" y="1047"/>
                      <a:pt x="1591" y="1047"/>
                      <a:pt x="1591" y="1047"/>
                    </a:cubicBezTo>
                    <a:cubicBezTo>
                      <a:pt x="1593" y="1044"/>
                      <a:pt x="1595" y="1042"/>
                      <a:pt x="1596" y="1039"/>
                    </a:cubicBezTo>
                    <a:cubicBezTo>
                      <a:pt x="1788" y="687"/>
                      <a:pt x="1788" y="687"/>
                      <a:pt x="1788" y="687"/>
                    </a:cubicBezTo>
                    <a:cubicBezTo>
                      <a:pt x="1791" y="683"/>
                      <a:pt x="1792" y="677"/>
                      <a:pt x="1792" y="672"/>
                    </a:cubicBezTo>
                    <a:cubicBezTo>
                      <a:pt x="1792" y="128"/>
                      <a:pt x="1792" y="128"/>
                      <a:pt x="1792" y="128"/>
                    </a:cubicBezTo>
                    <a:cubicBezTo>
                      <a:pt x="1792" y="57"/>
                      <a:pt x="1735" y="0"/>
                      <a:pt x="1664" y="0"/>
                    </a:cubicBezTo>
                    <a:close/>
                    <a:moveTo>
                      <a:pt x="497" y="1252"/>
                    </a:moveTo>
                    <a:cubicBezTo>
                      <a:pt x="250" y="1005"/>
                      <a:pt x="250" y="1005"/>
                      <a:pt x="250" y="1005"/>
                    </a:cubicBezTo>
                    <a:cubicBezTo>
                      <a:pt x="64" y="664"/>
                      <a:pt x="64" y="664"/>
                      <a:pt x="64" y="664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64" y="93"/>
                      <a:pt x="93" y="64"/>
                      <a:pt x="128" y="64"/>
                    </a:cubicBezTo>
                    <a:cubicBezTo>
                      <a:pt x="163" y="64"/>
                      <a:pt x="192" y="93"/>
                      <a:pt x="192" y="128"/>
                    </a:cubicBezTo>
                    <a:cubicBezTo>
                      <a:pt x="192" y="544"/>
                      <a:pt x="192" y="544"/>
                      <a:pt x="192" y="544"/>
                    </a:cubicBezTo>
                    <a:cubicBezTo>
                      <a:pt x="192" y="551"/>
                      <a:pt x="194" y="558"/>
                      <a:pt x="199" y="564"/>
                    </a:cubicBezTo>
                    <a:cubicBezTo>
                      <a:pt x="551" y="1012"/>
                      <a:pt x="551" y="1012"/>
                      <a:pt x="551" y="1012"/>
                    </a:cubicBezTo>
                    <a:cubicBezTo>
                      <a:pt x="601" y="972"/>
                      <a:pt x="601" y="972"/>
                      <a:pt x="601" y="972"/>
                    </a:cubicBezTo>
                    <a:cubicBezTo>
                      <a:pt x="384" y="696"/>
                      <a:pt x="384" y="696"/>
                      <a:pt x="384" y="696"/>
                    </a:cubicBezTo>
                    <a:cubicBezTo>
                      <a:pt x="384" y="640"/>
                      <a:pt x="384" y="640"/>
                      <a:pt x="384" y="640"/>
                    </a:cubicBezTo>
                    <a:cubicBezTo>
                      <a:pt x="384" y="622"/>
                      <a:pt x="398" y="608"/>
                      <a:pt x="416" y="608"/>
                    </a:cubicBezTo>
                    <a:cubicBezTo>
                      <a:pt x="420" y="608"/>
                      <a:pt x="420" y="608"/>
                      <a:pt x="420" y="608"/>
                    </a:cubicBezTo>
                    <a:cubicBezTo>
                      <a:pt x="429" y="608"/>
                      <a:pt x="438" y="612"/>
                      <a:pt x="444" y="618"/>
                    </a:cubicBezTo>
                    <a:cubicBezTo>
                      <a:pt x="838" y="1041"/>
                      <a:pt x="838" y="1041"/>
                      <a:pt x="838" y="1041"/>
                    </a:cubicBezTo>
                    <a:cubicBezTo>
                      <a:pt x="855" y="1059"/>
                      <a:pt x="864" y="1082"/>
                      <a:pt x="864" y="1106"/>
                    </a:cubicBezTo>
                    <a:cubicBezTo>
                      <a:pt x="864" y="1472"/>
                      <a:pt x="864" y="1472"/>
                      <a:pt x="864" y="1472"/>
                    </a:cubicBezTo>
                    <a:cubicBezTo>
                      <a:pt x="544" y="1472"/>
                      <a:pt x="544" y="1472"/>
                      <a:pt x="544" y="1472"/>
                    </a:cubicBezTo>
                    <a:cubicBezTo>
                      <a:pt x="544" y="1365"/>
                      <a:pt x="544" y="1365"/>
                      <a:pt x="544" y="1365"/>
                    </a:cubicBezTo>
                    <a:cubicBezTo>
                      <a:pt x="544" y="1322"/>
                      <a:pt x="527" y="1282"/>
                      <a:pt x="497" y="1252"/>
                    </a:cubicBezTo>
                    <a:close/>
                    <a:moveTo>
                      <a:pt x="544" y="1536"/>
                    </a:moveTo>
                    <a:cubicBezTo>
                      <a:pt x="864" y="1536"/>
                      <a:pt x="864" y="1536"/>
                      <a:pt x="864" y="1536"/>
                    </a:cubicBezTo>
                    <a:cubicBezTo>
                      <a:pt x="864" y="1600"/>
                      <a:pt x="864" y="1600"/>
                      <a:pt x="864" y="1600"/>
                    </a:cubicBezTo>
                    <a:cubicBezTo>
                      <a:pt x="544" y="1600"/>
                      <a:pt x="544" y="1600"/>
                      <a:pt x="544" y="1600"/>
                    </a:cubicBezTo>
                    <a:lnTo>
                      <a:pt x="544" y="1536"/>
                    </a:lnTo>
                    <a:close/>
                    <a:moveTo>
                      <a:pt x="928" y="1600"/>
                    </a:moveTo>
                    <a:cubicBezTo>
                      <a:pt x="928" y="1536"/>
                      <a:pt x="928" y="1536"/>
                      <a:pt x="928" y="1536"/>
                    </a:cubicBezTo>
                    <a:cubicBezTo>
                      <a:pt x="1248" y="1536"/>
                      <a:pt x="1248" y="1536"/>
                      <a:pt x="1248" y="1536"/>
                    </a:cubicBezTo>
                    <a:cubicBezTo>
                      <a:pt x="1248" y="1600"/>
                      <a:pt x="1248" y="1600"/>
                      <a:pt x="1248" y="1600"/>
                    </a:cubicBezTo>
                    <a:lnTo>
                      <a:pt x="928" y="1600"/>
                    </a:lnTo>
                    <a:close/>
                    <a:moveTo>
                      <a:pt x="1728" y="664"/>
                    </a:moveTo>
                    <a:cubicBezTo>
                      <a:pt x="1542" y="1005"/>
                      <a:pt x="1542" y="1005"/>
                      <a:pt x="1542" y="1005"/>
                    </a:cubicBezTo>
                    <a:cubicBezTo>
                      <a:pt x="1295" y="1252"/>
                      <a:pt x="1295" y="1252"/>
                      <a:pt x="1295" y="1252"/>
                    </a:cubicBezTo>
                    <a:cubicBezTo>
                      <a:pt x="1265" y="1282"/>
                      <a:pt x="1248" y="1322"/>
                      <a:pt x="1248" y="1365"/>
                    </a:cubicBezTo>
                    <a:cubicBezTo>
                      <a:pt x="1248" y="1472"/>
                      <a:pt x="1248" y="1472"/>
                      <a:pt x="1248" y="1472"/>
                    </a:cubicBezTo>
                    <a:cubicBezTo>
                      <a:pt x="928" y="1472"/>
                      <a:pt x="928" y="1472"/>
                      <a:pt x="928" y="1472"/>
                    </a:cubicBezTo>
                    <a:cubicBezTo>
                      <a:pt x="928" y="1106"/>
                      <a:pt x="928" y="1106"/>
                      <a:pt x="928" y="1106"/>
                    </a:cubicBezTo>
                    <a:cubicBezTo>
                      <a:pt x="928" y="1082"/>
                      <a:pt x="937" y="1059"/>
                      <a:pt x="954" y="1041"/>
                    </a:cubicBezTo>
                    <a:cubicBezTo>
                      <a:pt x="1348" y="618"/>
                      <a:pt x="1348" y="618"/>
                      <a:pt x="1348" y="618"/>
                    </a:cubicBezTo>
                    <a:cubicBezTo>
                      <a:pt x="1354" y="612"/>
                      <a:pt x="1363" y="608"/>
                      <a:pt x="1372" y="608"/>
                    </a:cubicBezTo>
                    <a:cubicBezTo>
                      <a:pt x="1376" y="608"/>
                      <a:pt x="1376" y="608"/>
                      <a:pt x="1376" y="608"/>
                    </a:cubicBezTo>
                    <a:cubicBezTo>
                      <a:pt x="1394" y="608"/>
                      <a:pt x="1408" y="622"/>
                      <a:pt x="1408" y="640"/>
                    </a:cubicBezTo>
                    <a:cubicBezTo>
                      <a:pt x="1408" y="696"/>
                      <a:pt x="1408" y="696"/>
                      <a:pt x="1408" y="696"/>
                    </a:cubicBezTo>
                    <a:cubicBezTo>
                      <a:pt x="1191" y="972"/>
                      <a:pt x="1191" y="972"/>
                      <a:pt x="1191" y="972"/>
                    </a:cubicBezTo>
                    <a:cubicBezTo>
                      <a:pt x="1241" y="1012"/>
                      <a:pt x="1241" y="1012"/>
                      <a:pt x="1241" y="1012"/>
                    </a:cubicBezTo>
                    <a:cubicBezTo>
                      <a:pt x="1593" y="564"/>
                      <a:pt x="1593" y="564"/>
                      <a:pt x="1593" y="564"/>
                    </a:cubicBezTo>
                    <a:cubicBezTo>
                      <a:pt x="1598" y="558"/>
                      <a:pt x="1600" y="551"/>
                      <a:pt x="1600" y="544"/>
                    </a:cubicBezTo>
                    <a:cubicBezTo>
                      <a:pt x="1600" y="128"/>
                      <a:pt x="1600" y="128"/>
                      <a:pt x="1600" y="128"/>
                    </a:cubicBezTo>
                    <a:cubicBezTo>
                      <a:pt x="1600" y="93"/>
                      <a:pt x="1629" y="64"/>
                      <a:pt x="1664" y="64"/>
                    </a:cubicBezTo>
                    <a:cubicBezTo>
                      <a:pt x="1699" y="64"/>
                      <a:pt x="1728" y="93"/>
                      <a:pt x="1728" y="128"/>
                    </a:cubicBezTo>
                    <a:lnTo>
                      <a:pt x="1728" y="66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26">
                <a:extLst>
                  <a:ext uri="{FF2B5EF4-FFF2-40B4-BE49-F238E27FC236}">
                    <a16:creationId xmlns:a16="http://schemas.microsoft.com/office/drawing/2014/main" id="{A9A6E06B-76FA-42FC-9F10-6F01691AA30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406900" y="-3175"/>
                <a:ext cx="2655888" cy="2657475"/>
              </a:xfrm>
              <a:custGeom>
                <a:avLst/>
                <a:gdLst>
                  <a:gd name="T0" fmla="*/ 1024 w 1024"/>
                  <a:gd name="T1" fmla="*/ 512 h 1024"/>
                  <a:gd name="T2" fmla="*/ 0 w 1024"/>
                  <a:gd name="T3" fmla="*/ 512 h 1024"/>
                  <a:gd name="T4" fmla="*/ 512 w 1024"/>
                  <a:gd name="T5" fmla="*/ 960 h 1024"/>
                  <a:gd name="T6" fmla="*/ 141 w 1024"/>
                  <a:gd name="T7" fmla="*/ 480 h 1024"/>
                  <a:gd name="T8" fmla="*/ 215 w 1024"/>
                  <a:gd name="T9" fmla="*/ 471 h 1024"/>
                  <a:gd name="T10" fmla="*/ 320 w 1024"/>
                  <a:gd name="T11" fmla="*/ 416 h 1024"/>
                  <a:gd name="T12" fmla="*/ 471 w 1024"/>
                  <a:gd name="T13" fmla="*/ 279 h 1024"/>
                  <a:gd name="T14" fmla="*/ 480 w 1024"/>
                  <a:gd name="T15" fmla="*/ 205 h 1024"/>
                  <a:gd name="T16" fmla="*/ 544 w 1024"/>
                  <a:gd name="T17" fmla="*/ 128 h 1024"/>
                  <a:gd name="T18" fmla="*/ 704 w 1024"/>
                  <a:gd name="T19" fmla="*/ 108 h 1024"/>
                  <a:gd name="T20" fmla="*/ 649 w 1024"/>
                  <a:gd name="T21" fmla="*/ 233 h 1024"/>
                  <a:gd name="T22" fmla="*/ 640 w 1024"/>
                  <a:gd name="T23" fmla="*/ 307 h 1024"/>
                  <a:gd name="T24" fmla="*/ 576 w 1024"/>
                  <a:gd name="T25" fmla="*/ 384 h 1024"/>
                  <a:gd name="T26" fmla="*/ 585 w 1024"/>
                  <a:gd name="T27" fmla="*/ 471 h 1024"/>
                  <a:gd name="T28" fmla="*/ 640 w 1024"/>
                  <a:gd name="T29" fmla="*/ 576 h 1024"/>
                  <a:gd name="T30" fmla="*/ 713 w 1024"/>
                  <a:gd name="T31" fmla="*/ 663 h 1024"/>
                  <a:gd name="T32" fmla="*/ 787 w 1024"/>
                  <a:gd name="T33" fmla="*/ 672 h 1024"/>
                  <a:gd name="T34" fmla="*/ 512 w 1024"/>
                  <a:gd name="T35" fmla="*/ 960 h 1024"/>
                  <a:gd name="T36" fmla="*/ 914 w 1024"/>
                  <a:gd name="T37" fmla="*/ 709 h 1024"/>
                  <a:gd name="T38" fmla="*/ 800 w 1024"/>
                  <a:gd name="T39" fmla="*/ 608 h 1024"/>
                  <a:gd name="T40" fmla="*/ 704 w 1024"/>
                  <a:gd name="T41" fmla="*/ 563 h 1024"/>
                  <a:gd name="T42" fmla="*/ 695 w 1024"/>
                  <a:gd name="T43" fmla="*/ 489 h 1024"/>
                  <a:gd name="T44" fmla="*/ 640 w 1024"/>
                  <a:gd name="T45" fmla="*/ 397 h 1024"/>
                  <a:gd name="T46" fmla="*/ 704 w 1024"/>
                  <a:gd name="T47" fmla="*/ 320 h 1024"/>
                  <a:gd name="T48" fmla="*/ 759 w 1024"/>
                  <a:gd name="T49" fmla="*/ 215 h 1024"/>
                  <a:gd name="T50" fmla="*/ 768 w 1024"/>
                  <a:gd name="T51" fmla="*/ 145 h 1024"/>
                  <a:gd name="T52" fmla="*/ 480 w 1024"/>
                  <a:gd name="T53" fmla="*/ 66 h 1024"/>
                  <a:gd name="T54" fmla="*/ 425 w 1024"/>
                  <a:gd name="T55" fmla="*/ 169 h 1024"/>
                  <a:gd name="T56" fmla="*/ 416 w 1024"/>
                  <a:gd name="T57" fmla="*/ 243 h 1024"/>
                  <a:gd name="T58" fmla="*/ 256 w 1024"/>
                  <a:gd name="T59" fmla="*/ 352 h 1024"/>
                  <a:gd name="T60" fmla="*/ 179 w 1024"/>
                  <a:gd name="T61" fmla="*/ 416 h 1024"/>
                  <a:gd name="T62" fmla="*/ 105 w 1024"/>
                  <a:gd name="T63" fmla="*/ 425 h 1024"/>
                  <a:gd name="T64" fmla="*/ 480 w 1024"/>
                  <a:gd name="T65" fmla="*/ 66 h 1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4" h="1024">
                    <a:moveTo>
                      <a:pt x="512" y="1024"/>
                    </a:moveTo>
                    <a:cubicBezTo>
                      <a:pt x="794" y="1024"/>
                      <a:pt x="1024" y="794"/>
                      <a:pt x="1024" y="512"/>
                    </a:cubicBezTo>
                    <a:cubicBezTo>
                      <a:pt x="1024" y="230"/>
                      <a:pt x="794" y="0"/>
                      <a:pt x="512" y="0"/>
                    </a:cubicBezTo>
                    <a:cubicBezTo>
                      <a:pt x="230" y="0"/>
                      <a:pt x="0" y="230"/>
                      <a:pt x="0" y="512"/>
                    </a:cubicBezTo>
                    <a:cubicBezTo>
                      <a:pt x="0" y="794"/>
                      <a:pt x="230" y="1024"/>
                      <a:pt x="512" y="1024"/>
                    </a:cubicBezTo>
                    <a:close/>
                    <a:moveTo>
                      <a:pt x="512" y="960"/>
                    </a:moveTo>
                    <a:cubicBezTo>
                      <a:pt x="280" y="960"/>
                      <a:pt x="88" y="782"/>
                      <a:pt x="66" y="555"/>
                    </a:cubicBezTo>
                    <a:cubicBezTo>
                      <a:pt x="141" y="480"/>
                      <a:pt x="141" y="480"/>
                      <a:pt x="141" y="480"/>
                    </a:cubicBezTo>
                    <a:cubicBezTo>
                      <a:pt x="192" y="480"/>
                      <a:pt x="192" y="480"/>
                      <a:pt x="192" y="480"/>
                    </a:cubicBezTo>
                    <a:cubicBezTo>
                      <a:pt x="200" y="480"/>
                      <a:pt x="209" y="477"/>
                      <a:pt x="215" y="471"/>
                    </a:cubicBezTo>
                    <a:cubicBezTo>
                      <a:pt x="269" y="416"/>
                      <a:pt x="269" y="416"/>
                      <a:pt x="269" y="416"/>
                    </a:cubicBezTo>
                    <a:cubicBezTo>
                      <a:pt x="320" y="416"/>
                      <a:pt x="320" y="416"/>
                      <a:pt x="320" y="416"/>
                    </a:cubicBezTo>
                    <a:cubicBezTo>
                      <a:pt x="328" y="416"/>
                      <a:pt x="337" y="413"/>
                      <a:pt x="343" y="407"/>
                    </a:cubicBezTo>
                    <a:cubicBezTo>
                      <a:pt x="471" y="279"/>
                      <a:pt x="471" y="279"/>
                      <a:pt x="471" y="279"/>
                    </a:cubicBezTo>
                    <a:cubicBezTo>
                      <a:pt x="477" y="273"/>
                      <a:pt x="480" y="264"/>
                      <a:pt x="480" y="256"/>
                    </a:cubicBezTo>
                    <a:cubicBezTo>
                      <a:pt x="480" y="205"/>
                      <a:pt x="480" y="205"/>
                      <a:pt x="480" y="205"/>
                    </a:cubicBezTo>
                    <a:cubicBezTo>
                      <a:pt x="535" y="151"/>
                      <a:pt x="535" y="151"/>
                      <a:pt x="535" y="151"/>
                    </a:cubicBezTo>
                    <a:cubicBezTo>
                      <a:pt x="541" y="145"/>
                      <a:pt x="544" y="136"/>
                      <a:pt x="544" y="128"/>
                    </a:cubicBezTo>
                    <a:cubicBezTo>
                      <a:pt x="544" y="66"/>
                      <a:pt x="544" y="66"/>
                      <a:pt x="544" y="66"/>
                    </a:cubicBezTo>
                    <a:cubicBezTo>
                      <a:pt x="601" y="70"/>
                      <a:pt x="655" y="84"/>
                      <a:pt x="704" y="108"/>
                    </a:cubicBezTo>
                    <a:cubicBezTo>
                      <a:pt x="704" y="179"/>
                      <a:pt x="704" y="179"/>
                      <a:pt x="704" y="179"/>
                    </a:cubicBezTo>
                    <a:cubicBezTo>
                      <a:pt x="649" y="233"/>
                      <a:pt x="649" y="233"/>
                      <a:pt x="649" y="233"/>
                    </a:cubicBezTo>
                    <a:cubicBezTo>
                      <a:pt x="643" y="239"/>
                      <a:pt x="640" y="248"/>
                      <a:pt x="640" y="256"/>
                    </a:cubicBezTo>
                    <a:cubicBezTo>
                      <a:pt x="640" y="307"/>
                      <a:pt x="640" y="307"/>
                      <a:pt x="640" y="307"/>
                    </a:cubicBezTo>
                    <a:cubicBezTo>
                      <a:pt x="585" y="361"/>
                      <a:pt x="585" y="361"/>
                      <a:pt x="585" y="361"/>
                    </a:cubicBezTo>
                    <a:cubicBezTo>
                      <a:pt x="579" y="367"/>
                      <a:pt x="576" y="376"/>
                      <a:pt x="576" y="384"/>
                    </a:cubicBezTo>
                    <a:cubicBezTo>
                      <a:pt x="576" y="448"/>
                      <a:pt x="576" y="448"/>
                      <a:pt x="576" y="448"/>
                    </a:cubicBezTo>
                    <a:cubicBezTo>
                      <a:pt x="576" y="456"/>
                      <a:pt x="579" y="465"/>
                      <a:pt x="585" y="471"/>
                    </a:cubicBezTo>
                    <a:cubicBezTo>
                      <a:pt x="640" y="525"/>
                      <a:pt x="640" y="525"/>
                      <a:pt x="640" y="525"/>
                    </a:cubicBezTo>
                    <a:cubicBezTo>
                      <a:pt x="640" y="576"/>
                      <a:pt x="640" y="576"/>
                      <a:pt x="640" y="576"/>
                    </a:cubicBezTo>
                    <a:cubicBezTo>
                      <a:pt x="640" y="584"/>
                      <a:pt x="643" y="593"/>
                      <a:pt x="649" y="599"/>
                    </a:cubicBezTo>
                    <a:cubicBezTo>
                      <a:pt x="713" y="663"/>
                      <a:pt x="713" y="663"/>
                      <a:pt x="713" y="663"/>
                    </a:cubicBezTo>
                    <a:cubicBezTo>
                      <a:pt x="719" y="669"/>
                      <a:pt x="728" y="672"/>
                      <a:pt x="736" y="672"/>
                    </a:cubicBezTo>
                    <a:cubicBezTo>
                      <a:pt x="787" y="672"/>
                      <a:pt x="787" y="672"/>
                      <a:pt x="787" y="672"/>
                    </a:cubicBezTo>
                    <a:cubicBezTo>
                      <a:pt x="881" y="766"/>
                      <a:pt x="881" y="766"/>
                      <a:pt x="881" y="766"/>
                    </a:cubicBezTo>
                    <a:cubicBezTo>
                      <a:pt x="800" y="883"/>
                      <a:pt x="665" y="960"/>
                      <a:pt x="512" y="960"/>
                    </a:cubicBezTo>
                    <a:close/>
                    <a:moveTo>
                      <a:pt x="960" y="512"/>
                    </a:moveTo>
                    <a:cubicBezTo>
                      <a:pt x="960" y="583"/>
                      <a:pt x="943" y="649"/>
                      <a:pt x="914" y="709"/>
                    </a:cubicBezTo>
                    <a:cubicBezTo>
                      <a:pt x="823" y="617"/>
                      <a:pt x="823" y="617"/>
                      <a:pt x="823" y="617"/>
                    </a:cubicBezTo>
                    <a:cubicBezTo>
                      <a:pt x="817" y="611"/>
                      <a:pt x="808" y="608"/>
                      <a:pt x="800" y="608"/>
                    </a:cubicBezTo>
                    <a:cubicBezTo>
                      <a:pt x="749" y="608"/>
                      <a:pt x="749" y="608"/>
                      <a:pt x="749" y="608"/>
                    </a:cubicBezTo>
                    <a:cubicBezTo>
                      <a:pt x="704" y="563"/>
                      <a:pt x="704" y="563"/>
                      <a:pt x="704" y="563"/>
                    </a:cubicBezTo>
                    <a:cubicBezTo>
                      <a:pt x="704" y="512"/>
                      <a:pt x="704" y="512"/>
                      <a:pt x="704" y="512"/>
                    </a:cubicBezTo>
                    <a:cubicBezTo>
                      <a:pt x="704" y="504"/>
                      <a:pt x="701" y="495"/>
                      <a:pt x="695" y="489"/>
                    </a:cubicBezTo>
                    <a:cubicBezTo>
                      <a:pt x="640" y="435"/>
                      <a:pt x="640" y="435"/>
                      <a:pt x="640" y="435"/>
                    </a:cubicBezTo>
                    <a:cubicBezTo>
                      <a:pt x="640" y="397"/>
                      <a:pt x="640" y="397"/>
                      <a:pt x="640" y="397"/>
                    </a:cubicBezTo>
                    <a:cubicBezTo>
                      <a:pt x="695" y="343"/>
                      <a:pt x="695" y="343"/>
                      <a:pt x="695" y="343"/>
                    </a:cubicBezTo>
                    <a:cubicBezTo>
                      <a:pt x="701" y="337"/>
                      <a:pt x="704" y="328"/>
                      <a:pt x="704" y="320"/>
                    </a:cubicBezTo>
                    <a:cubicBezTo>
                      <a:pt x="704" y="269"/>
                      <a:pt x="704" y="269"/>
                      <a:pt x="704" y="269"/>
                    </a:cubicBezTo>
                    <a:cubicBezTo>
                      <a:pt x="759" y="215"/>
                      <a:pt x="759" y="215"/>
                      <a:pt x="759" y="215"/>
                    </a:cubicBezTo>
                    <a:cubicBezTo>
                      <a:pt x="765" y="209"/>
                      <a:pt x="768" y="200"/>
                      <a:pt x="768" y="192"/>
                    </a:cubicBezTo>
                    <a:cubicBezTo>
                      <a:pt x="768" y="145"/>
                      <a:pt x="768" y="145"/>
                      <a:pt x="768" y="145"/>
                    </a:cubicBezTo>
                    <a:cubicBezTo>
                      <a:pt x="884" y="226"/>
                      <a:pt x="960" y="360"/>
                      <a:pt x="960" y="512"/>
                    </a:cubicBezTo>
                    <a:close/>
                    <a:moveTo>
                      <a:pt x="480" y="66"/>
                    </a:moveTo>
                    <a:cubicBezTo>
                      <a:pt x="480" y="115"/>
                      <a:pt x="480" y="115"/>
                      <a:pt x="480" y="115"/>
                    </a:cubicBezTo>
                    <a:cubicBezTo>
                      <a:pt x="425" y="169"/>
                      <a:pt x="425" y="169"/>
                      <a:pt x="425" y="169"/>
                    </a:cubicBezTo>
                    <a:cubicBezTo>
                      <a:pt x="419" y="175"/>
                      <a:pt x="416" y="184"/>
                      <a:pt x="416" y="192"/>
                    </a:cubicBezTo>
                    <a:cubicBezTo>
                      <a:pt x="416" y="243"/>
                      <a:pt x="416" y="243"/>
                      <a:pt x="416" y="243"/>
                    </a:cubicBezTo>
                    <a:cubicBezTo>
                      <a:pt x="307" y="352"/>
                      <a:pt x="307" y="352"/>
                      <a:pt x="307" y="352"/>
                    </a:cubicBezTo>
                    <a:cubicBezTo>
                      <a:pt x="256" y="352"/>
                      <a:pt x="256" y="352"/>
                      <a:pt x="256" y="352"/>
                    </a:cubicBezTo>
                    <a:cubicBezTo>
                      <a:pt x="248" y="352"/>
                      <a:pt x="239" y="355"/>
                      <a:pt x="233" y="361"/>
                    </a:cubicBezTo>
                    <a:cubicBezTo>
                      <a:pt x="179" y="416"/>
                      <a:pt x="179" y="416"/>
                      <a:pt x="179" y="416"/>
                    </a:cubicBezTo>
                    <a:cubicBezTo>
                      <a:pt x="128" y="416"/>
                      <a:pt x="128" y="416"/>
                      <a:pt x="128" y="416"/>
                    </a:cubicBezTo>
                    <a:cubicBezTo>
                      <a:pt x="120" y="416"/>
                      <a:pt x="111" y="419"/>
                      <a:pt x="105" y="425"/>
                    </a:cubicBezTo>
                    <a:cubicBezTo>
                      <a:pt x="67" y="464"/>
                      <a:pt x="67" y="464"/>
                      <a:pt x="67" y="464"/>
                    </a:cubicBezTo>
                    <a:cubicBezTo>
                      <a:pt x="90" y="250"/>
                      <a:pt x="264" y="81"/>
                      <a:pt x="480" y="6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27">
                <a:extLst>
                  <a:ext uri="{FF2B5EF4-FFF2-40B4-BE49-F238E27FC236}">
                    <a16:creationId xmlns:a16="http://schemas.microsoft.com/office/drawing/2014/main" id="{AF3F9CE8-7C5A-491A-ACB7-583C779AA2A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908425" y="1243013"/>
                <a:ext cx="1160463" cy="1077913"/>
              </a:xfrm>
              <a:custGeom>
                <a:avLst/>
                <a:gdLst>
                  <a:gd name="T0" fmla="*/ 384 w 448"/>
                  <a:gd name="T1" fmla="*/ 179 h 416"/>
                  <a:gd name="T2" fmla="*/ 384 w 448"/>
                  <a:gd name="T3" fmla="*/ 96 h 416"/>
                  <a:gd name="T4" fmla="*/ 375 w 448"/>
                  <a:gd name="T5" fmla="*/ 73 h 416"/>
                  <a:gd name="T6" fmla="*/ 311 w 448"/>
                  <a:gd name="T7" fmla="*/ 9 h 416"/>
                  <a:gd name="T8" fmla="*/ 288 w 448"/>
                  <a:gd name="T9" fmla="*/ 0 h 416"/>
                  <a:gd name="T10" fmla="*/ 224 w 448"/>
                  <a:gd name="T11" fmla="*/ 0 h 416"/>
                  <a:gd name="T12" fmla="*/ 201 w 448"/>
                  <a:gd name="T13" fmla="*/ 9 h 416"/>
                  <a:gd name="T14" fmla="*/ 147 w 448"/>
                  <a:gd name="T15" fmla="*/ 64 h 416"/>
                  <a:gd name="T16" fmla="*/ 32 w 448"/>
                  <a:gd name="T17" fmla="*/ 64 h 416"/>
                  <a:gd name="T18" fmla="*/ 0 w 448"/>
                  <a:gd name="T19" fmla="*/ 96 h 416"/>
                  <a:gd name="T20" fmla="*/ 0 w 448"/>
                  <a:gd name="T21" fmla="*/ 256 h 416"/>
                  <a:gd name="T22" fmla="*/ 32 w 448"/>
                  <a:gd name="T23" fmla="*/ 288 h 416"/>
                  <a:gd name="T24" fmla="*/ 83 w 448"/>
                  <a:gd name="T25" fmla="*/ 288 h 416"/>
                  <a:gd name="T26" fmla="*/ 137 w 448"/>
                  <a:gd name="T27" fmla="*/ 343 h 416"/>
                  <a:gd name="T28" fmla="*/ 160 w 448"/>
                  <a:gd name="T29" fmla="*/ 352 h 416"/>
                  <a:gd name="T30" fmla="*/ 211 w 448"/>
                  <a:gd name="T31" fmla="*/ 352 h 416"/>
                  <a:gd name="T32" fmla="*/ 265 w 448"/>
                  <a:gd name="T33" fmla="*/ 407 h 416"/>
                  <a:gd name="T34" fmla="*/ 288 w 448"/>
                  <a:gd name="T35" fmla="*/ 416 h 416"/>
                  <a:gd name="T36" fmla="*/ 352 w 448"/>
                  <a:gd name="T37" fmla="*/ 416 h 416"/>
                  <a:gd name="T38" fmla="*/ 375 w 448"/>
                  <a:gd name="T39" fmla="*/ 407 h 416"/>
                  <a:gd name="T40" fmla="*/ 439 w 448"/>
                  <a:gd name="T41" fmla="*/ 343 h 416"/>
                  <a:gd name="T42" fmla="*/ 448 w 448"/>
                  <a:gd name="T43" fmla="*/ 320 h 416"/>
                  <a:gd name="T44" fmla="*/ 448 w 448"/>
                  <a:gd name="T45" fmla="*/ 256 h 416"/>
                  <a:gd name="T46" fmla="*/ 439 w 448"/>
                  <a:gd name="T47" fmla="*/ 233 h 416"/>
                  <a:gd name="T48" fmla="*/ 384 w 448"/>
                  <a:gd name="T49" fmla="*/ 179 h 416"/>
                  <a:gd name="T50" fmla="*/ 384 w 448"/>
                  <a:gd name="T51" fmla="*/ 307 h 416"/>
                  <a:gd name="T52" fmla="*/ 339 w 448"/>
                  <a:gd name="T53" fmla="*/ 352 h 416"/>
                  <a:gd name="T54" fmla="*/ 301 w 448"/>
                  <a:gd name="T55" fmla="*/ 352 h 416"/>
                  <a:gd name="T56" fmla="*/ 247 w 448"/>
                  <a:gd name="T57" fmla="*/ 297 h 416"/>
                  <a:gd name="T58" fmla="*/ 224 w 448"/>
                  <a:gd name="T59" fmla="*/ 288 h 416"/>
                  <a:gd name="T60" fmla="*/ 173 w 448"/>
                  <a:gd name="T61" fmla="*/ 288 h 416"/>
                  <a:gd name="T62" fmla="*/ 119 w 448"/>
                  <a:gd name="T63" fmla="*/ 233 h 416"/>
                  <a:gd name="T64" fmla="*/ 96 w 448"/>
                  <a:gd name="T65" fmla="*/ 224 h 416"/>
                  <a:gd name="T66" fmla="*/ 64 w 448"/>
                  <a:gd name="T67" fmla="*/ 224 h 416"/>
                  <a:gd name="T68" fmla="*/ 64 w 448"/>
                  <a:gd name="T69" fmla="*/ 128 h 416"/>
                  <a:gd name="T70" fmla="*/ 160 w 448"/>
                  <a:gd name="T71" fmla="*/ 128 h 416"/>
                  <a:gd name="T72" fmla="*/ 183 w 448"/>
                  <a:gd name="T73" fmla="*/ 119 h 416"/>
                  <a:gd name="T74" fmla="*/ 237 w 448"/>
                  <a:gd name="T75" fmla="*/ 64 h 416"/>
                  <a:gd name="T76" fmla="*/ 275 w 448"/>
                  <a:gd name="T77" fmla="*/ 64 h 416"/>
                  <a:gd name="T78" fmla="*/ 320 w 448"/>
                  <a:gd name="T79" fmla="*/ 109 h 416"/>
                  <a:gd name="T80" fmla="*/ 320 w 448"/>
                  <a:gd name="T81" fmla="*/ 192 h 416"/>
                  <a:gd name="T82" fmla="*/ 329 w 448"/>
                  <a:gd name="T83" fmla="*/ 215 h 416"/>
                  <a:gd name="T84" fmla="*/ 384 w 448"/>
                  <a:gd name="T85" fmla="*/ 269 h 416"/>
                  <a:gd name="T86" fmla="*/ 384 w 448"/>
                  <a:gd name="T87" fmla="*/ 307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48" h="416">
                    <a:moveTo>
                      <a:pt x="384" y="179"/>
                    </a:moveTo>
                    <a:cubicBezTo>
                      <a:pt x="384" y="96"/>
                      <a:pt x="384" y="96"/>
                      <a:pt x="384" y="96"/>
                    </a:cubicBezTo>
                    <a:cubicBezTo>
                      <a:pt x="384" y="88"/>
                      <a:pt x="381" y="79"/>
                      <a:pt x="375" y="73"/>
                    </a:cubicBezTo>
                    <a:cubicBezTo>
                      <a:pt x="311" y="9"/>
                      <a:pt x="311" y="9"/>
                      <a:pt x="311" y="9"/>
                    </a:cubicBezTo>
                    <a:cubicBezTo>
                      <a:pt x="305" y="3"/>
                      <a:pt x="296" y="0"/>
                      <a:pt x="288" y="0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216" y="0"/>
                      <a:pt x="207" y="3"/>
                      <a:pt x="201" y="9"/>
                    </a:cubicBezTo>
                    <a:cubicBezTo>
                      <a:pt x="147" y="64"/>
                      <a:pt x="147" y="64"/>
                      <a:pt x="147" y="64"/>
                    </a:cubicBezTo>
                    <a:cubicBezTo>
                      <a:pt x="32" y="64"/>
                      <a:pt x="32" y="64"/>
                      <a:pt x="32" y="64"/>
                    </a:cubicBezTo>
                    <a:cubicBezTo>
                      <a:pt x="14" y="64"/>
                      <a:pt x="0" y="78"/>
                      <a:pt x="0" y="96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0" y="274"/>
                      <a:pt x="14" y="288"/>
                      <a:pt x="32" y="288"/>
                    </a:cubicBezTo>
                    <a:cubicBezTo>
                      <a:pt x="83" y="288"/>
                      <a:pt x="83" y="288"/>
                      <a:pt x="83" y="288"/>
                    </a:cubicBezTo>
                    <a:cubicBezTo>
                      <a:pt x="137" y="343"/>
                      <a:pt x="137" y="343"/>
                      <a:pt x="137" y="343"/>
                    </a:cubicBezTo>
                    <a:cubicBezTo>
                      <a:pt x="143" y="349"/>
                      <a:pt x="152" y="352"/>
                      <a:pt x="160" y="352"/>
                    </a:cubicBezTo>
                    <a:cubicBezTo>
                      <a:pt x="211" y="352"/>
                      <a:pt x="211" y="352"/>
                      <a:pt x="211" y="352"/>
                    </a:cubicBezTo>
                    <a:cubicBezTo>
                      <a:pt x="265" y="407"/>
                      <a:pt x="265" y="407"/>
                      <a:pt x="265" y="407"/>
                    </a:cubicBezTo>
                    <a:cubicBezTo>
                      <a:pt x="271" y="413"/>
                      <a:pt x="280" y="416"/>
                      <a:pt x="288" y="416"/>
                    </a:cubicBezTo>
                    <a:cubicBezTo>
                      <a:pt x="352" y="416"/>
                      <a:pt x="352" y="416"/>
                      <a:pt x="352" y="416"/>
                    </a:cubicBezTo>
                    <a:cubicBezTo>
                      <a:pt x="360" y="416"/>
                      <a:pt x="369" y="413"/>
                      <a:pt x="375" y="407"/>
                    </a:cubicBezTo>
                    <a:cubicBezTo>
                      <a:pt x="439" y="343"/>
                      <a:pt x="439" y="343"/>
                      <a:pt x="439" y="343"/>
                    </a:cubicBezTo>
                    <a:cubicBezTo>
                      <a:pt x="445" y="337"/>
                      <a:pt x="448" y="328"/>
                      <a:pt x="448" y="320"/>
                    </a:cubicBezTo>
                    <a:cubicBezTo>
                      <a:pt x="448" y="256"/>
                      <a:pt x="448" y="256"/>
                      <a:pt x="448" y="256"/>
                    </a:cubicBezTo>
                    <a:cubicBezTo>
                      <a:pt x="448" y="248"/>
                      <a:pt x="445" y="239"/>
                      <a:pt x="439" y="233"/>
                    </a:cubicBezTo>
                    <a:lnTo>
                      <a:pt x="384" y="179"/>
                    </a:lnTo>
                    <a:close/>
                    <a:moveTo>
                      <a:pt x="384" y="307"/>
                    </a:moveTo>
                    <a:cubicBezTo>
                      <a:pt x="339" y="352"/>
                      <a:pt x="339" y="352"/>
                      <a:pt x="339" y="352"/>
                    </a:cubicBezTo>
                    <a:cubicBezTo>
                      <a:pt x="301" y="352"/>
                      <a:pt x="301" y="352"/>
                      <a:pt x="301" y="352"/>
                    </a:cubicBezTo>
                    <a:cubicBezTo>
                      <a:pt x="247" y="297"/>
                      <a:pt x="247" y="297"/>
                      <a:pt x="247" y="297"/>
                    </a:cubicBezTo>
                    <a:cubicBezTo>
                      <a:pt x="241" y="291"/>
                      <a:pt x="232" y="288"/>
                      <a:pt x="224" y="288"/>
                    </a:cubicBezTo>
                    <a:cubicBezTo>
                      <a:pt x="173" y="288"/>
                      <a:pt x="173" y="288"/>
                      <a:pt x="173" y="288"/>
                    </a:cubicBezTo>
                    <a:cubicBezTo>
                      <a:pt x="119" y="233"/>
                      <a:pt x="119" y="233"/>
                      <a:pt x="119" y="233"/>
                    </a:cubicBezTo>
                    <a:cubicBezTo>
                      <a:pt x="113" y="227"/>
                      <a:pt x="104" y="224"/>
                      <a:pt x="96" y="224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4" y="128"/>
                      <a:pt x="64" y="128"/>
                      <a:pt x="64" y="128"/>
                    </a:cubicBezTo>
                    <a:cubicBezTo>
                      <a:pt x="160" y="128"/>
                      <a:pt x="160" y="128"/>
                      <a:pt x="160" y="128"/>
                    </a:cubicBezTo>
                    <a:cubicBezTo>
                      <a:pt x="168" y="128"/>
                      <a:pt x="177" y="125"/>
                      <a:pt x="183" y="119"/>
                    </a:cubicBezTo>
                    <a:cubicBezTo>
                      <a:pt x="237" y="64"/>
                      <a:pt x="237" y="64"/>
                      <a:pt x="237" y="64"/>
                    </a:cubicBezTo>
                    <a:cubicBezTo>
                      <a:pt x="275" y="64"/>
                      <a:pt x="275" y="64"/>
                      <a:pt x="275" y="64"/>
                    </a:cubicBezTo>
                    <a:cubicBezTo>
                      <a:pt x="320" y="109"/>
                      <a:pt x="320" y="109"/>
                      <a:pt x="320" y="109"/>
                    </a:cubicBezTo>
                    <a:cubicBezTo>
                      <a:pt x="320" y="192"/>
                      <a:pt x="320" y="192"/>
                      <a:pt x="320" y="192"/>
                    </a:cubicBezTo>
                    <a:cubicBezTo>
                      <a:pt x="320" y="200"/>
                      <a:pt x="323" y="209"/>
                      <a:pt x="329" y="215"/>
                    </a:cubicBezTo>
                    <a:cubicBezTo>
                      <a:pt x="384" y="269"/>
                      <a:pt x="384" y="269"/>
                      <a:pt x="384" y="269"/>
                    </a:cubicBezTo>
                    <a:lnTo>
                      <a:pt x="384" y="30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86" name="Gruppieren 8">
            <a:extLst>
              <a:ext uri="{FF2B5EF4-FFF2-40B4-BE49-F238E27FC236}">
                <a16:creationId xmlns:a16="http://schemas.microsoft.com/office/drawing/2014/main" id="{51682F08-6219-43EA-9E82-E9D2CEE06CC9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-6910472" y="3019905"/>
            <a:ext cx="504000" cy="504000"/>
            <a:chOff x="1096573" y="2989421"/>
            <a:chExt cx="504000" cy="504000"/>
          </a:xfrm>
        </p:grpSpPr>
        <p:sp>
          <p:nvSpPr>
            <p:cNvPr id="87" name="Rectangle 107">
              <a:extLst>
                <a:ext uri="{FF2B5EF4-FFF2-40B4-BE49-F238E27FC236}">
                  <a16:creationId xmlns:a16="http://schemas.microsoft.com/office/drawing/2014/main" id="{EE8EA88A-BE31-4FE5-BA82-24908C5B746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096573" y="2989421"/>
              <a:ext cx="504000" cy="504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88" name="Group 5">
              <a:extLst>
                <a:ext uri="{FF2B5EF4-FFF2-40B4-BE49-F238E27FC236}">
                  <a16:creationId xmlns:a16="http://schemas.microsoft.com/office/drawing/2014/main" id="{73424470-6DD4-45A7-836B-A5CFBCBE1DA0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1164901" y="3046763"/>
              <a:ext cx="368454" cy="368454"/>
              <a:chOff x="943" y="-313"/>
              <a:chExt cx="3869" cy="3869"/>
            </a:xfrm>
            <a:solidFill>
              <a:schemeClr val="bg1"/>
            </a:solidFill>
          </p:grpSpPr>
          <p:sp>
            <p:nvSpPr>
              <p:cNvPr id="92" name="Freeform 6">
                <a:extLst>
                  <a:ext uri="{FF2B5EF4-FFF2-40B4-BE49-F238E27FC236}">
                    <a16:creationId xmlns:a16="http://schemas.microsoft.com/office/drawing/2014/main" id="{FA6DFC6A-DF08-4560-AF8F-C33DD99453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43" y="-313"/>
                <a:ext cx="3547" cy="2579"/>
              </a:xfrm>
              <a:custGeom>
                <a:avLst/>
                <a:gdLst>
                  <a:gd name="T0" fmla="*/ 55 w 1502"/>
                  <a:gd name="T1" fmla="*/ 819 h 1092"/>
                  <a:gd name="T2" fmla="*/ 819 w 1502"/>
                  <a:gd name="T3" fmla="*/ 55 h 1092"/>
                  <a:gd name="T4" fmla="*/ 1422 w 1502"/>
                  <a:gd name="T5" fmla="*/ 355 h 1092"/>
                  <a:gd name="T6" fmla="*/ 1256 w 1502"/>
                  <a:gd name="T7" fmla="*/ 355 h 1092"/>
                  <a:gd name="T8" fmla="*/ 1229 w 1502"/>
                  <a:gd name="T9" fmla="*/ 382 h 1092"/>
                  <a:gd name="T10" fmla="*/ 1256 w 1502"/>
                  <a:gd name="T11" fmla="*/ 410 h 1092"/>
                  <a:gd name="T12" fmla="*/ 1475 w 1502"/>
                  <a:gd name="T13" fmla="*/ 410 h 1092"/>
                  <a:gd name="T14" fmla="*/ 1477 w 1502"/>
                  <a:gd name="T15" fmla="*/ 409 h 1092"/>
                  <a:gd name="T16" fmla="*/ 1482 w 1502"/>
                  <a:gd name="T17" fmla="*/ 408 h 1092"/>
                  <a:gd name="T18" fmla="*/ 1487 w 1502"/>
                  <a:gd name="T19" fmla="*/ 406 h 1092"/>
                  <a:gd name="T20" fmla="*/ 1490 w 1502"/>
                  <a:gd name="T21" fmla="*/ 405 h 1092"/>
                  <a:gd name="T22" fmla="*/ 1492 w 1502"/>
                  <a:gd name="T23" fmla="*/ 403 h 1092"/>
                  <a:gd name="T24" fmla="*/ 1495 w 1502"/>
                  <a:gd name="T25" fmla="*/ 399 h 1092"/>
                  <a:gd name="T26" fmla="*/ 1498 w 1502"/>
                  <a:gd name="T27" fmla="*/ 395 h 1092"/>
                  <a:gd name="T28" fmla="*/ 1500 w 1502"/>
                  <a:gd name="T29" fmla="*/ 390 h 1092"/>
                  <a:gd name="T30" fmla="*/ 1501 w 1502"/>
                  <a:gd name="T31" fmla="*/ 385 h 1092"/>
                  <a:gd name="T32" fmla="*/ 1502 w 1502"/>
                  <a:gd name="T33" fmla="*/ 382 h 1092"/>
                  <a:gd name="T34" fmla="*/ 1502 w 1502"/>
                  <a:gd name="T35" fmla="*/ 164 h 1092"/>
                  <a:gd name="T36" fmla="*/ 1475 w 1502"/>
                  <a:gd name="T37" fmla="*/ 137 h 1092"/>
                  <a:gd name="T38" fmla="*/ 1447 w 1502"/>
                  <a:gd name="T39" fmla="*/ 164 h 1092"/>
                  <a:gd name="T40" fmla="*/ 1447 w 1502"/>
                  <a:gd name="T41" fmla="*/ 300 h 1092"/>
                  <a:gd name="T42" fmla="*/ 819 w 1502"/>
                  <a:gd name="T43" fmla="*/ 0 h 1092"/>
                  <a:gd name="T44" fmla="*/ 0 w 1502"/>
                  <a:gd name="T45" fmla="*/ 819 h 1092"/>
                  <a:gd name="T46" fmla="*/ 40 w 1502"/>
                  <a:gd name="T47" fmla="*/ 1073 h 1092"/>
                  <a:gd name="T48" fmla="*/ 66 w 1502"/>
                  <a:gd name="T49" fmla="*/ 1092 h 1092"/>
                  <a:gd name="T50" fmla="*/ 75 w 1502"/>
                  <a:gd name="T51" fmla="*/ 1091 h 1092"/>
                  <a:gd name="T52" fmla="*/ 92 w 1502"/>
                  <a:gd name="T53" fmla="*/ 1056 h 1092"/>
                  <a:gd name="T54" fmla="*/ 55 w 1502"/>
                  <a:gd name="T55" fmla="*/ 819 h 1092"/>
                  <a:gd name="T56" fmla="*/ 55 w 1502"/>
                  <a:gd name="T57" fmla="*/ 819 h 1092"/>
                  <a:gd name="T58" fmla="*/ 55 w 1502"/>
                  <a:gd name="T59" fmla="*/ 819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02" h="1092">
                    <a:moveTo>
                      <a:pt x="55" y="819"/>
                    </a:moveTo>
                    <a:cubicBezTo>
                      <a:pt x="55" y="398"/>
                      <a:pt x="398" y="55"/>
                      <a:pt x="819" y="55"/>
                    </a:cubicBezTo>
                    <a:cubicBezTo>
                      <a:pt x="1056" y="55"/>
                      <a:pt x="1277" y="166"/>
                      <a:pt x="1422" y="355"/>
                    </a:cubicBezTo>
                    <a:cubicBezTo>
                      <a:pt x="1256" y="355"/>
                      <a:pt x="1256" y="355"/>
                      <a:pt x="1256" y="355"/>
                    </a:cubicBezTo>
                    <a:cubicBezTo>
                      <a:pt x="1241" y="355"/>
                      <a:pt x="1229" y="367"/>
                      <a:pt x="1229" y="382"/>
                    </a:cubicBezTo>
                    <a:cubicBezTo>
                      <a:pt x="1229" y="397"/>
                      <a:pt x="1241" y="410"/>
                      <a:pt x="1256" y="410"/>
                    </a:cubicBezTo>
                    <a:cubicBezTo>
                      <a:pt x="1475" y="410"/>
                      <a:pt x="1475" y="410"/>
                      <a:pt x="1475" y="410"/>
                    </a:cubicBezTo>
                    <a:cubicBezTo>
                      <a:pt x="1475" y="410"/>
                      <a:pt x="1476" y="409"/>
                      <a:pt x="1477" y="409"/>
                    </a:cubicBezTo>
                    <a:cubicBezTo>
                      <a:pt x="1479" y="409"/>
                      <a:pt x="1481" y="409"/>
                      <a:pt x="1482" y="408"/>
                    </a:cubicBezTo>
                    <a:cubicBezTo>
                      <a:pt x="1484" y="407"/>
                      <a:pt x="1486" y="407"/>
                      <a:pt x="1487" y="406"/>
                    </a:cubicBezTo>
                    <a:cubicBezTo>
                      <a:pt x="1488" y="406"/>
                      <a:pt x="1489" y="406"/>
                      <a:pt x="1490" y="405"/>
                    </a:cubicBezTo>
                    <a:cubicBezTo>
                      <a:pt x="1490" y="405"/>
                      <a:pt x="1491" y="404"/>
                      <a:pt x="1492" y="403"/>
                    </a:cubicBezTo>
                    <a:cubicBezTo>
                      <a:pt x="1493" y="402"/>
                      <a:pt x="1494" y="401"/>
                      <a:pt x="1495" y="399"/>
                    </a:cubicBezTo>
                    <a:cubicBezTo>
                      <a:pt x="1497" y="398"/>
                      <a:pt x="1498" y="397"/>
                      <a:pt x="1498" y="395"/>
                    </a:cubicBezTo>
                    <a:cubicBezTo>
                      <a:pt x="1499" y="394"/>
                      <a:pt x="1500" y="392"/>
                      <a:pt x="1500" y="390"/>
                    </a:cubicBezTo>
                    <a:cubicBezTo>
                      <a:pt x="1501" y="389"/>
                      <a:pt x="1501" y="387"/>
                      <a:pt x="1501" y="385"/>
                    </a:cubicBezTo>
                    <a:cubicBezTo>
                      <a:pt x="1501" y="384"/>
                      <a:pt x="1502" y="383"/>
                      <a:pt x="1502" y="382"/>
                    </a:cubicBezTo>
                    <a:cubicBezTo>
                      <a:pt x="1502" y="164"/>
                      <a:pt x="1502" y="164"/>
                      <a:pt x="1502" y="164"/>
                    </a:cubicBezTo>
                    <a:cubicBezTo>
                      <a:pt x="1502" y="149"/>
                      <a:pt x="1490" y="137"/>
                      <a:pt x="1475" y="137"/>
                    </a:cubicBezTo>
                    <a:cubicBezTo>
                      <a:pt x="1459" y="137"/>
                      <a:pt x="1447" y="149"/>
                      <a:pt x="1447" y="164"/>
                    </a:cubicBezTo>
                    <a:cubicBezTo>
                      <a:pt x="1447" y="300"/>
                      <a:pt x="1447" y="300"/>
                      <a:pt x="1447" y="300"/>
                    </a:cubicBezTo>
                    <a:cubicBezTo>
                      <a:pt x="1293" y="111"/>
                      <a:pt x="1064" y="0"/>
                      <a:pt x="819" y="0"/>
                    </a:cubicBezTo>
                    <a:cubicBezTo>
                      <a:pt x="368" y="0"/>
                      <a:pt x="0" y="367"/>
                      <a:pt x="0" y="819"/>
                    </a:cubicBezTo>
                    <a:cubicBezTo>
                      <a:pt x="0" y="906"/>
                      <a:pt x="14" y="992"/>
                      <a:pt x="40" y="1073"/>
                    </a:cubicBezTo>
                    <a:cubicBezTo>
                      <a:pt x="44" y="1085"/>
                      <a:pt x="55" y="1092"/>
                      <a:pt x="66" y="1092"/>
                    </a:cubicBezTo>
                    <a:cubicBezTo>
                      <a:pt x="69" y="1092"/>
                      <a:pt x="72" y="1092"/>
                      <a:pt x="75" y="1091"/>
                    </a:cubicBezTo>
                    <a:cubicBezTo>
                      <a:pt x="89" y="1086"/>
                      <a:pt x="97" y="1071"/>
                      <a:pt x="92" y="1056"/>
                    </a:cubicBezTo>
                    <a:cubicBezTo>
                      <a:pt x="67" y="980"/>
                      <a:pt x="55" y="900"/>
                      <a:pt x="55" y="819"/>
                    </a:cubicBezTo>
                    <a:close/>
                    <a:moveTo>
                      <a:pt x="55" y="819"/>
                    </a:moveTo>
                    <a:cubicBezTo>
                      <a:pt x="55" y="819"/>
                      <a:pt x="55" y="819"/>
                      <a:pt x="55" y="8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8">
                <a:extLst>
                  <a:ext uri="{FF2B5EF4-FFF2-40B4-BE49-F238E27FC236}">
                    <a16:creationId xmlns:a16="http://schemas.microsoft.com/office/drawing/2014/main" id="{1156DC3A-4034-4C6A-B6B0-EA63380DAD0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266" y="958"/>
                <a:ext cx="3546" cy="2598"/>
              </a:xfrm>
              <a:custGeom>
                <a:avLst/>
                <a:gdLst>
                  <a:gd name="T0" fmla="*/ 1460 w 1501"/>
                  <a:gd name="T1" fmla="*/ 22 h 1100"/>
                  <a:gd name="T2" fmla="*/ 1425 w 1501"/>
                  <a:gd name="T3" fmla="*/ 5 h 1100"/>
                  <a:gd name="T4" fmla="*/ 1408 w 1501"/>
                  <a:gd name="T5" fmla="*/ 40 h 1100"/>
                  <a:gd name="T6" fmla="*/ 1447 w 1501"/>
                  <a:gd name="T7" fmla="*/ 281 h 1100"/>
                  <a:gd name="T8" fmla="*/ 682 w 1501"/>
                  <a:gd name="T9" fmla="*/ 1046 h 1100"/>
                  <a:gd name="T10" fmla="*/ 80 w 1501"/>
                  <a:gd name="T11" fmla="*/ 745 h 1100"/>
                  <a:gd name="T12" fmla="*/ 245 w 1501"/>
                  <a:gd name="T13" fmla="*/ 745 h 1100"/>
                  <a:gd name="T14" fmla="*/ 273 w 1501"/>
                  <a:gd name="T15" fmla="*/ 718 h 1100"/>
                  <a:gd name="T16" fmla="*/ 245 w 1501"/>
                  <a:gd name="T17" fmla="*/ 691 h 1100"/>
                  <a:gd name="T18" fmla="*/ 27 w 1501"/>
                  <a:gd name="T19" fmla="*/ 691 h 1100"/>
                  <a:gd name="T20" fmla="*/ 24 w 1501"/>
                  <a:gd name="T21" fmla="*/ 691 h 1100"/>
                  <a:gd name="T22" fmla="*/ 19 w 1501"/>
                  <a:gd name="T23" fmla="*/ 692 h 1100"/>
                  <a:gd name="T24" fmla="*/ 14 w 1501"/>
                  <a:gd name="T25" fmla="*/ 694 h 1100"/>
                  <a:gd name="T26" fmla="*/ 12 w 1501"/>
                  <a:gd name="T27" fmla="*/ 695 h 1100"/>
                  <a:gd name="T28" fmla="*/ 10 w 1501"/>
                  <a:gd name="T29" fmla="*/ 697 h 1100"/>
                  <a:gd name="T30" fmla="*/ 6 w 1501"/>
                  <a:gd name="T31" fmla="*/ 701 h 1100"/>
                  <a:gd name="T32" fmla="*/ 3 w 1501"/>
                  <a:gd name="T33" fmla="*/ 705 h 1100"/>
                  <a:gd name="T34" fmla="*/ 1 w 1501"/>
                  <a:gd name="T35" fmla="*/ 710 h 1100"/>
                  <a:gd name="T36" fmla="*/ 0 w 1501"/>
                  <a:gd name="T37" fmla="*/ 716 h 1100"/>
                  <a:gd name="T38" fmla="*/ 0 w 1501"/>
                  <a:gd name="T39" fmla="*/ 718 h 1100"/>
                  <a:gd name="T40" fmla="*/ 0 w 1501"/>
                  <a:gd name="T41" fmla="*/ 937 h 1100"/>
                  <a:gd name="T42" fmla="*/ 27 w 1501"/>
                  <a:gd name="T43" fmla="*/ 964 h 1100"/>
                  <a:gd name="T44" fmla="*/ 54 w 1501"/>
                  <a:gd name="T45" fmla="*/ 937 h 1100"/>
                  <a:gd name="T46" fmla="*/ 54 w 1501"/>
                  <a:gd name="T47" fmla="*/ 800 h 1100"/>
                  <a:gd name="T48" fmla="*/ 682 w 1501"/>
                  <a:gd name="T49" fmla="*/ 1100 h 1100"/>
                  <a:gd name="T50" fmla="*/ 1501 w 1501"/>
                  <a:gd name="T51" fmla="*/ 281 h 1100"/>
                  <a:gd name="T52" fmla="*/ 1460 w 1501"/>
                  <a:gd name="T53" fmla="*/ 22 h 1100"/>
                  <a:gd name="T54" fmla="*/ 1460 w 1501"/>
                  <a:gd name="T55" fmla="*/ 22 h 1100"/>
                  <a:gd name="T56" fmla="*/ 1460 w 1501"/>
                  <a:gd name="T57" fmla="*/ 22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01" h="1100">
                    <a:moveTo>
                      <a:pt x="1460" y="22"/>
                    </a:moveTo>
                    <a:cubicBezTo>
                      <a:pt x="1455" y="8"/>
                      <a:pt x="1440" y="0"/>
                      <a:pt x="1425" y="5"/>
                    </a:cubicBezTo>
                    <a:cubicBezTo>
                      <a:pt x="1411" y="10"/>
                      <a:pt x="1403" y="25"/>
                      <a:pt x="1408" y="40"/>
                    </a:cubicBezTo>
                    <a:cubicBezTo>
                      <a:pt x="1434" y="117"/>
                      <a:pt x="1447" y="199"/>
                      <a:pt x="1447" y="281"/>
                    </a:cubicBezTo>
                    <a:cubicBezTo>
                      <a:pt x="1447" y="703"/>
                      <a:pt x="1104" y="1046"/>
                      <a:pt x="682" y="1046"/>
                    </a:cubicBezTo>
                    <a:cubicBezTo>
                      <a:pt x="446" y="1046"/>
                      <a:pt x="224" y="934"/>
                      <a:pt x="80" y="745"/>
                    </a:cubicBezTo>
                    <a:cubicBezTo>
                      <a:pt x="245" y="745"/>
                      <a:pt x="245" y="745"/>
                      <a:pt x="245" y="745"/>
                    </a:cubicBezTo>
                    <a:cubicBezTo>
                      <a:pt x="260" y="745"/>
                      <a:pt x="273" y="733"/>
                      <a:pt x="273" y="718"/>
                    </a:cubicBezTo>
                    <a:cubicBezTo>
                      <a:pt x="273" y="703"/>
                      <a:pt x="260" y="691"/>
                      <a:pt x="245" y="691"/>
                    </a:cubicBezTo>
                    <a:cubicBezTo>
                      <a:pt x="27" y="691"/>
                      <a:pt x="27" y="691"/>
                      <a:pt x="27" y="691"/>
                    </a:cubicBezTo>
                    <a:cubicBezTo>
                      <a:pt x="26" y="691"/>
                      <a:pt x="25" y="691"/>
                      <a:pt x="24" y="691"/>
                    </a:cubicBezTo>
                    <a:cubicBezTo>
                      <a:pt x="23" y="691"/>
                      <a:pt x="21" y="692"/>
                      <a:pt x="19" y="692"/>
                    </a:cubicBezTo>
                    <a:cubicBezTo>
                      <a:pt x="17" y="693"/>
                      <a:pt x="16" y="694"/>
                      <a:pt x="14" y="694"/>
                    </a:cubicBezTo>
                    <a:cubicBezTo>
                      <a:pt x="13" y="695"/>
                      <a:pt x="12" y="695"/>
                      <a:pt x="12" y="695"/>
                    </a:cubicBezTo>
                    <a:cubicBezTo>
                      <a:pt x="11" y="696"/>
                      <a:pt x="11" y="697"/>
                      <a:pt x="10" y="697"/>
                    </a:cubicBezTo>
                    <a:cubicBezTo>
                      <a:pt x="8" y="698"/>
                      <a:pt x="7" y="700"/>
                      <a:pt x="6" y="701"/>
                    </a:cubicBezTo>
                    <a:cubicBezTo>
                      <a:pt x="5" y="702"/>
                      <a:pt x="4" y="704"/>
                      <a:pt x="3" y="705"/>
                    </a:cubicBezTo>
                    <a:cubicBezTo>
                      <a:pt x="2" y="707"/>
                      <a:pt x="2" y="708"/>
                      <a:pt x="1" y="710"/>
                    </a:cubicBezTo>
                    <a:cubicBezTo>
                      <a:pt x="1" y="712"/>
                      <a:pt x="0" y="714"/>
                      <a:pt x="0" y="716"/>
                    </a:cubicBezTo>
                    <a:cubicBezTo>
                      <a:pt x="0" y="716"/>
                      <a:pt x="0" y="717"/>
                      <a:pt x="0" y="718"/>
                    </a:cubicBezTo>
                    <a:cubicBezTo>
                      <a:pt x="0" y="937"/>
                      <a:pt x="0" y="937"/>
                      <a:pt x="0" y="937"/>
                    </a:cubicBezTo>
                    <a:cubicBezTo>
                      <a:pt x="0" y="952"/>
                      <a:pt x="12" y="964"/>
                      <a:pt x="27" y="964"/>
                    </a:cubicBezTo>
                    <a:cubicBezTo>
                      <a:pt x="42" y="964"/>
                      <a:pt x="54" y="952"/>
                      <a:pt x="54" y="937"/>
                    </a:cubicBezTo>
                    <a:cubicBezTo>
                      <a:pt x="54" y="800"/>
                      <a:pt x="54" y="800"/>
                      <a:pt x="54" y="800"/>
                    </a:cubicBezTo>
                    <a:cubicBezTo>
                      <a:pt x="209" y="989"/>
                      <a:pt x="438" y="1100"/>
                      <a:pt x="682" y="1100"/>
                    </a:cubicBezTo>
                    <a:cubicBezTo>
                      <a:pt x="1134" y="1100"/>
                      <a:pt x="1501" y="733"/>
                      <a:pt x="1501" y="281"/>
                    </a:cubicBezTo>
                    <a:cubicBezTo>
                      <a:pt x="1501" y="193"/>
                      <a:pt x="1487" y="106"/>
                      <a:pt x="1460" y="22"/>
                    </a:cubicBezTo>
                    <a:close/>
                    <a:moveTo>
                      <a:pt x="1460" y="22"/>
                    </a:moveTo>
                    <a:cubicBezTo>
                      <a:pt x="1460" y="22"/>
                      <a:pt x="1460" y="22"/>
                      <a:pt x="1460" y="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Gruppieren 118">
              <a:extLst>
                <a:ext uri="{FF2B5EF4-FFF2-40B4-BE49-F238E27FC236}">
                  <a16:creationId xmlns:a16="http://schemas.microsoft.com/office/drawing/2014/main" id="{590A3627-97D4-4C09-804F-1C11BE56F123}"/>
                </a:ext>
              </a:extLst>
            </p:cNvPr>
            <p:cNvGrpSpPr/>
            <p:nvPr>
              <p:custDataLst>
                <p:tags r:id="rId22"/>
              </p:custDataLst>
            </p:nvPr>
          </p:nvGrpSpPr>
          <p:grpSpPr bwMode="gray">
            <a:xfrm>
              <a:off x="1271086" y="3131269"/>
              <a:ext cx="156084" cy="186743"/>
              <a:chOff x="-506413" y="3382963"/>
              <a:chExt cx="1339851" cy="1457325"/>
            </a:xfrm>
          </p:grpSpPr>
          <p:sp>
            <p:nvSpPr>
              <p:cNvPr id="90" name="Freeform 13">
                <a:extLst>
                  <a:ext uri="{FF2B5EF4-FFF2-40B4-BE49-F238E27FC236}">
                    <a16:creationId xmlns:a16="http://schemas.microsoft.com/office/drawing/2014/main" id="{605143A1-17C1-4A7E-9EAC-ECCB502A4697}"/>
                  </a:ext>
                </a:extLst>
              </p:cNvPr>
              <p:cNvSpPr>
                <a:spLocks noEditPoint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-506413" y="4057650"/>
                <a:ext cx="1339851" cy="782638"/>
              </a:xfrm>
              <a:custGeom>
                <a:avLst/>
                <a:gdLst>
                  <a:gd name="T0" fmla="*/ 299 w 357"/>
                  <a:gd name="T1" fmla="*/ 45 h 209"/>
                  <a:gd name="T2" fmla="*/ 195 w 357"/>
                  <a:gd name="T3" fmla="*/ 0 h 209"/>
                  <a:gd name="T4" fmla="*/ 189 w 357"/>
                  <a:gd name="T5" fmla="*/ 2 h 209"/>
                  <a:gd name="T6" fmla="*/ 185 w 357"/>
                  <a:gd name="T7" fmla="*/ 6 h 209"/>
                  <a:gd name="T8" fmla="*/ 178 w 357"/>
                  <a:gd name="T9" fmla="*/ 12 h 209"/>
                  <a:gd name="T10" fmla="*/ 178 w 357"/>
                  <a:gd name="T11" fmla="*/ 12 h 209"/>
                  <a:gd name="T12" fmla="*/ 171 w 357"/>
                  <a:gd name="T13" fmla="*/ 6 h 209"/>
                  <a:gd name="T14" fmla="*/ 168 w 357"/>
                  <a:gd name="T15" fmla="*/ 2 h 209"/>
                  <a:gd name="T16" fmla="*/ 162 w 357"/>
                  <a:gd name="T17" fmla="*/ 0 h 209"/>
                  <a:gd name="T18" fmla="*/ 58 w 357"/>
                  <a:gd name="T19" fmla="*/ 45 h 209"/>
                  <a:gd name="T20" fmla="*/ 46 w 357"/>
                  <a:gd name="T21" fmla="*/ 206 h 209"/>
                  <a:gd name="T22" fmla="*/ 52 w 357"/>
                  <a:gd name="T23" fmla="*/ 209 h 209"/>
                  <a:gd name="T24" fmla="*/ 305 w 357"/>
                  <a:gd name="T25" fmla="*/ 209 h 209"/>
                  <a:gd name="T26" fmla="*/ 311 w 357"/>
                  <a:gd name="T27" fmla="*/ 206 h 209"/>
                  <a:gd name="T28" fmla="*/ 299 w 357"/>
                  <a:gd name="T29" fmla="*/ 45 h 209"/>
                  <a:gd name="T30" fmla="*/ 193 w 357"/>
                  <a:gd name="T31" fmla="*/ 148 h 209"/>
                  <a:gd name="T32" fmla="*/ 192 w 357"/>
                  <a:gd name="T33" fmla="*/ 151 h 209"/>
                  <a:gd name="T34" fmla="*/ 184 w 357"/>
                  <a:gd name="T35" fmla="*/ 167 h 209"/>
                  <a:gd name="T36" fmla="*/ 178 w 357"/>
                  <a:gd name="T37" fmla="*/ 170 h 209"/>
                  <a:gd name="T38" fmla="*/ 173 w 357"/>
                  <a:gd name="T39" fmla="*/ 167 h 209"/>
                  <a:gd name="T40" fmla="*/ 164 w 357"/>
                  <a:gd name="T41" fmla="*/ 151 h 209"/>
                  <a:gd name="T42" fmla="*/ 164 w 357"/>
                  <a:gd name="T43" fmla="*/ 148 h 209"/>
                  <a:gd name="T44" fmla="*/ 160 w 357"/>
                  <a:gd name="T45" fmla="*/ 32 h 209"/>
                  <a:gd name="T46" fmla="*/ 163 w 357"/>
                  <a:gd name="T47" fmla="*/ 27 h 209"/>
                  <a:gd name="T48" fmla="*/ 175 w 357"/>
                  <a:gd name="T49" fmla="*/ 18 h 209"/>
                  <a:gd name="T50" fmla="*/ 182 w 357"/>
                  <a:gd name="T51" fmla="*/ 18 h 209"/>
                  <a:gd name="T52" fmla="*/ 194 w 357"/>
                  <a:gd name="T53" fmla="*/ 27 h 209"/>
                  <a:gd name="T54" fmla="*/ 196 w 357"/>
                  <a:gd name="T55" fmla="*/ 32 h 209"/>
                  <a:gd name="T56" fmla="*/ 193 w 357"/>
                  <a:gd name="T57" fmla="*/ 14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57" h="209">
                    <a:moveTo>
                      <a:pt x="299" y="45"/>
                    </a:moveTo>
                    <a:cubicBezTo>
                      <a:pt x="284" y="21"/>
                      <a:pt x="245" y="4"/>
                      <a:pt x="195" y="0"/>
                    </a:cubicBezTo>
                    <a:cubicBezTo>
                      <a:pt x="193" y="0"/>
                      <a:pt x="191" y="1"/>
                      <a:pt x="189" y="2"/>
                    </a:cubicBezTo>
                    <a:cubicBezTo>
                      <a:pt x="188" y="3"/>
                      <a:pt x="187" y="5"/>
                      <a:pt x="185" y="6"/>
                    </a:cubicBezTo>
                    <a:cubicBezTo>
                      <a:pt x="183" y="9"/>
                      <a:pt x="181" y="12"/>
                      <a:pt x="178" y="12"/>
                    </a:cubicBezTo>
                    <a:cubicBezTo>
                      <a:pt x="178" y="12"/>
                      <a:pt x="178" y="12"/>
                      <a:pt x="178" y="12"/>
                    </a:cubicBezTo>
                    <a:cubicBezTo>
                      <a:pt x="176" y="12"/>
                      <a:pt x="174" y="9"/>
                      <a:pt x="171" y="6"/>
                    </a:cubicBezTo>
                    <a:cubicBezTo>
                      <a:pt x="170" y="5"/>
                      <a:pt x="169" y="3"/>
                      <a:pt x="168" y="2"/>
                    </a:cubicBezTo>
                    <a:cubicBezTo>
                      <a:pt x="166" y="1"/>
                      <a:pt x="164" y="0"/>
                      <a:pt x="162" y="0"/>
                    </a:cubicBezTo>
                    <a:cubicBezTo>
                      <a:pt x="112" y="4"/>
                      <a:pt x="73" y="21"/>
                      <a:pt x="58" y="45"/>
                    </a:cubicBezTo>
                    <a:cubicBezTo>
                      <a:pt x="55" y="49"/>
                      <a:pt x="0" y="148"/>
                      <a:pt x="46" y="206"/>
                    </a:cubicBezTo>
                    <a:cubicBezTo>
                      <a:pt x="47" y="208"/>
                      <a:pt x="49" y="209"/>
                      <a:pt x="52" y="209"/>
                    </a:cubicBezTo>
                    <a:cubicBezTo>
                      <a:pt x="305" y="209"/>
                      <a:pt x="305" y="209"/>
                      <a:pt x="305" y="209"/>
                    </a:cubicBezTo>
                    <a:cubicBezTo>
                      <a:pt x="307" y="209"/>
                      <a:pt x="309" y="208"/>
                      <a:pt x="311" y="206"/>
                    </a:cubicBezTo>
                    <a:cubicBezTo>
                      <a:pt x="357" y="148"/>
                      <a:pt x="299" y="46"/>
                      <a:pt x="299" y="45"/>
                    </a:cubicBezTo>
                    <a:close/>
                    <a:moveTo>
                      <a:pt x="193" y="148"/>
                    </a:moveTo>
                    <a:cubicBezTo>
                      <a:pt x="193" y="149"/>
                      <a:pt x="193" y="150"/>
                      <a:pt x="192" y="151"/>
                    </a:cubicBezTo>
                    <a:cubicBezTo>
                      <a:pt x="184" y="167"/>
                      <a:pt x="184" y="167"/>
                      <a:pt x="184" y="167"/>
                    </a:cubicBezTo>
                    <a:cubicBezTo>
                      <a:pt x="182" y="169"/>
                      <a:pt x="180" y="170"/>
                      <a:pt x="178" y="170"/>
                    </a:cubicBezTo>
                    <a:cubicBezTo>
                      <a:pt x="176" y="170"/>
                      <a:pt x="174" y="169"/>
                      <a:pt x="173" y="167"/>
                    </a:cubicBezTo>
                    <a:cubicBezTo>
                      <a:pt x="164" y="151"/>
                      <a:pt x="164" y="151"/>
                      <a:pt x="164" y="151"/>
                    </a:cubicBezTo>
                    <a:cubicBezTo>
                      <a:pt x="164" y="150"/>
                      <a:pt x="164" y="149"/>
                      <a:pt x="164" y="148"/>
                    </a:cubicBezTo>
                    <a:cubicBezTo>
                      <a:pt x="160" y="32"/>
                      <a:pt x="160" y="32"/>
                      <a:pt x="160" y="32"/>
                    </a:cubicBezTo>
                    <a:cubicBezTo>
                      <a:pt x="160" y="30"/>
                      <a:pt x="161" y="28"/>
                      <a:pt x="163" y="27"/>
                    </a:cubicBezTo>
                    <a:cubicBezTo>
                      <a:pt x="175" y="18"/>
                      <a:pt x="175" y="18"/>
                      <a:pt x="175" y="18"/>
                    </a:cubicBezTo>
                    <a:cubicBezTo>
                      <a:pt x="177" y="17"/>
                      <a:pt x="180" y="17"/>
                      <a:pt x="182" y="18"/>
                    </a:cubicBezTo>
                    <a:cubicBezTo>
                      <a:pt x="194" y="27"/>
                      <a:pt x="194" y="27"/>
                      <a:pt x="194" y="27"/>
                    </a:cubicBezTo>
                    <a:cubicBezTo>
                      <a:pt x="195" y="28"/>
                      <a:pt x="196" y="30"/>
                      <a:pt x="196" y="32"/>
                    </a:cubicBezTo>
                    <a:lnTo>
                      <a:pt x="193" y="148"/>
                    </a:lnTo>
                    <a:close/>
                  </a:path>
                </a:pathLst>
              </a:custGeom>
              <a:noFill/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Oval 14">
                <a:extLst>
                  <a:ext uri="{FF2B5EF4-FFF2-40B4-BE49-F238E27FC236}">
                    <a16:creationId xmlns:a16="http://schemas.microsoft.com/office/drawing/2014/main" id="{9DEAA3B9-89F5-45FC-9F50-D1D52028A66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160337" y="3382963"/>
                <a:ext cx="638175" cy="636588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b="1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DDE51BE-BAE4-484C-8154-5A097A1661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F13BD80-C5E1-4830-84AB-68A4F116603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0190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2057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-14.1726;0;0;14;14;28.5;28.5;42.5;42.5;56.5;"/>
  <p:tag name="VCT-BULLETVISIBILITY" val="G 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08/2018 09:06:33"/>
  <p:tag name="VCTMASTER" val="2_Contentmaster | Footer black"/>
  <p:tag name="VCTORDER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-14.1726;0;0;14;14;28.5;28.5;42.5;42.5;56.5;"/>
  <p:tag name="VCT-BULLETVISIBILITY" val="G ****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rRYQ6gQWu6LTdsrbPPpg"/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rRYQ6gQWu6LTdsrbPPpg"/>
  <p:tag name="VCTCREATESHAPEHANDLED" val="0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08/2018 09:06:33"/>
  <p:tag name="VCTMASTER" val="2_Contentmaster | Footer black"/>
  <p:tag name="VCTORDER" val="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Contentmaster | Footer black">
  <a:themeElements>
    <a:clrScheme name="Benutzerdefiniert 10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FF0000"/>
      </a:hlink>
      <a:folHlink>
        <a:srgbClr val="FF0000"/>
      </a:folHlink>
    </a:clrScheme>
    <a:fontScheme name="Techem CD 2017">
      <a:majorFont>
        <a:latin typeface="Lucida Sans Techem"/>
        <a:ea typeface=""/>
        <a:cs typeface="Calibri"/>
      </a:majorFont>
      <a:minorFont>
        <a:latin typeface="Lucida Sans Techem"/>
        <a:ea typeface="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master | Footer black">
  <a:themeElements>
    <a:clrScheme name="Techem CD 2017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E20613"/>
      </a:hlink>
      <a:folHlink>
        <a:srgbClr val="CC0000"/>
      </a:folHlink>
    </a:clrScheme>
    <a:fontScheme name="Techem CD 2017">
      <a:majorFont>
        <a:latin typeface="Lucida Sans Techem"/>
        <a:ea typeface=""/>
        <a:cs typeface="Calibri"/>
      </a:majorFont>
      <a:minorFont>
        <a:latin typeface="Lucida Sans Techem"/>
        <a:ea typeface="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chem Master.potx" id="{F0E92E2C-0AE0-4876-87C2-B2F057B9FF21}" vid="{93A93BE4-C7CE-48AE-9A1D-FB9CB91161D7}"/>
    </a:ext>
  </a:extLst>
</a:theme>
</file>

<file path=ppt/theme/theme3.xml><?xml version="1.0" encoding="utf-8"?>
<a:theme xmlns:a="http://schemas.openxmlformats.org/drawingml/2006/main" name="3_Contentmaster | Footer black">
  <a:themeElements>
    <a:clrScheme name="Techem CD 2017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E20613"/>
      </a:hlink>
      <a:folHlink>
        <a:srgbClr val="CC0000"/>
      </a:folHlink>
    </a:clrScheme>
    <a:fontScheme name="Techem CD 2017">
      <a:majorFont>
        <a:latin typeface="Lucida Sans Techem"/>
        <a:ea typeface=""/>
        <a:cs typeface="Calibri"/>
      </a:majorFont>
      <a:minorFont>
        <a:latin typeface="Lucida Sans Techem"/>
        <a:ea typeface="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chem Master.potx" id="{F0E92E2C-0AE0-4876-87C2-B2F057B9FF21}" vid="{93A93BE4-C7CE-48AE-9A1D-FB9CB91161D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03FB0819517FE4DB49C6E951E0B0AEE" ma:contentTypeVersion="5" ma:contentTypeDescription="Ein neues Dokument erstellen." ma:contentTypeScope="" ma:versionID="73f581600df64edcd14b34d11cdc1eae">
  <xsd:schema xmlns:xsd="http://www.w3.org/2001/XMLSchema" xmlns:xs="http://www.w3.org/2001/XMLSchema" xmlns:p="http://schemas.microsoft.com/office/2006/metadata/properties" xmlns:ns3="42e09070-56d8-4da1-90bc-76f9f8cd5095" targetNamespace="http://schemas.microsoft.com/office/2006/metadata/properties" ma:root="true" ma:fieldsID="d495c8b3b41b68d114fbc0159572361e" ns3:_="">
    <xsd:import namespace="42e09070-56d8-4da1-90bc-76f9f8cd50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e09070-56d8-4da1-90bc-76f9f8cd50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DB9CAD0-55F5-4E4F-81D2-14B3E247C5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B3A6AC-A0DE-46C7-A4C4-FD16A0236B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e09070-56d8-4da1-90bc-76f9f8cd5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CF1ABE-DD42-46BA-A1DE-878EE98A711C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42e09070-56d8-4da1-90bc-76f9f8cd509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chem_Powerpoint-Master_201711_Erweitert</Template>
  <TotalTime>0</TotalTime>
  <Words>2201</Words>
  <Application>Microsoft Office PowerPoint</Application>
  <PresentationFormat>Ekran Gösterisi (16:9)</PresentationFormat>
  <Paragraphs>484</Paragraphs>
  <Slides>31</Slides>
  <Notes>3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3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31</vt:i4>
      </vt:variant>
    </vt:vector>
  </HeadingPairs>
  <TitlesOfParts>
    <vt:vector size="44" baseType="lpstr">
      <vt:lpstr>ＭＳ Ｐゴシック</vt:lpstr>
      <vt:lpstr>Arial</vt:lpstr>
      <vt:lpstr>Calibri</vt:lpstr>
      <vt:lpstr>Lucida Sans</vt:lpstr>
      <vt:lpstr>Lucida Sans Techem</vt:lpstr>
      <vt:lpstr>Lucida Sans Unicode</vt:lpstr>
      <vt:lpstr>Times New Roman</vt:lpstr>
      <vt:lpstr>Verdana</vt:lpstr>
      <vt:lpstr>Wingdings</vt:lpstr>
      <vt:lpstr>Contentmaster | Footer black</vt:lpstr>
      <vt:lpstr>2_Contentmaster | Footer black</vt:lpstr>
      <vt:lpstr>3_Contentmaster | Footer black</vt:lpstr>
      <vt:lpstr>think-cell Foli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ANNEX </vt:lpstr>
      <vt:lpstr>Headline</vt:lpstr>
      <vt:lpstr>Headline</vt:lpstr>
      <vt:lpstr>Headli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em PowerPoint Vorlage</dc:title>
  <dc:creator>Marc Burwig</dc:creator>
  <cp:lastModifiedBy>Sahinbas, Kemal</cp:lastModifiedBy>
  <cp:revision>658</cp:revision>
  <cp:lastPrinted>2019-07-18T08:05:45Z</cp:lastPrinted>
  <dcterms:created xsi:type="dcterms:W3CDTF">2017-12-04T08:10:29Z</dcterms:created>
  <dcterms:modified xsi:type="dcterms:W3CDTF">2019-10-25T13:2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3FB0819517FE4DB49C6E951E0B0AEE</vt:lpwstr>
  </property>
</Properties>
</file>